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3.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omments/modernComment_100_CA2835FD.xml" ContentType="application/vnd.ms-powerpoint.comment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4175" r:id="rId3"/>
    <p:sldMasterId id="2147483672" r:id="rId4"/>
  </p:sldMasterIdLst>
  <p:notesMasterIdLst>
    <p:notesMasterId r:id="rId37"/>
  </p:notesMasterIdLst>
  <p:sldIdLst>
    <p:sldId id="302" r:id="rId5"/>
    <p:sldId id="2147482989" r:id="rId6"/>
    <p:sldId id="2147482992" r:id="rId7"/>
    <p:sldId id="334" r:id="rId8"/>
    <p:sldId id="2147483639" r:id="rId9"/>
    <p:sldId id="267" r:id="rId10"/>
    <p:sldId id="256" r:id="rId11"/>
    <p:sldId id="2147483640" r:id="rId12"/>
    <p:sldId id="2147483641" r:id="rId13"/>
    <p:sldId id="2147483642" r:id="rId14"/>
    <p:sldId id="2147483643" r:id="rId15"/>
    <p:sldId id="2147483644" r:id="rId16"/>
    <p:sldId id="2147483645" r:id="rId17"/>
    <p:sldId id="2147483646" r:id="rId18"/>
    <p:sldId id="2147483647" r:id="rId19"/>
    <p:sldId id="257" r:id="rId20"/>
    <p:sldId id="258" r:id="rId21"/>
    <p:sldId id="259" r:id="rId22"/>
    <p:sldId id="260" r:id="rId23"/>
    <p:sldId id="261" r:id="rId24"/>
    <p:sldId id="262" r:id="rId25"/>
    <p:sldId id="263" r:id="rId26"/>
    <p:sldId id="264" r:id="rId27"/>
    <p:sldId id="265" r:id="rId28"/>
    <p:sldId id="266" r:id="rId29"/>
    <p:sldId id="268" r:id="rId30"/>
    <p:sldId id="269" r:id="rId31"/>
    <p:sldId id="270" r:id="rId32"/>
    <p:sldId id="271" r:id="rId33"/>
    <p:sldId id="272" r:id="rId34"/>
    <p:sldId id="273" r:id="rId35"/>
    <p:sldId id="274" r:id="rId3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S" id="{ED0013B2-2409-4768-90CD-3AEF50BCFD42}">
          <p14:sldIdLst>
            <p14:sldId id="302"/>
            <p14:sldId id="2147482989"/>
            <p14:sldId id="2147482992"/>
            <p14:sldId id="334"/>
            <p14:sldId id="2147483639"/>
            <p14:sldId id="267"/>
            <p14:sldId id="256"/>
            <p14:sldId id="2147483640"/>
            <p14:sldId id="2147483641"/>
            <p14:sldId id="2147483642"/>
            <p14:sldId id="2147483643"/>
            <p14:sldId id="2147483644"/>
            <p14:sldId id="2147483645"/>
            <p14:sldId id="2147483646"/>
            <p14:sldId id="2147483647"/>
            <p14:sldId id="257"/>
            <p14:sldId id="258"/>
            <p14:sldId id="259"/>
            <p14:sldId id="260"/>
            <p14:sldId id="261"/>
            <p14:sldId id="262"/>
            <p14:sldId id="263"/>
            <p14:sldId id="264"/>
            <p14:sldId id="265"/>
            <p14:sldId id="266"/>
            <p14:sldId id="268"/>
            <p14:sldId id="269"/>
            <p14:sldId id="270"/>
            <p14:sldId id="271"/>
            <p14:sldId id="272"/>
            <p14:sldId id="273"/>
            <p14:sldId id="274"/>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B838312-51C6-F982-EE02-EE9054486C83}" name="KOUMOUTSARIS Symeon" initials="SK" userId="S::SKOUMOUTSARIS@scor.com::176637a4-63ae-47be-b55d-1ad0a859c4e9" providerId="AD"/>
  <p188:author id="{C2BFD812-C309-664B-2211-025630748B52}" name="PATEL Jakir" initials="PJ" userId="S::JPATEL@scor.com::ff6f4459-cc85-4683-8325-2a7863c87876" providerId="AD"/>
  <p188:author id="{074DBD2C-18B8-B0A7-0A4F-2A85C98A7E1F}" name="GANNON Thomas" initials="GT" userId="S::TGannon@scor.com::cab80252-3f46-41d8-98f4-b7e378e50ad9" providerId="AD"/>
  <p188:author id="{22B6D484-2347-44B7-EEEC-3DCEA3969577}" name="Adam Podlaha" initials="AP" userId="S::adam.podlaha@aon.com::2ead8f36-9111-452e-8ee1-94ef99c64ff6" providerId="AD"/>
  <p188:author id="{F01FE788-FEE5-8846-B5D1-4C7F126B7FD4}" name="DEPLANTE Brice" initials="BD" userId="S::BDEPLANTE@scor.com::d68f83aa-a9f5-4f2c-93b7-82184038d78f" providerId="AD"/>
  <p188:author id="{AAA03BC8-BE83-5969-A76B-FAEB3575ED88}" name="BOVY Henry" initials="" userId="S::HBOVY@scor.com::e52b437d-7099-43b4-8c4c-1baaa8fca161" providerId="AD"/>
  <p188:author id="{8B2D60E2-85AE-DAF5-1D10-9CCAED460CC2}" name="Alexandra Lewis" initials="AL" userId="S::alexandra.lewis@aon.com::83c51385-e936-4d02-937a-0b24f8df873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B56634F-A904-4885-8451-209A5F41DD97}" v="18" dt="2025-07-01T11:19:31.879"/>
    <p1510:client id="{8480D9B7-50B3-4474-906A-B6DC441B338A}" v="89" dt="2025-07-01T11:31:53.51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6/11/relationships/changesInfo" Target="changesInfos/changesInfo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8/10/relationships/authors" Target="author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5/10/relationships/revisionInfo" Target="revisionInfo.xml"/><Relationship Id="rId8" Type="http://schemas.openxmlformats.org/officeDocument/2006/relationships/slide" Target="slides/slide4.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riet Smith" userId="cAQpWI1H3pb5sTbe2loXSvZKKjNLf6ai+Xtm3KZXB/w=" providerId="None" clId="Web-{8480D9B7-50B3-4474-906A-B6DC441B338A}"/>
    <pc:docChg chg="addSld delSld modSld addMainMaster modMainMaster modSection">
      <pc:chgData name="Harriet Smith" userId="cAQpWI1H3pb5sTbe2loXSvZKKjNLf6ai+Xtm3KZXB/w=" providerId="None" clId="Web-{8480D9B7-50B3-4474-906A-B6DC441B338A}" dt="2025-07-01T11:31:53.511" v="96"/>
      <pc:docMkLst>
        <pc:docMk/>
      </pc:docMkLst>
      <pc:sldChg chg="add del">
        <pc:chgData name="Harriet Smith" userId="cAQpWI1H3pb5sTbe2loXSvZKKjNLf6ai+Xtm3KZXB/w=" providerId="None" clId="Web-{8480D9B7-50B3-4474-906A-B6DC441B338A}" dt="2025-07-01T11:21:48.107" v="8"/>
        <pc:sldMkLst>
          <pc:docMk/>
          <pc:sldMk cId="3391632893" sldId="256"/>
        </pc:sldMkLst>
      </pc:sldChg>
      <pc:sldChg chg="add del">
        <pc:chgData name="Harriet Smith" userId="cAQpWI1H3pb5sTbe2loXSvZKKjNLf6ai+Xtm3KZXB/w=" providerId="None" clId="Web-{8480D9B7-50B3-4474-906A-B6DC441B338A}" dt="2025-07-01T11:23:08.015" v="35"/>
        <pc:sldMkLst>
          <pc:docMk/>
          <pc:sldMk cId="3074135160" sldId="257"/>
        </pc:sldMkLst>
      </pc:sldChg>
      <pc:sldChg chg="add del">
        <pc:chgData name="Harriet Smith" userId="cAQpWI1H3pb5sTbe2loXSvZKKjNLf6ai+Xtm3KZXB/w=" providerId="None" clId="Web-{8480D9B7-50B3-4474-906A-B6DC441B338A}" dt="2025-07-01T11:23:14.281" v="38"/>
        <pc:sldMkLst>
          <pc:docMk/>
          <pc:sldMk cId="2491004601" sldId="258"/>
        </pc:sldMkLst>
      </pc:sldChg>
      <pc:sldChg chg="add del">
        <pc:chgData name="Harriet Smith" userId="cAQpWI1H3pb5sTbe2loXSvZKKjNLf6ai+Xtm3KZXB/w=" providerId="None" clId="Web-{8480D9B7-50B3-4474-906A-B6DC441B338A}" dt="2025-07-01T11:23:21.219" v="41"/>
        <pc:sldMkLst>
          <pc:docMk/>
          <pc:sldMk cId="219972180" sldId="259"/>
        </pc:sldMkLst>
      </pc:sldChg>
      <pc:sldChg chg="add del">
        <pc:chgData name="Harriet Smith" userId="cAQpWI1H3pb5sTbe2loXSvZKKjNLf6ai+Xtm3KZXB/w=" providerId="None" clId="Web-{8480D9B7-50B3-4474-906A-B6DC441B338A}" dt="2025-07-01T11:23:27.719" v="44"/>
        <pc:sldMkLst>
          <pc:docMk/>
          <pc:sldMk cId="181752654" sldId="260"/>
        </pc:sldMkLst>
      </pc:sldChg>
      <pc:sldChg chg="add del">
        <pc:chgData name="Harriet Smith" userId="cAQpWI1H3pb5sTbe2loXSvZKKjNLf6ai+Xtm3KZXB/w=" providerId="None" clId="Web-{8480D9B7-50B3-4474-906A-B6DC441B338A}" dt="2025-07-01T11:23:34.266" v="47"/>
        <pc:sldMkLst>
          <pc:docMk/>
          <pc:sldMk cId="600094089" sldId="261"/>
        </pc:sldMkLst>
      </pc:sldChg>
      <pc:sldChg chg="addSp delSp modSp new">
        <pc:chgData name="Harriet Smith" userId="cAQpWI1H3pb5sTbe2loXSvZKKjNLf6ai+Xtm3KZXB/w=" providerId="None" clId="Web-{8480D9B7-50B3-4474-906A-B6DC441B338A}" dt="2025-07-01T11:24:38.580" v="52"/>
        <pc:sldMkLst>
          <pc:docMk/>
          <pc:sldMk cId="220207237" sldId="262"/>
        </pc:sldMkLst>
        <pc:spChg chg="del">
          <ac:chgData name="Harriet Smith" userId="cAQpWI1H3pb5sTbe2loXSvZKKjNLf6ai+Xtm3KZXB/w=" providerId="None" clId="Web-{8480D9B7-50B3-4474-906A-B6DC441B338A}" dt="2025-07-01T11:24:32.111" v="51"/>
          <ac:spMkLst>
            <pc:docMk/>
            <pc:sldMk cId="220207237" sldId="262"/>
            <ac:spMk id="2" creationId="{C3E57C8C-AC69-B888-F1BF-FE5887462451}"/>
          </ac:spMkLst>
        </pc:spChg>
        <pc:picChg chg="add mod">
          <ac:chgData name="Harriet Smith" userId="cAQpWI1H3pb5sTbe2loXSvZKKjNLf6ai+Xtm3KZXB/w=" providerId="None" clId="Web-{8480D9B7-50B3-4474-906A-B6DC441B338A}" dt="2025-07-01T11:24:38.580" v="52"/>
          <ac:picMkLst>
            <pc:docMk/>
            <pc:sldMk cId="220207237" sldId="262"/>
            <ac:picMk id="3" creationId="{2C9DDDBC-C3D8-A634-96E7-F469CA09B50E}"/>
          </ac:picMkLst>
        </pc:picChg>
      </pc:sldChg>
      <pc:sldChg chg="add del">
        <pc:chgData name="Harriet Smith" userId="cAQpWI1H3pb5sTbe2loXSvZKKjNLf6ai+Xtm3KZXB/w=" providerId="None" clId="Web-{8480D9B7-50B3-4474-906A-B6DC441B338A}" dt="2025-07-01T11:24:03.235" v="49"/>
        <pc:sldMkLst>
          <pc:docMk/>
          <pc:sldMk cId="1151786713" sldId="262"/>
        </pc:sldMkLst>
      </pc:sldChg>
      <pc:sldChg chg="addSp delSp modSp add replId">
        <pc:chgData name="Harriet Smith" userId="cAQpWI1H3pb5sTbe2loXSvZKKjNLf6ai+Xtm3KZXB/w=" providerId="None" clId="Web-{8480D9B7-50B3-4474-906A-B6DC441B338A}" dt="2025-07-01T11:25:03.596" v="63" actId="1076"/>
        <pc:sldMkLst>
          <pc:docMk/>
          <pc:sldMk cId="2635150534" sldId="263"/>
        </pc:sldMkLst>
        <pc:picChg chg="add mod">
          <ac:chgData name="Harriet Smith" userId="cAQpWI1H3pb5sTbe2loXSvZKKjNLf6ai+Xtm3KZXB/w=" providerId="None" clId="Web-{8480D9B7-50B3-4474-906A-B6DC441B338A}" dt="2025-07-01T11:25:03.596" v="63" actId="1076"/>
          <ac:picMkLst>
            <pc:docMk/>
            <pc:sldMk cId="2635150534" sldId="263"/>
            <ac:picMk id="2" creationId="{A1D82B7B-A8D1-4DDB-AFB9-F49AD92D06EE}"/>
          </ac:picMkLst>
        </pc:picChg>
        <pc:picChg chg="del">
          <ac:chgData name="Harriet Smith" userId="cAQpWI1H3pb5sTbe2loXSvZKKjNLf6ai+Xtm3KZXB/w=" providerId="None" clId="Web-{8480D9B7-50B3-4474-906A-B6DC441B338A}" dt="2025-07-01T11:25:02.487" v="62"/>
          <ac:picMkLst>
            <pc:docMk/>
            <pc:sldMk cId="2635150534" sldId="263"/>
            <ac:picMk id="3" creationId="{8CD4155E-C74E-94B8-8F02-500D4DD0E4EA}"/>
          </ac:picMkLst>
        </pc:picChg>
      </pc:sldChg>
      <pc:sldChg chg="addSp delSp modSp add replId">
        <pc:chgData name="Harriet Smith" userId="cAQpWI1H3pb5sTbe2loXSvZKKjNLf6ai+Xtm3KZXB/w=" providerId="None" clId="Web-{8480D9B7-50B3-4474-906A-B6DC441B338A}" dt="2025-07-01T11:25:00.424" v="60" actId="1076"/>
        <pc:sldMkLst>
          <pc:docMk/>
          <pc:sldMk cId="3898729921" sldId="264"/>
        </pc:sldMkLst>
        <pc:picChg chg="del">
          <ac:chgData name="Harriet Smith" userId="cAQpWI1H3pb5sTbe2loXSvZKKjNLf6ai+Xtm3KZXB/w=" providerId="None" clId="Web-{8480D9B7-50B3-4474-906A-B6DC441B338A}" dt="2025-07-01T11:24:58.596" v="58"/>
          <ac:picMkLst>
            <pc:docMk/>
            <pc:sldMk cId="3898729921" sldId="264"/>
            <ac:picMk id="2" creationId="{5B478A98-47C2-4163-7A0D-F43828BD2CB7}"/>
          </ac:picMkLst>
        </pc:picChg>
        <pc:picChg chg="del">
          <ac:chgData name="Harriet Smith" userId="cAQpWI1H3pb5sTbe2loXSvZKKjNLf6ai+Xtm3KZXB/w=" providerId="None" clId="Web-{8480D9B7-50B3-4474-906A-B6DC441B338A}" dt="2025-07-01T11:24:58.861" v="59"/>
          <ac:picMkLst>
            <pc:docMk/>
            <pc:sldMk cId="3898729921" sldId="264"/>
            <ac:picMk id="3" creationId="{E578DC4E-8779-9B00-F999-21D5A0FD03D9}"/>
          </ac:picMkLst>
        </pc:picChg>
        <pc:picChg chg="add mod">
          <ac:chgData name="Harriet Smith" userId="cAQpWI1H3pb5sTbe2loXSvZKKjNLf6ai+Xtm3KZXB/w=" providerId="None" clId="Web-{8480D9B7-50B3-4474-906A-B6DC441B338A}" dt="2025-07-01T11:25:00.424" v="60" actId="1076"/>
          <ac:picMkLst>
            <pc:docMk/>
            <pc:sldMk cId="3898729921" sldId="264"/>
            <ac:picMk id="4" creationId="{5F255296-1AAC-E633-8799-132DE4F4989E}"/>
          </ac:picMkLst>
        </pc:picChg>
      </pc:sldChg>
      <pc:sldChg chg="addSp delSp modSp add replId">
        <pc:chgData name="Harriet Smith" userId="cAQpWI1H3pb5sTbe2loXSvZKKjNLf6ai+Xtm3KZXB/w=" providerId="None" clId="Web-{8480D9B7-50B3-4474-906A-B6DC441B338A}" dt="2025-07-01T11:25:15.909" v="68" actId="1076"/>
        <pc:sldMkLst>
          <pc:docMk/>
          <pc:sldMk cId="3256313044" sldId="265"/>
        </pc:sldMkLst>
        <pc:picChg chg="add mod">
          <ac:chgData name="Harriet Smith" userId="cAQpWI1H3pb5sTbe2loXSvZKKjNLf6ai+Xtm3KZXB/w=" providerId="None" clId="Web-{8480D9B7-50B3-4474-906A-B6DC441B338A}" dt="2025-07-01T11:25:15.909" v="68" actId="1076"/>
          <ac:picMkLst>
            <pc:docMk/>
            <pc:sldMk cId="3256313044" sldId="265"/>
            <ac:picMk id="2" creationId="{D757A030-97BB-C88E-F19A-5085EF1884B0}"/>
          </ac:picMkLst>
        </pc:picChg>
        <pc:picChg chg="del">
          <ac:chgData name="Harriet Smith" userId="cAQpWI1H3pb5sTbe2loXSvZKKjNLf6ai+Xtm3KZXB/w=" providerId="None" clId="Web-{8480D9B7-50B3-4474-906A-B6DC441B338A}" dt="2025-07-01T11:25:14.440" v="67"/>
          <ac:picMkLst>
            <pc:docMk/>
            <pc:sldMk cId="3256313044" sldId="265"/>
            <ac:picMk id="4" creationId="{206DD2E2-641C-F6BC-A275-085B05F0B29A}"/>
          </ac:picMkLst>
        </pc:picChg>
      </pc:sldChg>
      <pc:sldChg chg="addSp delSp modSp add replId">
        <pc:chgData name="Harriet Smith" userId="cAQpWI1H3pb5sTbe2loXSvZKKjNLf6ai+Xtm3KZXB/w=" providerId="None" clId="Web-{8480D9B7-50B3-4474-906A-B6DC441B338A}" dt="2025-07-01T11:25:27.675" v="72"/>
        <pc:sldMkLst>
          <pc:docMk/>
          <pc:sldMk cId="1991446735" sldId="266"/>
        </pc:sldMkLst>
        <pc:picChg chg="del mod">
          <ac:chgData name="Harriet Smith" userId="cAQpWI1H3pb5sTbe2loXSvZKKjNLf6ai+Xtm3KZXB/w=" providerId="None" clId="Web-{8480D9B7-50B3-4474-906A-B6DC441B338A}" dt="2025-07-01T11:25:26.550" v="71"/>
          <ac:picMkLst>
            <pc:docMk/>
            <pc:sldMk cId="1991446735" sldId="266"/>
            <ac:picMk id="2" creationId="{F8CD914A-4F94-CD85-5AD4-CB2CC685722B}"/>
          </ac:picMkLst>
        </pc:picChg>
        <pc:picChg chg="add mod">
          <ac:chgData name="Harriet Smith" userId="cAQpWI1H3pb5sTbe2loXSvZKKjNLf6ai+Xtm3KZXB/w=" providerId="None" clId="Web-{8480D9B7-50B3-4474-906A-B6DC441B338A}" dt="2025-07-01T11:25:27.675" v="72"/>
          <ac:picMkLst>
            <pc:docMk/>
            <pc:sldMk cId="1991446735" sldId="266"/>
            <ac:picMk id="3" creationId="{0515B4F5-F105-F2B5-0CE6-A02041B87C3A}"/>
          </ac:picMkLst>
        </pc:picChg>
      </pc:sldChg>
      <pc:sldChg chg="add del">
        <pc:chgData name="Harriet Smith" userId="cAQpWI1H3pb5sTbe2loXSvZKKjNLf6ai+Xtm3KZXB/w=" providerId="None" clId="Web-{8480D9B7-50B3-4474-906A-B6DC441B338A}" dt="2025-07-01T11:21:38.357" v="5"/>
        <pc:sldMkLst>
          <pc:docMk/>
          <pc:sldMk cId="119610598" sldId="267"/>
        </pc:sldMkLst>
      </pc:sldChg>
      <pc:sldChg chg="addSp delSp modSp add replId">
        <pc:chgData name="Harriet Smith" userId="cAQpWI1H3pb5sTbe2loXSvZKKjNLf6ai+Xtm3KZXB/w=" providerId="None" clId="Web-{8480D9B7-50B3-4474-906A-B6DC441B338A}" dt="2025-07-01T11:25:38.737" v="76"/>
        <pc:sldMkLst>
          <pc:docMk/>
          <pc:sldMk cId="1064078206" sldId="268"/>
        </pc:sldMkLst>
        <pc:picChg chg="add mod">
          <ac:chgData name="Harriet Smith" userId="cAQpWI1H3pb5sTbe2loXSvZKKjNLf6ai+Xtm3KZXB/w=" providerId="None" clId="Web-{8480D9B7-50B3-4474-906A-B6DC441B338A}" dt="2025-07-01T11:25:38.737" v="76"/>
          <ac:picMkLst>
            <pc:docMk/>
            <pc:sldMk cId="1064078206" sldId="268"/>
            <ac:picMk id="2" creationId="{94005D9D-9EA0-95A3-2F04-8CE6475153E3}"/>
          </ac:picMkLst>
        </pc:picChg>
        <pc:picChg chg="del mod">
          <ac:chgData name="Harriet Smith" userId="cAQpWI1H3pb5sTbe2loXSvZKKjNLf6ai+Xtm3KZXB/w=" providerId="None" clId="Web-{8480D9B7-50B3-4474-906A-B6DC441B338A}" dt="2025-07-01T11:25:37.394" v="75"/>
          <ac:picMkLst>
            <pc:docMk/>
            <pc:sldMk cId="1064078206" sldId="268"/>
            <ac:picMk id="3" creationId="{630CEAC4-DF95-317B-22F6-445F975FBC37}"/>
          </ac:picMkLst>
        </pc:picChg>
      </pc:sldChg>
      <pc:sldChg chg="addSp delSp modSp add replId">
        <pc:chgData name="Harriet Smith" userId="cAQpWI1H3pb5sTbe2loXSvZKKjNLf6ai+Xtm3KZXB/w=" providerId="None" clId="Web-{8480D9B7-50B3-4474-906A-B6DC441B338A}" dt="2025-07-01T11:25:50.066" v="80"/>
        <pc:sldMkLst>
          <pc:docMk/>
          <pc:sldMk cId="2453466267" sldId="269"/>
        </pc:sldMkLst>
        <pc:picChg chg="del mod">
          <ac:chgData name="Harriet Smith" userId="cAQpWI1H3pb5sTbe2loXSvZKKjNLf6ai+Xtm3KZXB/w=" providerId="None" clId="Web-{8480D9B7-50B3-4474-906A-B6DC441B338A}" dt="2025-07-01T11:25:48.941" v="79"/>
          <ac:picMkLst>
            <pc:docMk/>
            <pc:sldMk cId="2453466267" sldId="269"/>
            <ac:picMk id="2" creationId="{29CCFFD8-8C6E-134C-3919-E27A14126137}"/>
          </ac:picMkLst>
        </pc:picChg>
        <pc:picChg chg="add mod">
          <ac:chgData name="Harriet Smith" userId="cAQpWI1H3pb5sTbe2loXSvZKKjNLf6ai+Xtm3KZXB/w=" providerId="None" clId="Web-{8480D9B7-50B3-4474-906A-B6DC441B338A}" dt="2025-07-01T11:25:50.066" v="80"/>
          <ac:picMkLst>
            <pc:docMk/>
            <pc:sldMk cId="2453466267" sldId="269"/>
            <ac:picMk id="3" creationId="{97687F4E-C033-A62B-8CA5-4C920548A214}"/>
          </ac:picMkLst>
        </pc:picChg>
      </pc:sldChg>
      <pc:sldChg chg="addSp delSp modSp add replId">
        <pc:chgData name="Harriet Smith" userId="cAQpWI1H3pb5sTbe2loXSvZKKjNLf6ai+Xtm3KZXB/w=" providerId="None" clId="Web-{8480D9B7-50B3-4474-906A-B6DC441B338A}" dt="2025-07-01T11:26:00.800" v="84"/>
        <pc:sldMkLst>
          <pc:docMk/>
          <pc:sldMk cId="891270679" sldId="270"/>
        </pc:sldMkLst>
        <pc:picChg chg="add mod">
          <ac:chgData name="Harriet Smith" userId="cAQpWI1H3pb5sTbe2loXSvZKKjNLf6ai+Xtm3KZXB/w=" providerId="None" clId="Web-{8480D9B7-50B3-4474-906A-B6DC441B338A}" dt="2025-07-01T11:26:00.800" v="84"/>
          <ac:picMkLst>
            <pc:docMk/>
            <pc:sldMk cId="891270679" sldId="270"/>
            <ac:picMk id="2" creationId="{2F7F5588-FE80-55EE-D553-66C011C0257D}"/>
          </ac:picMkLst>
        </pc:picChg>
        <pc:picChg chg="del mod">
          <ac:chgData name="Harriet Smith" userId="cAQpWI1H3pb5sTbe2loXSvZKKjNLf6ai+Xtm3KZXB/w=" providerId="None" clId="Web-{8480D9B7-50B3-4474-906A-B6DC441B338A}" dt="2025-07-01T11:25:59.738" v="83"/>
          <ac:picMkLst>
            <pc:docMk/>
            <pc:sldMk cId="891270679" sldId="270"/>
            <ac:picMk id="3" creationId="{946B1FF0-8D74-14DB-620F-0AC7382D8E51}"/>
          </ac:picMkLst>
        </pc:picChg>
      </pc:sldChg>
      <pc:sldChg chg="addSp delSp modSp add replId">
        <pc:chgData name="Harriet Smith" userId="cAQpWI1H3pb5sTbe2loXSvZKKjNLf6ai+Xtm3KZXB/w=" providerId="None" clId="Web-{8480D9B7-50B3-4474-906A-B6DC441B338A}" dt="2025-07-01T11:26:10.504" v="87"/>
        <pc:sldMkLst>
          <pc:docMk/>
          <pc:sldMk cId="1672104629" sldId="271"/>
        </pc:sldMkLst>
        <pc:picChg chg="del">
          <ac:chgData name="Harriet Smith" userId="cAQpWI1H3pb5sTbe2loXSvZKKjNLf6ai+Xtm3KZXB/w=" providerId="None" clId="Web-{8480D9B7-50B3-4474-906A-B6DC441B338A}" dt="2025-07-01T11:26:09.285" v="86"/>
          <ac:picMkLst>
            <pc:docMk/>
            <pc:sldMk cId="1672104629" sldId="271"/>
            <ac:picMk id="2" creationId="{5665E796-6E07-6C35-4213-4B084A8A13CF}"/>
          </ac:picMkLst>
        </pc:picChg>
        <pc:picChg chg="add mod">
          <ac:chgData name="Harriet Smith" userId="cAQpWI1H3pb5sTbe2loXSvZKKjNLf6ai+Xtm3KZXB/w=" providerId="None" clId="Web-{8480D9B7-50B3-4474-906A-B6DC441B338A}" dt="2025-07-01T11:26:10.504" v="87"/>
          <ac:picMkLst>
            <pc:docMk/>
            <pc:sldMk cId="1672104629" sldId="271"/>
            <ac:picMk id="3" creationId="{CB98B074-9BA6-4361-117E-73B861CD4F7B}"/>
          </ac:picMkLst>
        </pc:picChg>
      </pc:sldChg>
      <pc:sldChg chg="addSp delSp modSp add replId">
        <pc:chgData name="Harriet Smith" userId="cAQpWI1H3pb5sTbe2loXSvZKKjNLf6ai+Xtm3KZXB/w=" providerId="None" clId="Web-{8480D9B7-50B3-4474-906A-B6DC441B338A}" dt="2025-07-01T11:26:23.207" v="90"/>
        <pc:sldMkLst>
          <pc:docMk/>
          <pc:sldMk cId="1129953240" sldId="272"/>
        </pc:sldMkLst>
        <pc:picChg chg="add mod">
          <ac:chgData name="Harriet Smith" userId="cAQpWI1H3pb5sTbe2loXSvZKKjNLf6ai+Xtm3KZXB/w=" providerId="None" clId="Web-{8480D9B7-50B3-4474-906A-B6DC441B338A}" dt="2025-07-01T11:26:23.207" v="90"/>
          <ac:picMkLst>
            <pc:docMk/>
            <pc:sldMk cId="1129953240" sldId="272"/>
            <ac:picMk id="2" creationId="{AFCE582E-13C1-0907-E6EB-5906CA0CB30F}"/>
          </ac:picMkLst>
        </pc:picChg>
        <pc:picChg chg="del">
          <ac:chgData name="Harriet Smith" userId="cAQpWI1H3pb5sTbe2loXSvZKKjNLf6ai+Xtm3KZXB/w=" providerId="None" clId="Web-{8480D9B7-50B3-4474-906A-B6DC441B338A}" dt="2025-07-01T11:26:21.973" v="89"/>
          <ac:picMkLst>
            <pc:docMk/>
            <pc:sldMk cId="1129953240" sldId="272"/>
            <ac:picMk id="3" creationId="{52F4729F-F24A-1A62-E56A-58623A151322}"/>
          </ac:picMkLst>
        </pc:picChg>
      </pc:sldChg>
      <pc:sldChg chg="addSp delSp modSp add replId">
        <pc:chgData name="Harriet Smith" userId="cAQpWI1H3pb5sTbe2loXSvZKKjNLf6ai+Xtm3KZXB/w=" providerId="None" clId="Web-{8480D9B7-50B3-4474-906A-B6DC441B338A}" dt="2025-07-01T11:26:49.098" v="93"/>
        <pc:sldMkLst>
          <pc:docMk/>
          <pc:sldMk cId="4272587385" sldId="273"/>
        </pc:sldMkLst>
        <pc:picChg chg="del">
          <ac:chgData name="Harriet Smith" userId="cAQpWI1H3pb5sTbe2loXSvZKKjNLf6ai+Xtm3KZXB/w=" providerId="None" clId="Web-{8480D9B7-50B3-4474-906A-B6DC441B338A}" dt="2025-07-01T11:26:47.926" v="92"/>
          <ac:picMkLst>
            <pc:docMk/>
            <pc:sldMk cId="4272587385" sldId="273"/>
            <ac:picMk id="2" creationId="{3B74314C-CEBA-D972-CD72-AFEF0D918348}"/>
          </ac:picMkLst>
        </pc:picChg>
        <pc:picChg chg="add mod">
          <ac:chgData name="Harriet Smith" userId="cAQpWI1H3pb5sTbe2loXSvZKKjNLf6ai+Xtm3KZXB/w=" providerId="None" clId="Web-{8480D9B7-50B3-4474-906A-B6DC441B338A}" dt="2025-07-01T11:26:49.098" v="93"/>
          <ac:picMkLst>
            <pc:docMk/>
            <pc:sldMk cId="4272587385" sldId="273"/>
            <ac:picMk id="3" creationId="{11F2CF22-8F12-9F8D-8B75-8376306EE394}"/>
          </ac:picMkLst>
        </pc:picChg>
      </pc:sldChg>
      <pc:sldChg chg="add del">
        <pc:chgData name="Harriet Smith" userId="cAQpWI1H3pb5sTbe2loXSvZKKjNLf6ai+Xtm3KZXB/w=" providerId="None" clId="Web-{8480D9B7-50B3-4474-906A-B6DC441B338A}" dt="2025-07-01T11:31:53.511" v="96"/>
        <pc:sldMkLst>
          <pc:docMk/>
          <pc:sldMk cId="849107430" sldId="274"/>
        </pc:sldMkLst>
      </pc:sldChg>
      <pc:sldChg chg="add del">
        <pc:chgData name="Harriet Smith" userId="cAQpWI1H3pb5sTbe2loXSvZKKjNLf6ai+Xtm3KZXB/w=" providerId="None" clId="Web-{8480D9B7-50B3-4474-906A-B6DC441B338A}" dt="2025-07-01T11:21:17.325" v="2"/>
        <pc:sldMkLst>
          <pc:docMk/>
          <pc:sldMk cId="1401906240" sldId="2147483639"/>
        </pc:sldMkLst>
      </pc:sldChg>
      <pc:sldChg chg="add del">
        <pc:chgData name="Harriet Smith" userId="cAQpWI1H3pb5sTbe2loXSvZKKjNLf6ai+Xtm3KZXB/w=" providerId="None" clId="Web-{8480D9B7-50B3-4474-906A-B6DC441B338A}" dt="2025-07-01T11:21:57.170" v="11"/>
        <pc:sldMkLst>
          <pc:docMk/>
          <pc:sldMk cId="3663223136" sldId="2147483640"/>
        </pc:sldMkLst>
      </pc:sldChg>
      <pc:sldChg chg="add del">
        <pc:chgData name="Harriet Smith" userId="cAQpWI1H3pb5sTbe2loXSvZKKjNLf6ai+Xtm3KZXB/w=" providerId="None" clId="Web-{8480D9B7-50B3-4474-906A-B6DC441B338A}" dt="2025-07-01T11:22:03.951" v="14"/>
        <pc:sldMkLst>
          <pc:docMk/>
          <pc:sldMk cId="3328393031" sldId="2147483641"/>
        </pc:sldMkLst>
      </pc:sldChg>
      <pc:sldChg chg="add del">
        <pc:chgData name="Harriet Smith" userId="cAQpWI1H3pb5sTbe2loXSvZKKjNLf6ai+Xtm3KZXB/w=" providerId="None" clId="Web-{8480D9B7-50B3-4474-906A-B6DC441B338A}" dt="2025-07-01T11:22:27.046" v="17"/>
        <pc:sldMkLst>
          <pc:docMk/>
          <pc:sldMk cId="1140705592" sldId="2147483642"/>
        </pc:sldMkLst>
      </pc:sldChg>
      <pc:sldChg chg="add del">
        <pc:chgData name="Harriet Smith" userId="cAQpWI1H3pb5sTbe2loXSvZKKjNLf6ai+Xtm3KZXB/w=" providerId="None" clId="Web-{8480D9B7-50B3-4474-906A-B6DC441B338A}" dt="2025-07-01T11:22:35.624" v="20"/>
        <pc:sldMkLst>
          <pc:docMk/>
          <pc:sldMk cId="639849687" sldId="2147483643"/>
        </pc:sldMkLst>
      </pc:sldChg>
      <pc:sldChg chg="add del">
        <pc:chgData name="Harriet Smith" userId="cAQpWI1H3pb5sTbe2loXSvZKKjNLf6ai+Xtm3KZXB/w=" providerId="None" clId="Web-{8480D9B7-50B3-4474-906A-B6DC441B338A}" dt="2025-07-01T11:22:41.280" v="23"/>
        <pc:sldMkLst>
          <pc:docMk/>
          <pc:sldMk cId="3527868351" sldId="2147483644"/>
        </pc:sldMkLst>
      </pc:sldChg>
      <pc:sldChg chg="add del">
        <pc:chgData name="Harriet Smith" userId="cAQpWI1H3pb5sTbe2loXSvZKKjNLf6ai+Xtm3KZXB/w=" providerId="None" clId="Web-{8480D9B7-50B3-4474-906A-B6DC441B338A}" dt="2025-07-01T11:22:48.421" v="26"/>
        <pc:sldMkLst>
          <pc:docMk/>
          <pc:sldMk cId="2723766600" sldId="2147483645"/>
        </pc:sldMkLst>
      </pc:sldChg>
      <pc:sldChg chg="add del">
        <pc:chgData name="Harriet Smith" userId="cAQpWI1H3pb5sTbe2loXSvZKKjNLf6ai+Xtm3KZXB/w=" providerId="None" clId="Web-{8480D9B7-50B3-4474-906A-B6DC441B338A}" dt="2025-07-01T11:22:55.249" v="29"/>
        <pc:sldMkLst>
          <pc:docMk/>
          <pc:sldMk cId="2252084171" sldId="2147483646"/>
        </pc:sldMkLst>
      </pc:sldChg>
      <pc:sldChg chg="add del">
        <pc:chgData name="Harriet Smith" userId="cAQpWI1H3pb5sTbe2loXSvZKKjNLf6ai+Xtm3KZXB/w=" providerId="None" clId="Web-{8480D9B7-50B3-4474-906A-B6DC441B338A}" dt="2025-07-01T11:23:01.718" v="32"/>
        <pc:sldMkLst>
          <pc:docMk/>
          <pc:sldMk cId="2833588391" sldId="2147483647"/>
        </pc:sldMkLst>
      </pc:sldChg>
      <pc:sldMasterChg chg="addSldLayout delSldLayout modSldLayout">
        <pc:chgData name="Harriet Smith" userId="cAQpWI1H3pb5sTbe2loXSvZKKjNLf6ai+Xtm3KZXB/w=" providerId="None" clId="Web-{8480D9B7-50B3-4474-906A-B6DC441B338A}" dt="2025-07-01T11:21:17.325" v="2"/>
        <pc:sldMasterMkLst>
          <pc:docMk/>
          <pc:sldMasterMk cId="3223048728" sldId="2147483648"/>
        </pc:sldMasterMkLst>
        <pc:sldLayoutChg chg="add del">
          <pc:chgData name="Harriet Smith" userId="cAQpWI1H3pb5sTbe2loXSvZKKjNLf6ai+Xtm3KZXB/w=" providerId="None" clId="Web-{8480D9B7-50B3-4474-906A-B6DC441B338A}" dt="2025-07-01T11:21:17.060" v="1"/>
          <pc:sldLayoutMkLst>
            <pc:docMk/>
            <pc:sldMasterMk cId="3223048728" sldId="2147483648"/>
            <pc:sldLayoutMk cId="3354769891" sldId="2147483680"/>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2120986939" sldId="2147483694"/>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4047676698" sldId="2147483695"/>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3230148211" sldId="2147483696"/>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2491052060" sldId="2147483697"/>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738327800" sldId="2147483698"/>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3803982002" sldId="2147483699"/>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1054055491" sldId="2147483700"/>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2015820475" sldId="2147483701"/>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4032608394" sldId="2147483702"/>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2677368070" sldId="2147483703"/>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1443772520" sldId="2147483704"/>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2932464900" sldId="2147483705"/>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1284435787" sldId="2147483706"/>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2569884407" sldId="2147483707"/>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3356549713" sldId="2147483708"/>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3240793699" sldId="2147483709"/>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3905639567" sldId="2147483710"/>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2457266150" sldId="2147483711"/>
          </pc:sldLayoutMkLst>
        </pc:sldLayoutChg>
        <pc:sldLayoutChg chg="replId">
          <pc:chgData name="Harriet Smith" userId="cAQpWI1H3pb5sTbe2loXSvZKKjNLf6ai+Xtm3KZXB/w=" providerId="None" clId="Web-{8480D9B7-50B3-4474-906A-B6DC441B338A}" dt="2025-07-01T11:21:17.325" v="2"/>
          <pc:sldLayoutMkLst>
            <pc:docMk/>
            <pc:sldMasterMk cId="3223048728" sldId="2147483648"/>
            <pc:sldLayoutMk cId="3627675964" sldId="2147483712"/>
          </pc:sldLayoutMkLst>
        </pc:sldLayoutChg>
      </pc:sldMasterChg>
      <pc:sldMasterChg chg="add addSldLayout delSldLayout modSldLayout">
        <pc:chgData name="Harriet Smith" userId="cAQpWI1H3pb5sTbe2loXSvZKKjNLf6ai+Xtm3KZXB/w=" providerId="None" clId="Web-{8480D9B7-50B3-4474-906A-B6DC441B338A}" dt="2025-07-01T11:31:53.511" v="96"/>
        <pc:sldMasterMkLst>
          <pc:docMk/>
          <pc:sldMasterMk cId="1418883515" sldId="2147483660"/>
        </pc:sldMasterMkLst>
        <pc:sldLayoutChg chg="add">
          <pc:chgData name="Harriet Smith" userId="cAQpWI1H3pb5sTbe2loXSvZKKjNLf6ai+Xtm3KZXB/w=" providerId="None" clId="Web-{8480D9B7-50B3-4474-906A-B6DC441B338A}" dt="2025-07-01T11:21:17.325" v="2"/>
          <pc:sldLayoutMkLst>
            <pc:docMk/>
            <pc:sldMasterMk cId="1418883515" sldId="2147483660"/>
            <pc:sldLayoutMk cId="4000040110" sldId="2147483661"/>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1313563858" sldId="2147483662"/>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2453052610" sldId="2147483663"/>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2204397725" sldId="2147483664"/>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3161846234" sldId="2147483665"/>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3116680642" sldId="2147483666"/>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3264669494" sldId="2147483667"/>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2699406455" sldId="2147483668"/>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3035058384" sldId="2147483669"/>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1887472529" sldId="2147483670"/>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383394412" sldId="2147483671"/>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3855312695" sldId="2147483673"/>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1097953067" sldId="2147483676"/>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1083125022" sldId="2147483677"/>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3611726693" sldId="2147483678"/>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3236342048" sldId="2147483679"/>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3386950408" sldId="2147483680"/>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3521646769" sldId="2147483681"/>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1991823143" sldId="2147483682"/>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3228267259" sldId="2147483683"/>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1327336552" sldId="2147483684"/>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2920523472" sldId="2147483685"/>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3067695248" sldId="2147483686"/>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20757623" sldId="2147483687"/>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2600140192" sldId="2147483688"/>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2801723274" sldId="2147483689"/>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1635751398" sldId="2147483690"/>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1713138832" sldId="2147483691"/>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891747486" sldId="2147483692"/>
          </pc:sldLayoutMkLst>
        </pc:sldLayoutChg>
        <pc:sldLayoutChg chg="add">
          <pc:chgData name="Harriet Smith" userId="cAQpWI1H3pb5sTbe2loXSvZKKjNLf6ai+Xtm3KZXB/w=" providerId="None" clId="Web-{8480D9B7-50B3-4474-906A-B6DC441B338A}" dt="2025-07-01T11:21:17.325" v="2"/>
          <pc:sldLayoutMkLst>
            <pc:docMk/>
            <pc:sldMasterMk cId="1418883515" sldId="2147483660"/>
            <pc:sldLayoutMk cId="1281554229" sldId="2147483693"/>
          </pc:sldLayoutMkLst>
        </pc:sldLayoutChg>
        <pc:sldLayoutChg chg="add">
          <pc:chgData name="Harriet Smith" userId="cAQpWI1H3pb5sTbe2loXSvZKKjNLf6ai+Xtm3KZXB/w=" providerId="None" clId="Web-{8480D9B7-50B3-4474-906A-B6DC441B338A}" dt="2025-07-01T11:21:38.357" v="5"/>
          <pc:sldLayoutMkLst>
            <pc:docMk/>
            <pc:sldMasterMk cId="1418883515" sldId="2147483660"/>
            <pc:sldLayoutMk cId="2453052610" sldId="2147483713"/>
          </pc:sldLayoutMkLst>
        </pc:sldLayoutChg>
        <pc:sldLayoutChg chg="add">
          <pc:chgData name="Harriet Smith" userId="cAQpWI1H3pb5sTbe2loXSvZKKjNLf6ai+Xtm3KZXB/w=" providerId="None" clId="Web-{8480D9B7-50B3-4474-906A-B6DC441B338A}" dt="2025-07-01T11:21:38.357" v="5"/>
          <pc:sldLayoutMkLst>
            <pc:docMk/>
            <pc:sldMasterMk cId="1418883515" sldId="2147483660"/>
            <pc:sldLayoutMk cId="3161846234" sldId="2147483714"/>
          </pc:sldLayoutMkLst>
        </pc:sldLayoutChg>
        <pc:sldLayoutChg chg="add del">
          <pc:chgData name="Harriet Smith" userId="cAQpWI1H3pb5sTbe2loXSvZKKjNLf6ai+Xtm3KZXB/w=" providerId="None" clId="Web-{8480D9B7-50B3-4474-906A-B6DC441B338A}" dt="2025-07-01T11:22:26.796" v="16"/>
          <pc:sldLayoutMkLst>
            <pc:docMk/>
            <pc:sldMasterMk cId="1418883515" sldId="2147483660"/>
            <pc:sldLayoutMk cId="1343161271" sldId="2147483715"/>
          </pc:sldLayoutMkLst>
        </pc:sldLayoutChg>
        <pc:sldLayoutChg chg="add replId">
          <pc:chgData name="Harriet Smith" userId="cAQpWI1H3pb5sTbe2loXSvZKKjNLf6ai+Xtm3KZXB/w=" providerId="None" clId="Web-{8480D9B7-50B3-4474-906A-B6DC441B338A}" dt="2025-07-01T11:31:53.511" v="96"/>
          <pc:sldLayoutMkLst>
            <pc:docMk/>
            <pc:sldMasterMk cId="1418883515" sldId="2147483660"/>
            <pc:sldLayoutMk cId="2053217817" sldId="2147484227"/>
          </pc:sldLayoutMkLst>
        </pc:sldLayoutChg>
        <pc:sldLayoutChg chg="add replId">
          <pc:chgData name="Harriet Smith" userId="cAQpWI1H3pb5sTbe2loXSvZKKjNLf6ai+Xtm3KZXB/w=" providerId="None" clId="Web-{8480D9B7-50B3-4474-906A-B6DC441B338A}" dt="2025-07-01T11:31:53.511" v="96"/>
          <pc:sldLayoutMkLst>
            <pc:docMk/>
            <pc:sldMasterMk cId="1418883515" sldId="2147483660"/>
            <pc:sldLayoutMk cId="1389545347" sldId="2147484228"/>
          </pc:sldLayoutMkLst>
        </pc:sldLayoutChg>
        <pc:sldLayoutChg chg="add replId">
          <pc:chgData name="Harriet Smith" userId="cAQpWI1H3pb5sTbe2loXSvZKKjNLf6ai+Xtm3KZXB/w=" providerId="None" clId="Web-{8480D9B7-50B3-4474-906A-B6DC441B338A}" dt="2025-07-01T11:31:53.511" v="96"/>
          <pc:sldLayoutMkLst>
            <pc:docMk/>
            <pc:sldMasterMk cId="1418883515" sldId="2147483660"/>
            <pc:sldLayoutMk cId="4255042398" sldId="2147484229"/>
          </pc:sldLayoutMkLst>
        </pc:sldLayoutChg>
      </pc:sldMasterChg>
      <pc:sldMasterChg chg="add addSldLayout">
        <pc:chgData name="Harriet Smith" userId="cAQpWI1H3pb5sTbe2loXSvZKKjNLf6ai+Xtm3KZXB/w=" providerId="None" clId="Web-{8480D9B7-50B3-4474-906A-B6DC441B338A}" dt="2025-07-01T11:31:53.511" v="96"/>
        <pc:sldMasterMkLst>
          <pc:docMk/>
          <pc:sldMasterMk cId="2088241681" sldId="2147483672"/>
        </pc:sldMasterMkLst>
        <pc:sldLayoutChg chg="add">
          <pc:chgData name="Harriet Smith" userId="cAQpWI1H3pb5sTbe2loXSvZKKjNLf6ai+Xtm3KZXB/w=" providerId="None" clId="Web-{8480D9B7-50B3-4474-906A-B6DC441B338A}" dt="2025-07-01T11:31:53.511" v="96"/>
          <pc:sldLayoutMkLst>
            <pc:docMk/>
            <pc:sldMasterMk cId="2088241681" sldId="2147483672"/>
            <pc:sldLayoutMk cId="2196400562" sldId="2147483674"/>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3304413" sldId="2147483675"/>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3730293705" sldId="2147483723"/>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3315317990" sldId="2147484039"/>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2737093168" sldId="2147484095"/>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2480510508" sldId="2147484107"/>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297093446" sldId="2147484108"/>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541559279" sldId="2147484109"/>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3527122488" sldId="2147484114"/>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81214787" sldId="2147484115"/>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2302858889" sldId="2147484116"/>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3374305064" sldId="2147484117"/>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2980319790" sldId="2147484121"/>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4274676116" sldId="2147484122"/>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3061111842" sldId="2147484123"/>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2389157880" sldId="2147484124"/>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312121515" sldId="2147484125"/>
          </pc:sldLayoutMkLst>
        </pc:sldLayoutChg>
        <pc:sldLayoutChg chg="add">
          <pc:chgData name="Harriet Smith" userId="cAQpWI1H3pb5sTbe2loXSvZKKjNLf6ai+Xtm3KZXB/w=" providerId="None" clId="Web-{8480D9B7-50B3-4474-906A-B6DC441B338A}" dt="2025-07-01T11:31:53.511" v="96"/>
          <pc:sldLayoutMkLst>
            <pc:docMk/>
            <pc:sldMasterMk cId="2088241681" sldId="2147483672"/>
            <pc:sldLayoutMk cId="2552559669" sldId="2147484126"/>
          </pc:sldLayoutMkLst>
        </pc:sldLayoutChg>
      </pc:sldMasterChg>
      <pc:sldMasterChg chg="add addSldLayout delSldLayout">
        <pc:chgData name="Harriet Smith" userId="cAQpWI1H3pb5sTbe2loXSvZKKjNLf6ai+Xtm3KZXB/w=" providerId="None" clId="Web-{8480D9B7-50B3-4474-906A-B6DC441B338A}" dt="2025-07-01T11:31:53.277" v="95"/>
        <pc:sldMasterMkLst>
          <pc:docMk/>
          <pc:sldMasterMk cId="3601119669" sldId="2147484175"/>
        </pc:sldMasterMkLst>
        <pc:sldLayoutChg chg="add">
          <pc:chgData name="Harriet Smith" userId="cAQpWI1H3pb5sTbe2loXSvZKKjNLf6ai+Xtm3KZXB/w=" providerId="None" clId="Web-{8480D9B7-50B3-4474-906A-B6DC441B338A}" dt="2025-07-01T11:22:27.046" v="17"/>
          <pc:sldLayoutMkLst>
            <pc:docMk/>
            <pc:sldMasterMk cId="3601119669" sldId="2147484175"/>
            <pc:sldLayoutMk cId="3030965952" sldId="2147484176"/>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2796511941" sldId="2147484177"/>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2302103411" sldId="2147484178"/>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2175672213" sldId="2147484179"/>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1323945203" sldId="2147484180"/>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51271825" sldId="2147484181"/>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057176401" sldId="2147484182"/>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1333853186" sldId="2147484183"/>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2980275672" sldId="2147484184"/>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067070163" sldId="2147484185"/>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428032502" sldId="2147484186"/>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124971453" sldId="2147484187"/>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4046189412" sldId="2147484188"/>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1011514940" sldId="2147484189"/>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762691806" sldId="2147484190"/>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136601848" sldId="2147484191"/>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2069534136" sldId="2147484192"/>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335537055" sldId="2147484193"/>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243581466" sldId="2147484194"/>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401037382" sldId="2147484195"/>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374956502" sldId="2147484196"/>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526309410" sldId="2147484197"/>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824877669" sldId="2147484198"/>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2597304903" sldId="2147484199"/>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2329277351" sldId="2147484200"/>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467975363" sldId="2147484201"/>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780193479" sldId="2147484202"/>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2291495816" sldId="2147484203"/>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2533011912" sldId="2147484204"/>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1801942060" sldId="2147484205"/>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553034357" sldId="2147484206"/>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1205895276" sldId="2147484207"/>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1766603934" sldId="2147484208"/>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2262235108" sldId="2147484209"/>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1564051033" sldId="2147484210"/>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1633146652" sldId="2147484211"/>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146886992" sldId="2147484212"/>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4212122122" sldId="2147484213"/>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323659513" sldId="2147484214"/>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1466246556" sldId="2147484215"/>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694110141" sldId="2147484216"/>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250281617" sldId="2147484217"/>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1915668263" sldId="2147484218"/>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834450695" sldId="2147484219"/>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2522890578" sldId="2147484220"/>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821675706" sldId="2147484221"/>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566581046" sldId="2147484222"/>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901003580" sldId="2147484223"/>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753682984" sldId="2147484224"/>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3955987799" sldId="2147484225"/>
          </pc:sldLayoutMkLst>
        </pc:sldLayoutChg>
        <pc:sldLayoutChg chg="add">
          <pc:chgData name="Harriet Smith" userId="cAQpWI1H3pb5sTbe2loXSvZKKjNLf6ai+Xtm3KZXB/w=" providerId="None" clId="Web-{8480D9B7-50B3-4474-906A-B6DC441B338A}" dt="2025-07-01T11:22:27.046" v="17"/>
          <pc:sldLayoutMkLst>
            <pc:docMk/>
            <pc:sldMasterMk cId="3601119669" sldId="2147484175"/>
            <pc:sldLayoutMk cId="450021817" sldId="2147484226"/>
          </pc:sldLayoutMkLst>
        </pc:sldLayoutChg>
        <pc:sldLayoutChg chg="add del">
          <pc:chgData name="Harriet Smith" userId="cAQpWI1H3pb5sTbe2loXSvZKKjNLf6ai+Xtm3KZXB/w=" providerId="None" clId="Web-{8480D9B7-50B3-4474-906A-B6DC441B338A}" dt="2025-07-01T11:31:53.277" v="95"/>
          <pc:sldLayoutMkLst>
            <pc:docMk/>
            <pc:sldMasterMk cId="3601119669" sldId="2147484175"/>
            <pc:sldLayoutMk cId="2031175041" sldId="2147484227"/>
          </pc:sldLayoutMkLst>
        </pc:sldLayoutChg>
      </pc:sldMasterChg>
    </pc:docChg>
  </pc:docChgLst>
  <pc:docChgLst>
    <pc:chgData name="Harriet Smith" userId="cAQpWI1H3pb5sTbe2loXSvZKKjNLf6ai+Xtm3KZXB/w=" providerId="None" clId="Web-{0B56634F-A904-4885-8451-209A5F41DD97}"/>
    <pc:docChg chg="modSld">
      <pc:chgData name="Harriet Smith" userId="cAQpWI1H3pb5sTbe2loXSvZKKjNLf6ai+Xtm3KZXB/w=" providerId="None" clId="Web-{0B56634F-A904-4885-8451-209A5F41DD97}" dt="2025-07-01T11:19:31.879" v="13" actId="20577"/>
      <pc:docMkLst>
        <pc:docMk/>
      </pc:docMkLst>
      <pc:sldChg chg="addSp delSp modSp">
        <pc:chgData name="Harriet Smith" userId="cAQpWI1H3pb5sTbe2loXSvZKKjNLf6ai+Xtm3KZXB/w=" providerId="None" clId="Web-{0B56634F-A904-4885-8451-209A5F41DD97}" dt="2025-07-01T11:19:31.879" v="13" actId="20577"/>
        <pc:sldMkLst>
          <pc:docMk/>
          <pc:sldMk cId="2942167901" sldId="302"/>
        </pc:sldMkLst>
        <pc:spChg chg="add del mod">
          <ac:chgData name="Harriet Smith" userId="cAQpWI1H3pb5sTbe2loXSvZKKjNLf6ai+Xtm3KZXB/w=" providerId="None" clId="Web-{0B56634F-A904-4885-8451-209A5F41DD97}" dt="2025-07-01T11:19:29.098" v="9"/>
          <ac:spMkLst>
            <pc:docMk/>
            <pc:sldMk cId="2942167901" sldId="302"/>
            <ac:spMk id="3" creationId="{353F92CE-CAC1-C204-F3D5-4A66DE55F5D1}"/>
          </ac:spMkLst>
        </pc:spChg>
        <pc:spChg chg="mod">
          <ac:chgData name="Harriet Smith" userId="cAQpWI1H3pb5sTbe2loXSvZKKjNLf6ai+Xtm3KZXB/w=" providerId="None" clId="Web-{0B56634F-A904-4885-8451-209A5F41DD97}" dt="2025-07-01T11:19:31.879" v="13" actId="20577"/>
          <ac:spMkLst>
            <pc:docMk/>
            <pc:sldMk cId="2942167901" sldId="302"/>
            <ac:spMk id="47" creationId="{1D41B2C7-CA49-45CA-A7D0-03041642826A}"/>
          </ac:spMkLst>
        </pc:spChg>
        <pc:spChg chg="add del">
          <ac:chgData name="Harriet Smith" userId="cAQpWI1H3pb5sTbe2loXSvZKKjNLf6ai+Xtm3KZXB/w=" providerId="None" clId="Web-{0B56634F-A904-4885-8451-209A5F41DD97}" dt="2025-07-01T11:19:29.098" v="9"/>
          <ac:spMkLst>
            <pc:docMk/>
            <pc:sldMk cId="2942167901" sldId="302"/>
            <ac:spMk id="48" creationId="{9DADBCE4-93AF-42A7-93E9-CA2A5A06C959}"/>
          </ac:spMkLst>
        </pc:spChg>
      </pc:sldChg>
    </pc:docChg>
  </pc:docChgLst>
</pc:chgInfo>
</file>

<file path=ppt/comments/modernComment_100_CA2835FD.xml><?xml version="1.0" encoding="utf-8"?>
<p188:cmLst xmlns:a="http://schemas.openxmlformats.org/drawingml/2006/main" xmlns:r="http://schemas.openxmlformats.org/officeDocument/2006/relationships" xmlns:p188="http://schemas.microsoft.com/office/powerpoint/2018/8/main">
  <p188:cm id="{F987D444-61D2-4594-8536-4CE90407CAC5}" authorId="{8B2D60E2-85AE-DAF5-1D10-9CCAED460CC2}" status="resolved" created="2025-05-05T08:39:35.374">
    <ac:deMkLst xmlns:ac="http://schemas.microsoft.com/office/drawing/2013/main/command">
      <pc:docMk xmlns:pc="http://schemas.microsoft.com/office/powerpoint/2013/main/command"/>
      <pc:sldMk xmlns:pc="http://schemas.microsoft.com/office/powerpoint/2013/main/command" cId="3391632893" sldId="2147483646"/>
      <ac:spMk id="5" creationId="{71360832-F837-25D5-AB25-538D0946360A}"/>
    </ac:deMkLst>
    <p188:replyLst>
      <p188:reply id="{C24E814D-E369-4D40-B6ED-16251A7B494B}" authorId="{22B6D484-2347-44B7-EEEC-3DCEA3969577}" created="2025-05-05T20:50:41.576">
        <p188:txBody>
          <a:bodyPr/>
          <a:lstStyle/>
          <a:p>
            <a:r>
              <a:rPr lang="cs-CZ"/>
              <a:t>I tried to simplify a bit but can not change order really as one needs to start from a model</a:t>
            </a:r>
          </a:p>
        </p188:txBody>
      </p188:reply>
    </p188:replyLst>
    <p188:txBody>
      <a:bodyPr/>
      <a:lstStyle/>
      <a:p>
        <a:r>
          <a:rPr lang="en-GB"/>
          <a:t>I don’t quite understand this slide… can you better group in terms of old and new or whether run in IF v Oasis? </a:t>
        </a:r>
      </a:p>
    </p188:txBody>
  </p188:cm>
</p188:cmLst>
</file>

<file path=ppt/diagrams/_rels/data2.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image" Target="../media/image43.svg"/></Relationships>
</file>

<file path=ppt/diagrams/_rels/data4.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38.png"/><Relationship Id="rId7" Type="http://schemas.openxmlformats.org/officeDocument/2006/relationships/image" Target="../media/image52.png"/><Relationship Id="rId2" Type="http://schemas.openxmlformats.org/officeDocument/2006/relationships/image" Target="../media/image49.svg"/><Relationship Id="rId1" Type="http://schemas.openxmlformats.org/officeDocument/2006/relationships/image" Target="../media/image48.png"/><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39.svg"/></Relationships>
</file>

<file path=ppt/diagrams/_rels/drawing2.xml.rels><?xml version="1.0" encoding="UTF-8" standalone="yes"?>
<Relationships xmlns="http://schemas.openxmlformats.org/package/2006/relationships"><Relationship Id="rId8" Type="http://schemas.openxmlformats.org/officeDocument/2006/relationships/image" Target="../media/image37.sv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svg"/><Relationship Id="rId2" Type="http://schemas.openxmlformats.org/officeDocument/2006/relationships/image" Target="../media/image31.svg"/><Relationship Id="rId1" Type="http://schemas.openxmlformats.org/officeDocument/2006/relationships/image" Target="../media/image30.png"/><Relationship Id="rId6" Type="http://schemas.openxmlformats.org/officeDocument/2006/relationships/image" Target="../media/image35.svg"/><Relationship Id="rId11" Type="http://schemas.openxmlformats.org/officeDocument/2006/relationships/image" Target="../media/image40.png"/><Relationship Id="rId5" Type="http://schemas.openxmlformats.org/officeDocument/2006/relationships/image" Target="../media/image34.png"/><Relationship Id="rId10" Type="http://schemas.openxmlformats.org/officeDocument/2006/relationships/image" Target="../media/image39.svg"/><Relationship Id="rId4" Type="http://schemas.openxmlformats.org/officeDocument/2006/relationships/image" Target="../media/image33.svg"/><Relationship Id="rId9" Type="http://schemas.openxmlformats.org/officeDocument/2006/relationships/image" Target="../media/image38.png"/><Relationship Id="rId14" Type="http://schemas.openxmlformats.org/officeDocument/2006/relationships/image" Target="../media/image43.svg"/></Relationships>
</file>

<file path=ppt/diagrams/_rels/drawing4.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38.png"/><Relationship Id="rId7" Type="http://schemas.openxmlformats.org/officeDocument/2006/relationships/image" Target="../media/image52.png"/><Relationship Id="rId2" Type="http://schemas.openxmlformats.org/officeDocument/2006/relationships/image" Target="../media/image49.svg"/><Relationship Id="rId1" Type="http://schemas.openxmlformats.org/officeDocument/2006/relationships/image" Target="../media/image48.png"/><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39.svg"/></Relationships>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1054FF-7EB0-4EE9-97A3-F3154DEFE874}" type="doc">
      <dgm:prSet loTypeId="urn:microsoft.com/office/officeart/2005/8/layout/hierarchy4" loCatId="hierarchy" qsTypeId="urn:microsoft.com/office/officeart/2005/8/quickstyle/simple1" qsCatId="simple" csTypeId="urn:microsoft.com/office/officeart/2005/8/colors/accent2_2" csCatId="accent2" phldr="1"/>
      <dgm:spPr/>
      <dgm:t>
        <a:bodyPr/>
        <a:lstStyle/>
        <a:p>
          <a:endParaRPr lang="cs-CZ"/>
        </a:p>
      </dgm:t>
    </dgm:pt>
    <dgm:pt modelId="{C3F61AEF-0C1D-45F9-98F6-7B05FCF20462}">
      <dgm:prSet phldrT="[Text]" custT="1"/>
      <dgm:spPr>
        <a:solidFill>
          <a:schemeClr val="tx1">
            <a:lumMod val="50000"/>
            <a:lumOff val="50000"/>
          </a:schemeClr>
        </a:solidFill>
      </dgm:spPr>
      <dgm:t>
        <a:bodyPr/>
        <a:lstStyle/>
        <a:p>
          <a:r>
            <a:rPr lang="en-US" sz="2800" b="1"/>
            <a:t>Catastrophe Model</a:t>
          </a:r>
        </a:p>
      </dgm:t>
    </dgm:pt>
    <dgm:pt modelId="{FB781EF8-FC09-408C-9DC6-FC097766E520}" type="parTrans" cxnId="{35B76A9B-078B-4DA3-95A6-B77A7211C209}">
      <dgm:prSet/>
      <dgm:spPr/>
      <dgm:t>
        <a:bodyPr/>
        <a:lstStyle/>
        <a:p>
          <a:endParaRPr lang="cs-CZ" sz="1050"/>
        </a:p>
      </dgm:t>
    </dgm:pt>
    <dgm:pt modelId="{D8965C54-224E-40CB-B048-D9B241A94EDA}" type="sibTrans" cxnId="{35B76A9B-078B-4DA3-95A6-B77A7211C209}">
      <dgm:prSet/>
      <dgm:spPr/>
      <dgm:t>
        <a:bodyPr/>
        <a:lstStyle/>
        <a:p>
          <a:endParaRPr lang="cs-CZ" sz="1050"/>
        </a:p>
      </dgm:t>
    </dgm:pt>
    <dgm:pt modelId="{1048B0D9-5DAF-4608-9658-CE85CB318C31}">
      <dgm:prSet phldrT="[Text]" custT="1"/>
      <dgm:spPr>
        <a:solidFill>
          <a:srgbClr val="FFD893"/>
        </a:solidFill>
        <a:ln w="28575">
          <a:noFill/>
          <a:prstDash val="solid"/>
        </a:ln>
      </dgm:spPr>
      <dgm:t>
        <a:bodyPr/>
        <a:lstStyle/>
        <a:p>
          <a:r>
            <a:rPr lang="en-US" sz="2100">
              <a:solidFill>
                <a:schemeClr val="tx1"/>
              </a:solidFill>
            </a:rPr>
            <a:t>IF financial engine </a:t>
          </a:r>
          <a:endParaRPr lang="cs-CZ" sz="2100">
            <a:solidFill>
              <a:schemeClr val="tx1"/>
            </a:solidFill>
          </a:endParaRPr>
        </a:p>
      </dgm:t>
    </dgm:pt>
    <dgm:pt modelId="{7524A3AA-DBDB-4D11-8D49-3B041FF23F67}" type="parTrans" cxnId="{134781F5-EB9C-4845-BCAF-A07D94B45B0E}">
      <dgm:prSet/>
      <dgm:spPr/>
      <dgm:t>
        <a:bodyPr/>
        <a:lstStyle/>
        <a:p>
          <a:endParaRPr lang="cs-CZ" sz="1050"/>
        </a:p>
      </dgm:t>
    </dgm:pt>
    <dgm:pt modelId="{6B73DAA4-9D1C-4E8A-B0B8-D386389CF42A}" type="sibTrans" cxnId="{134781F5-EB9C-4845-BCAF-A07D94B45B0E}">
      <dgm:prSet/>
      <dgm:spPr/>
      <dgm:t>
        <a:bodyPr/>
        <a:lstStyle/>
        <a:p>
          <a:endParaRPr lang="cs-CZ" sz="1050"/>
        </a:p>
      </dgm:t>
    </dgm:pt>
    <dgm:pt modelId="{61DFB1BC-3869-47D2-A352-C295721FD319}">
      <dgm:prSet phldrT="[Text]" custT="1"/>
      <dgm:spPr>
        <a:solidFill>
          <a:schemeClr val="accent1">
            <a:lumMod val="20000"/>
            <a:lumOff val="80000"/>
          </a:schemeClr>
        </a:solidFill>
        <a:ln w="28575">
          <a:noFill/>
        </a:ln>
      </dgm:spPr>
      <dgm:t>
        <a:bodyPr/>
        <a:lstStyle/>
        <a:p>
          <a:r>
            <a:rPr lang="en-US" sz="2100">
              <a:solidFill>
                <a:schemeClr val="tx1"/>
              </a:solidFill>
            </a:rPr>
            <a:t>Oasis financial engine</a:t>
          </a:r>
        </a:p>
      </dgm:t>
    </dgm:pt>
    <dgm:pt modelId="{3E470066-5F80-4E4A-862B-CEEF0104658E}" type="parTrans" cxnId="{6388BB12-20AF-4E7A-8586-6C3ED5A0463C}">
      <dgm:prSet/>
      <dgm:spPr/>
      <dgm:t>
        <a:bodyPr/>
        <a:lstStyle/>
        <a:p>
          <a:endParaRPr lang="cs-CZ" sz="1050"/>
        </a:p>
      </dgm:t>
    </dgm:pt>
    <dgm:pt modelId="{186B714F-3E42-434A-8800-AA13B965A66F}" type="sibTrans" cxnId="{6388BB12-20AF-4E7A-8586-6C3ED5A0463C}">
      <dgm:prSet/>
      <dgm:spPr/>
      <dgm:t>
        <a:bodyPr/>
        <a:lstStyle/>
        <a:p>
          <a:endParaRPr lang="cs-CZ" sz="1050"/>
        </a:p>
      </dgm:t>
    </dgm:pt>
    <dgm:pt modelId="{38719DC0-C3D8-494C-B220-364A3BB707DC}">
      <dgm:prSet phldrT="[Text]" custT="1"/>
      <dgm:spPr>
        <a:solidFill>
          <a:srgbClr val="FFD893"/>
        </a:solidFill>
        <a:ln w="28575">
          <a:solidFill>
            <a:srgbClr val="FFA600"/>
          </a:solidFill>
          <a:prstDash val="solid"/>
        </a:ln>
      </dgm:spPr>
      <dgm:t>
        <a:bodyPr/>
        <a:lstStyle/>
        <a:p>
          <a:r>
            <a:rPr lang="en-US" sz="1600" b="1">
              <a:solidFill>
                <a:schemeClr val="tx1"/>
              </a:solidFill>
            </a:rPr>
            <a:t>In ELEMENTS</a:t>
          </a:r>
        </a:p>
      </dgm:t>
    </dgm:pt>
    <dgm:pt modelId="{FE85F534-9991-4529-8E14-FA227DE16380}" type="parTrans" cxnId="{7E6152B7-9577-4240-9EDD-C8396D06EFEC}">
      <dgm:prSet/>
      <dgm:spPr/>
      <dgm:t>
        <a:bodyPr/>
        <a:lstStyle/>
        <a:p>
          <a:endParaRPr lang="cs-CZ" sz="1050"/>
        </a:p>
      </dgm:t>
    </dgm:pt>
    <dgm:pt modelId="{6D1F7F6A-3553-4E0A-A259-8D92CF397236}" type="sibTrans" cxnId="{7E6152B7-9577-4240-9EDD-C8396D06EFEC}">
      <dgm:prSet/>
      <dgm:spPr/>
      <dgm:t>
        <a:bodyPr/>
        <a:lstStyle/>
        <a:p>
          <a:endParaRPr lang="cs-CZ" sz="1050"/>
        </a:p>
      </dgm:t>
    </dgm:pt>
    <dgm:pt modelId="{CBF9F32E-81E8-4101-8ED4-27C42E1E2293}">
      <dgm:prSet phldrT="[Text]" custT="1"/>
      <dgm:spPr>
        <a:solidFill>
          <a:schemeClr val="accent1">
            <a:lumMod val="20000"/>
            <a:lumOff val="80000"/>
          </a:schemeClr>
        </a:solidFill>
        <a:ln w="28575">
          <a:solidFill>
            <a:srgbClr val="FFA600"/>
          </a:solidFill>
        </a:ln>
      </dgm:spPr>
      <dgm:t>
        <a:bodyPr/>
        <a:lstStyle/>
        <a:p>
          <a:r>
            <a:rPr lang="en-US" sz="1600" b="1">
              <a:solidFill>
                <a:schemeClr val="tx1"/>
              </a:solidFill>
            </a:rPr>
            <a:t>In ELEMENTS</a:t>
          </a:r>
          <a:endParaRPr lang="cs-CZ" sz="1600" b="1">
            <a:solidFill>
              <a:schemeClr val="tx1"/>
            </a:solidFill>
          </a:endParaRPr>
        </a:p>
      </dgm:t>
    </dgm:pt>
    <dgm:pt modelId="{5F78E898-F125-42E1-9D14-3E24B9B0FEB8}" type="parTrans" cxnId="{EE4FF190-DAFC-499C-BE06-B615B7BFAD13}">
      <dgm:prSet/>
      <dgm:spPr/>
      <dgm:t>
        <a:bodyPr/>
        <a:lstStyle/>
        <a:p>
          <a:endParaRPr lang="cs-CZ" sz="1050"/>
        </a:p>
      </dgm:t>
    </dgm:pt>
    <dgm:pt modelId="{13C104B1-6D1D-46E8-B3A7-0DFBC20F60DE}" type="sibTrans" cxnId="{EE4FF190-DAFC-499C-BE06-B615B7BFAD13}">
      <dgm:prSet/>
      <dgm:spPr/>
      <dgm:t>
        <a:bodyPr/>
        <a:lstStyle/>
        <a:p>
          <a:endParaRPr lang="cs-CZ" sz="1050"/>
        </a:p>
      </dgm:t>
    </dgm:pt>
    <dgm:pt modelId="{79CE9691-B4E6-4815-B8ED-CB98356403F1}">
      <dgm:prSet phldrT="[Text]" custT="1"/>
      <dgm:spPr>
        <a:solidFill>
          <a:schemeClr val="accent1">
            <a:lumMod val="20000"/>
            <a:lumOff val="80000"/>
          </a:schemeClr>
        </a:solidFill>
        <a:ln w="28575">
          <a:solidFill>
            <a:srgbClr val="00B0F0"/>
          </a:solidFill>
        </a:ln>
      </dgm:spPr>
      <dgm:t>
        <a:bodyPr/>
        <a:lstStyle/>
        <a:p>
          <a:r>
            <a:rPr lang="en-US" sz="1600" b="1">
              <a:solidFill>
                <a:schemeClr val="tx1"/>
              </a:solidFill>
            </a:rPr>
            <a:t>Verisk’s NRMC</a:t>
          </a:r>
          <a:endParaRPr lang="cs-CZ" sz="1600" b="1">
            <a:solidFill>
              <a:schemeClr val="tx1"/>
            </a:solidFill>
          </a:endParaRPr>
        </a:p>
      </dgm:t>
    </dgm:pt>
    <dgm:pt modelId="{8CB48A3D-D5F3-4058-BD70-375CF20DCCC6}" type="parTrans" cxnId="{EF1953A5-0686-4AE0-9458-B038BF59D669}">
      <dgm:prSet/>
      <dgm:spPr/>
      <dgm:t>
        <a:bodyPr/>
        <a:lstStyle/>
        <a:p>
          <a:endParaRPr lang="cs-CZ" sz="1050"/>
        </a:p>
      </dgm:t>
    </dgm:pt>
    <dgm:pt modelId="{A6764D24-8B3D-4154-8DDF-4FA90F8F3133}" type="sibTrans" cxnId="{EF1953A5-0686-4AE0-9458-B038BF59D669}">
      <dgm:prSet/>
      <dgm:spPr/>
      <dgm:t>
        <a:bodyPr/>
        <a:lstStyle/>
        <a:p>
          <a:endParaRPr lang="cs-CZ" sz="1050"/>
        </a:p>
      </dgm:t>
    </dgm:pt>
    <dgm:pt modelId="{F82B2008-FC63-422D-8D69-4445543B2F5F}">
      <dgm:prSet phldrT="[Text]" custT="1"/>
      <dgm:spPr>
        <a:solidFill>
          <a:schemeClr val="accent1">
            <a:lumMod val="20000"/>
            <a:lumOff val="80000"/>
          </a:schemeClr>
        </a:solidFill>
        <a:ln w="28575">
          <a:solidFill>
            <a:srgbClr val="00B0F0"/>
          </a:solidFill>
        </a:ln>
      </dgm:spPr>
      <dgm:t>
        <a:bodyPr/>
        <a:lstStyle/>
        <a:p>
          <a:r>
            <a:rPr lang="en-US" sz="1400">
              <a:solidFill>
                <a:schemeClr val="tx1"/>
              </a:solidFill>
            </a:rPr>
            <a:t>Direct</a:t>
          </a:r>
        </a:p>
        <a:p>
          <a:r>
            <a:rPr lang="en-US" sz="1400">
              <a:solidFill>
                <a:schemeClr val="tx1"/>
              </a:solidFill>
            </a:rPr>
            <a:t>(SaaS)</a:t>
          </a:r>
          <a:endParaRPr lang="cs-CZ" sz="1400">
            <a:solidFill>
              <a:schemeClr val="tx1"/>
            </a:solidFill>
          </a:endParaRPr>
        </a:p>
      </dgm:t>
    </dgm:pt>
    <dgm:pt modelId="{4D5D9B26-D201-4C2F-BB73-CCE388AD7755}" type="parTrans" cxnId="{6E1E5C43-A30B-46D1-BA2C-E5EEF6F7EA44}">
      <dgm:prSet/>
      <dgm:spPr/>
      <dgm:t>
        <a:bodyPr/>
        <a:lstStyle/>
        <a:p>
          <a:endParaRPr lang="cs-CZ" sz="1050"/>
        </a:p>
      </dgm:t>
    </dgm:pt>
    <dgm:pt modelId="{DC0C9CA3-8729-4677-B8D0-A5F406D019A3}" type="sibTrans" cxnId="{6E1E5C43-A30B-46D1-BA2C-E5EEF6F7EA44}">
      <dgm:prSet/>
      <dgm:spPr/>
      <dgm:t>
        <a:bodyPr/>
        <a:lstStyle/>
        <a:p>
          <a:endParaRPr lang="cs-CZ" sz="1050"/>
        </a:p>
      </dgm:t>
    </dgm:pt>
    <dgm:pt modelId="{68DD954D-91CE-4613-8006-11983677EE29}">
      <dgm:prSet phldrT="[Text]" custT="1"/>
      <dgm:spPr>
        <a:solidFill>
          <a:schemeClr val="accent1">
            <a:lumMod val="20000"/>
            <a:lumOff val="80000"/>
          </a:schemeClr>
        </a:solidFill>
        <a:ln w="28575">
          <a:solidFill>
            <a:srgbClr val="101E7F"/>
          </a:solidFill>
        </a:ln>
      </dgm:spPr>
      <dgm:t>
        <a:bodyPr/>
        <a:lstStyle/>
        <a:p>
          <a:r>
            <a:rPr lang="en-US" sz="1300">
              <a:solidFill>
                <a:schemeClr val="tx1"/>
              </a:solidFill>
            </a:rPr>
            <a:t>Via Moody’s IRP  </a:t>
          </a:r>
          <a:endParaRPr lang="cs-CZ" sz="1300">
            <a:solidFill>
              <a:schemeClr val="tx1"/>
            </a:solidFill>
          </a:endParaRPr>
        </a:p>
      </dgm:t>
    </dgm:pt>
    <dgm:pt modelId="{D0485DB0-999A-4FE8-836B-4AF8C48898E2}" type="parTrans" cxnId="{4D03FD20-777E-4419-A6FE-E50686172714}">
      <dgm:prSet/>
      <dgm:spPr/>
      <dgm:t>
        <a:bodyPr/>
        <a:lstStyle/>
        <a:p>
          <a:endParaRPr lang="cs-CZ" sz="1050"/>
        </a:p>
      </dgm:t>
    </dgm:pt>
    <dgm:pt modelId="{4FFB7D0F-8D3B-4990-B302-A595FA1020C8}" type="sibTrans" cxnId="{4D03FD20-777E-4419-A6FE-E50686172714}">
      <dgm:prSet/>
      <dgm:spPr/>
      <dgm:t>
        <a:bodyPr/>
        <a:lstStyle/>
        <a:p>
          <a:endParaRPr lang="cs-CZ" sz="1050"/>
        </a:p>
      </dgm:t>
    </dgm:pt>
    <dgm:pt modelId="{8C5EB3E9-BAF8-4604-84CD-A6B21571AC87}">
      <dgm:prSet phldrT="[Text]" custT="1"/>
      <dgm:spPr>
        <a:solidFill>
          <a:srgbClr val="FFD893"/>
        </a:solidFill>
        <a:ln w="28575">
          <a:solidFill>
            <a:srgbClr val="FFA600"/>
          </a:solidFill>
          <a:prstDash val="solid"/>
        </a:ln>
      </dgm:spPr>
      <dgm:t>
        <a:bodyPr/>
        <a:lstStyle/>
        <a:p>
          <a:r>
            <a:rPr lang="en-US" sz="1400">
              <a:solidFill>
                <a:schemeClr val="tx1"/>
              </a:solidFill>
            </a:rPr>
            <a:t>On prem</a:t>
          </a:r>
          <a:endParaRPr lang="cs-CZ" sz="1400">
            <a:solidFill>
              <a:schemeClr val="tx1"/>
            </a:solidFill>
          </a:endParaRPr>
        </a:p>
      </dgm:t>
    </dgm:pt>
    <dgm:pt modelId="{78FADA62-D105-474C-8753-5818E1EE875B}" type="parTrans" cxnId="{D9C3A6FC-B3D3-4957-BF06-1F751E22B88B}">
      <dgm:prSet/>
      <dgm:spPr/>
      <dgm:t>
        <a:bodyPr/>
        <a:lstStyle/>
        <a:p>
          <a:endParaRPr lang="cs-CZ" sz="1050"/>
        </a:p>
      </dgm:t>
    </dgm:pt>
    <dgm:pt modelId="{2785D055-896F-4C31-A9A4-1BF07585B4EE}" type="sibTrans" cxnId="{D9C3A6FC-B3D3-4957-BF06-1F751E22B88B}">
      <dgm:prSet/>
      <dgm:spPr/>
      <dgm:t>
        <a:bodyPr/>
        <a:lstStyle/>
        <a:p>
          <a:endParaRPr lang="cs-CZ" sz="1050"/>
        </a:p>
      </dgm:t>
    </dgm:pt>
    <dgm:pt modelId="{0AC7C1F6-8916-4C47-AE5B-8DE204A9C091}">
      <dgm:prSet phldrT="[Text]" custT="1"/>
      <dgm:spPr>
        <a:solidFill>
          <a:srgbClr val="FFD893"/>
        </a:solidFill>
        <a:ln w="28575">
          <a:solidFill>
            <a:srgbClr val="FFA600"/>
          </a:solidFill>
          <a:prstDash val="solid"/>
        </a:ln>
      </dgm:spPr>
      <dgm:t>
        <a:bodyPr/>
        <a:lstStyle/>
        <a:p>
          <a:r>
            <a:rPr lang="en-US" sz="1400">
              <a:solidFill>
                <a:schemeClr val="tx1"/>
              </a:solidFill>
            </a:rPr>
            <a:t>On AWS</a:t>
          </a:r>
          <a:endParaRPr lang="cs-CZ" sz="1400">
            <a:solidFill>
              <a:schemeClr val="tx1"/>
            </a:solidFill>
          </a:endParaRPr>
        </a:p>
      </dgm:t>
    </dgm:pt>
    <dgm:pt modelId="{6210279E-57C4-4676-8FBB-F1C2D50659EF}" type="parTrans" cxnId="{63B47947-0CB4-4F4B-A9C0-C77D4CF9EDAE}">
      <dgm:prSet/>
      <dgm:spPr/>
      <dgm:t>
        <a:bodyPr/>
        <a:lstStyle/>
        <a:p>
          <a:endParaRPr lang="cs-CZ" sz="1050"/>
        </a:p>
      </dgm:t>
    </dgm:pt>
    <dgm:pt modelId="{AADA0B8E-D590-4EC5-897C-38BA9BE0612C}" type="sibTrans" cxnId="{63B47947-0CB4-4F4B-A9C0-C77D4CF9EDAE}">
      <dgm:prSet/>
      <dgm:spPr/>
      <dgm:t>
        <a:bodyPr/>
        <a:lstStyle/>
        <a:p>
          <a:endParaRPr lang="cs-CZ" sz="1050"/>
        </a:p>
      </dgm:t>
    </dgm:pt>
    <dgm:pt modelId="{1B0AACB2-797F-482D-BAAA-7BB84E36EEDC}">
      <dgm:prSet phldrT="[Text]" custT="1"/>
      <dgm:spPr>
        <a:solidFill>
          <a:schemeClr val="accent1">
            <a:lumMod val="20000"/>
            <a:lumOff val="80000"/>
          </a:schemeClr>
        </a:solidFill>
        <a:ln w="28575">
          <a:solidFill>
            <a:srgbClr val="FFA600"/>
          </a:solidFill>
        </a:ln>
      </dgm:spPr>
      <dgm:t>
        <a:bodyPr/>
        <a:lstStyle/>
        <a:p>
          <a:r>
            <a:rPr lang="en-US" sz="1400">
              <a:solidFill>
                <a:schemeClr val="tx1"/>
              </a:solidFill>
            </a:rPr>
            <a:t>On prem</a:t>
          </a:r>
          <a:endParaRPr lang="cs-CZ" sz="1400">
            <a:solidFill>
              <a:schemeClr val="tx1"/>
            </a:solidFill>
          </a:endParaRPr>
        </a:p>
      </dgm:t>
    </dgm:pt>
    <dgm:pt modelId="{8BB8BBCA-5BC8-4A81-95A1-7B59E997A511}" type="parTrans" cxnId="{20BC4762-1744-497A-9408-172CAABDE54A}">
      <dgm:prSet/>
      <dgm:spPr/>
      <dgm:t>
        <a:bodyPr/>
        <a:lstStyle/>
        <a:p>
          <a:endParaRPr lang="cs-CZ" sz="1050"/>
        </a:p>
      </dgm:t>
    </dgm:pt>
    <dgm:pt modelId="{E888345F-E734-4F5A-B20E-A21F627D4515}" type="sibTrans" cxnId="{20BC4762-1744-497A-9408-172CAABDE54A}">
      <dgm:prSet/>
      <dgm:spPr/>
      <dgm:t>
        <a:bodyPr/>
        <a:lstStyle/>
        <a:p>
          <a:endParaRPr lang="cs-CZ" sz="1050"/>
        </a:p>
      </dgm:t>
    </dgm:pt>
    <dgm:pt modelId="{A3CB471A-C3FC-427D-B1B5-227444E56BE1}">
      <dgm:prSet phldrT="[Text]" custT="1"/>
      <dgm:spPr>
        <a:solidFill>
          <a:schemeClr val="accent1">
            <a:lumMod val="20000"/>
            <a:lumOff val="80000"/>
          </a:schemeClr>
        </a:solidFill>
        <a:ln w="28575">
          <a:solidFill>
            <a:srgbClr val="FFA600"/>
          </a:solidFill>
        </a:ln>
      </dgm:spPr>
      <dgm:t>
        <a:bodyPr/>
        <a:lstStyle/>
        <a:p>
          <a:r>
            <a:rPr lang="en-US" sz="1400">
              <a:solidFill>
                <a:schemeClr val="tx1"/>
              </a:solidFill>
            </a:rPr>
            <a:t>On AWS</a:t>
          </a:r>
          <a:endParaRPr lang="cs-CZ" sz="1400">
            <a:solidFill>
              <a:schemeClr val="tx1"/>
            </a:solidFill>
          </a:endParaRPr>
        </a:p>
      </dgm:t>
    </dgm:pt>
    <dgm:pt modelId="{C7804D40-5125-439B-AE96-AFDE66136B57}" type="parTrans" cxnId="{2FC31D64-922C-4AEC-9981-85487879C5C7}">
      <dgm:prSet/>
      <dgm:spPr/>
      <dgm:t>
        <a:bodyPr/>
        <a:lstStyle/>
        <a:p>
          <a:endParaRPr lang="cs-CZ" sz="1050"/>
        </a:p>
      </dgm:t>
    </dgm:pt>
    <dgm:pt modelId="{F5D0A7EA-9005-42EB-85EF-80B683E795F9}" type="sibTrans" cxnId="{2FC31D64-922C-4AEC-9981-85487879C5C7}">
      <dgm:prSet/>
      <dgm:spPr/>
      <dgm:t>
        <a:bodyPr/>
        <a:lstStyle/>
        <a:p>
          <a:endParaRPr lang="cs-CZ" sz="1050"/>
        </a:p>
      </dgm:t>
    </dgm:pt>
    <dgm:pt modelId="{AFDABEBD-8E0C-40E6-9EF0-64B323C7BDAA}">
      <dgm:prSet phldrT="[Text]" custT="1"/>
      <dgm:spPr>
        <a:solidFill>
          <a:schemeClr val="accent1">
            <a:lumMod val="20000"/>
            <a:lumOff val="80000"/>
          </a:schemeClr>
        </a:solidFill>
        <a:ln w="28575">
          <a:noFill/>
        </a:ln>
      </dgm:spPr>
      <dgm:t>
        <a:bodyPr/>
        <a:lstStyle/>
        <a:p>
          <a:r>
            <a:rPr lang="en-US" sz="1400" b="1">
              <a:solidFill>
                <a:schemeClr val="tx1"/>
              </a:solidFill>
            </a:rPr>
            <a:t>Client’s own</a:t>
          </a:r>
          <a:endParaRPr lang="cs-CZ" sz="1400" b="1">
            <a:solidFill>
              <a:schemeClr val="tx1"/>
            </a:solidFill>
          </a:endParaRPr>
        </a:p>
      </dgm:t>
    </dgm:pt>
    <dgm:pt modelId="{FBCA6692-C3AA-4468-A25C-E453D7D3B3CF}" type="parTrans" cxnId="{6CB77C88-600C-49ED-9D68-DB5BC2DC57F0}">
      <dgm:prSet/>
      <dgm:spPr/>
      <dgm:t>
        <a:bodyPr/>
        <a:lstStyle/>
        <a:p>
          <a:endParaRPr lang="cs-CZ" sz="1050"/>
        </a:p>
      </dgm:t>
    </dgm:pt>
    <dgm:pt modelId="{F154BC59-3D65-4D8F-A595-96C0A1151895}" type="sibTrans" cxnId="{6CB77C88-600C-49ED-9D68-DB5BC2DC57F0}">
      <dgm:prSet/>
      <dgm:spPr/>
      <dgm:t>
        <a:bodyPr/>
        <a:lstStyle/>
        <a:p>
          <a:endParaRPr lang="cs-CZ" sz="1050"/>
        </a:p>
      </dgm:t>
    </dgm:pt>
    <dgm:pt modelId="{6C61D554-4FBF-417F-93BE-A408C0CB7119}">
      <dgm:prSet phldrT="[Text]" custT="1"/>
      <dgm:spPr>
        <a:solidFill>
          <a:schemeClr val="accent1">
            <a:lumMod val="20000"/>
            <a:lumOff val="80000"/>
          </a:schemeClr>
        </a:solidFill>
        <a:ln w="28575">
          <a:noFill/>
        </a:ln>
      </dgm:spPr>
      <dgm:t>
        <a:bodyPr/>
        <a:lstStyle/>
        <a:p>
          <a:r>
            <a:rPr lang="en-US" sz="1400">
              <a:solidFill>
                <a:schemeClr val="tx1"/>
              </a:solidFill>
            </a:rPr>
            <a:t>On prem / SaaS</a:t>
          </a:r>
          <a:endParaRPr lang="cs-CZ" sz="1400">
            <a:solidFill>
              <a:schemeClr val="tx1"/>
            </a:solidFill>
          </a:endParaRPr>
        </a:p>
      </dgm:t>
    </dgm:pt>
    <dgm:pt modelId="{68B4CD96-1AAA-4C90-A70F-29DE3E3BC326}" type="parTrans" cxnId="{5133CD73-5227-4C14-8617-100678519E28}">
      <dgm:prSet/>
      <dgm:spPr/>
      <dgm:t>
        <a:bodyPr/>
        <a:lstStyle/>
        <a:p>
          <a:endParaRPr lang="cs-CZ" sz="1050"/>
        </a:p>
      </dgm:t>
    </dgm:pt>
    <dgm:pt modelId="{F838141F-09D6-42F2-B707-9E0DCB8DB561}" type="sibTrans" cxnId="{5133CD73-5227-4C14-8617-100678519E28}">
      <dgm:prSet/>
      <dgm:spPr/>
      <dgm:t>
        <a:bodyPr/>
        <a:lstStyle/>
        <a:p>
          <a:endParaRPr lang="cs-CZ" sz="1050"/>
        </a:p>
      </dgm:t>
    </dgm:pt>
    <dgm:pt modelId="{F71930DD-AE23-4287-9408-A4E26F6E9D6E}">
      <dgm:prSet phldrT="[Text]" custT="1"/>
      <dgm:spPr>
        <a:solidFill>
          <a:schemeClr val="accent1">
            <a:lumMod val="20000"/>
            <a:lumOff val="80000"/>
          </a:schemeClr>
        </a:solidFill>
        <a:ln w="28575">
          <a:noFill/>
        </a:ln>
      </dgm:spPr>
      <dgm:t>
        <a:bodyPr/>
        <a:lstStyle/>
        <a:p>
          <a:r>
            <a:rPr lang="en-US" sz="1400" b="1">
              <a:solidFill>
                <a:schemeClr val="tx1"/>
              </a:solidFill>
            </a:rPr>
            <a:t>Other Oasis based</a:t>
          </a:r>
          <a:endParaRPr lang="cs-CZ" sz="1400" b="1">
            <a:solidFill>
              <a:schemeClr val="tx1"/>
            </a:solidFill>
          </a:endParaRPr>
        </a:p>
      </dgm:t>
    </dgm:pt>
    <dgm:pt modelId="{F72F1622-620F-4A9B-B689-552BE8050F9E}" type="parTrans" cxnId="{9D49BB3E-1F05-44D8-BF71-8804DDDFB15B}">
      <dgm:prSet/>
      <dgm:spPr/>
      <dgm:t>
        <a:bodyPr/>
        <a:lstStyle/>
        <a:p>
          <a:endParaRPr lang="cs-CZ"/>
        </a:p>
      </dgm:t>
    </dgm:pt>
    <dgm:pt modelId="{F171358A-BCAA-4B74-AE76-28FA41C982D0}" type="sibTrans" cxnId="{9D49BB3E-1F05-44D8-BF71-8804DDDFB15B}">
      <dgm:prSet/>
      <dgm:spPr/>
      <dgm:t>
        <a:bodyPr/>
        <a:lstStyle/>
        <a:p>
          <a:endParaRPr lang="cs-CZ"/>
        </a:p>
      </dgm:t>
    </dgm:pt>
    <dgm:pt modelId="{1D51862B-1611-4C2F-AD1E-484900C712D4}">
      <dgm:prSet phldrT="[Text]" custT="1"/>
      <dgm:spPr>
        <a:solidFill>
          <a:schemeClr val="bg1">
            <a:lumMod val="75000"/>
          </a:schemeClr>
        </a:solidFill>
      </dgm:spPr>
      <dgm:t>
        <a:bodyPr/>
        <a:lstStyle/>
        <a:p>
          <a:r>
            <a:rPr lang="en-US" sz="1300" b="0">
              <a:solidFill>
                <a:schemeClr val="tx1"/>
              </a:solidFill>
            </a:rPr>
            <a:t>Other engines</a:t>
          </a:r>
          <a:endParaRPr lang="cs-CZ" sz="1300" b="0">
            <a:solidFill>
              <a:schemeClr val="tx1"/>
            </a:solidFill>
          </a:endParaRPr>
        </a:p>
      </dgm:t>
    </dgm:pt>
    <dgm:pt modelId="{084D7622-87E5-4C1F-90D3-F1F3D344C987}" type="parTrans" cxnId="{BE411926-95E6-4C14-989C-03D0A2DC74CE}">
      <dgm:prSet/>
      <dgm:spPr/>
      <dgm:t>
        <a:bodyPr/>
        <a:lstStyle/>
        <a:p>
          <a:endParaRPr lang="cs-CZ"/>
        </a:p>
      </dgm:t>
    </dgm:pt>
    <dgm:pt modelId="{7AD4E01C-1DBF-4A17-965B-9AF2C086AEE5}" type="sibTrans" cxnId="{BE411926-95E6-4C14-989C-03D0A2DC74CE}">
      <dgm:prSet/>
      <dgm:spPr/>
      <dgm:t>
        <a:bodyPr/>
        <a:lstStyle/>
        <a:p>
          <a:endParaRPr lang="cs-CZ"/>
        </a:p>
      </dgm:t>
    </dgm:pt>
    <dgm:pt modelId="{9AC6B88B-F276-4B79-9235-422606D823CE}">
      <dgm:prSet phldrT="[Text]" custT="1"/>
      <dgm:spPr>
        <a:solidFill>
          <a:srgbClr val="FFD893"/>
        </a:solidFill>
        <a:ln w="28575">
          <a:solidFill>
            <a:srgbClr val="FFA600"/>
          </a:solidFill>
          <a:prstDash val="solid"/>
        </a:ln>
      </dgm:spPr>
      <dgm:t>
        <a:bodyPr/>
        <a:lstStyle/>
        <a:p>
          <a:r>
            <a:rPr lang="en-US" sz="1400" b="0">
              <a:solidFill>
                <a:schemeClr val="tx1">
                  <a:lumMod val="50000"/>
                  <a:lumOff val="50000"/>
                </a:schemeClr>
              </a:solidFill>
            </a:rPr>
            <a:t>SaaS</a:t>
          </a:r>
          <a:endParaRPr lang="cs-CZ" sz="1400" b="0">
            <a:solidFill>
              <a:schemeClr val="tx1">
                <a:lumMod val="50000"/>
                <a:lumOff val="50000"/>
              </a:schemeClr>
            </a:solidFill>
          </a:endParaRPr>
        </a:p>
      </dgm:t>
    </dgm:pt>
    <dgm:pt modelId="{A058452B-7FCC-43D5-9C4F-6FAD9D39F385}" type="parTrans" cxnId="{20F653BA-DBB1-40F0-BB3A-E2A8A0DA60A0}">
      <dgm:prSet/>
      <dgm:spPr/>
      <dgm:t>
        <a:bodyPr/>
        <a:lstStyle/>
        <a:p>
          <a:endParaRPr lang="cs-CZ"/>
        </a:p>
      </dgm:t>
    </dgm:pt>
    <dgm:pt modelId="{950C1BDA-1C05-4B14-A176-3CEC46C53A20}" type="sibTrans" cxnId="{20F653BA-DBB1-40F0-BB3A-E2A8A0DA60A0}">
      <dgm:prSet/>
      <dgm:spPr/>
      <dgm:t>
        <a:bodyPr/>
        <a:lstStyle/>
        <a:p>
          <a:endParaRPr lang="cs-CZ"/>
        </a:p>
      </dgm:t>
    </dgm:pt>
    <dgm:pt modelId="{E113482C-0C10-4185-A48A-00AF6551DB4D}">
      <dgm:prSet phldrT="[Text]"/>
      <dgm:spPr>
        <a:solidFill>
          <a:schemeClr val="bg1">
            <a:lumMod val="75000"/>
          </a:schemeClr>
        </a:solidFill>
      </dgm:spPr>
      <dgm:t>
        <a:bodyPr/>
        <a:lstStyle/>
        <a:p>
          <a:r>
            <a:rPr lang="en-US" b="0">
              <a:solidFill>
                <a:schemeClr val="tx1"/>
              </a:solidFill>
            </a:rPr>
            <a:t>Other platforms</a:t>
          </a:r>
          <a:endParaRPr lang="cs-CZ" b="0">
            <a:solidFill>
              <a:schemeClr val="tx1"/>
            </a:solidFill>
          </a:endParaRPr>
        </a:p>
      </dgm:t>
    </dgm:pt>
    <dgm:pt modelId="{5243B4BD-C2D8-4163-9A5B-50F94FAF214E}" type="parTrans" cxnId="{123FE658-4599-4F5B-B5E0-D4867218B3A9}">
      <dgm:prSet/>
      <dgm:spPr/>
      <dgm:t>
        <a:bodyPr/>
        <a:lstStyle/>
        <a:p>
          <a:endParaRPr lang="cs-CZ"/>
        </a:p>
      </dgm:t>
    </dgm:pt>
    <dgm:pt modelId="{14A86651-AE14-42FE-8179-99649E8881C2}" type="sibTrans" cxnId="{123FE658-4599-4F5B-B5E0-D4867218B3A9}">
      <dgm:prSet/>
      <dgm:spPr/>
      <dgm:t>
        <a:bodyPr/>
        <a:lstStyle/>
        <a:p>
          <a:endParaRPr lang="cs-CZ"/>
        </a:p>
      </dgm:t>
    </dgm:pt>
    <dgm:pt modelId="{21741BBF-424F-4191-8E82-B5BA5A725807}">
      <dgm:prSet phldrT="[Text]" custT="1"/>
      <dgm:spPr>
        <a:solidFill>
          <a:schemeClr val="accent1">
            <a:lumMod val="20000"/>
            <a:lumOff val="80000"/>
          </a:schemeClr>
        </a:solidFill>
        <a:ln w="28575">
          <a:solidFill>
            <a:srgbClr val="FFA600"/>
          </a:solidFill>
        </a:ln>
      </dgm:spPr>
      <dgm:t>
        <a:bodyPr/>
        <a:lstStyle/>
        <a:p>
          <a:r>
            <a:rPr lang="en-US" sz="1400">
              <a:solidFill>
                <a:schemeClr val="tx2">
                  <a:lumMod val="60000"/>
                  <a:lumOff val="40000"/>
                </a:schemeClr>
              </a:solidFill>
            </a:rPr>
            <a:t>SaaS</a:t>
          </a:r>
          <a:endParaRPr lang="cs-CZ" sz="1400">
            <a:solidFill>
              <a:schemeClr val="tx2">
                <a:lumMod val="60000"/>
                <a:lumOff val="40000"/>
              </a:schemeClr>
            </a:solidFill>
          </a:endParaRPr>
        </a:p>
      </dgm:t>
    </dgm:pt>
    <dgm:pt modelId="{1A246F3A-CDEF-4A7A-8FCF-31F83A4D10E9}" type="parTrans" cxnId="{D3651E87-8DD1-40BD-A92B-5BDB7AB0B701}">
      <dgm:prSet/>
      <dgm:spPr/>
      <dgm:t>
        <a:bodyPr/>
        <a:lstStyle/>
        <a:p>
          <a:endParaRPr lang="cs-CZ"/>
        </a:p>
      </dgm:t>
    </dgm:pt>
    <dgm:pt modelId="{8DF2E110-D2D4-4100-91F0-92B1A32F2B44}" type="sibTrans" cxnId="{D3651E87-8DD1-40BD-A92B-5BDB7AB0B701}">
      <dgm:prSet/>
      <dgm:spPr/>
      <dgm:t>
        <a:bodyPr/>
        <a:lstStyle/>
        <a:p>
          <a:endParaRPr lang="cs-CZ"/>
        </a:p>
      </dgm:t>
    </dgm:pt>
    <dgm:pt modelId="{FD8612E7-8A76-468C-8864-7AC0F6CF31E4}" type="pres">
      <dgm:prSet presAssocID="{EA1054FF-7EB0-4EE9-97A3-F3154DEFE874}" presName="Name0" presStyleCnt="0">
        <dgm:presLayoutVars>
          <dgm:chPref val="1"/>
          <dgm:dir/>
          <dgm:animOne val="branch"/>
          <dgm:animLvl val="lvl"/>
          <dgm:resizeHandles/>
        </dgm:presLayoutVars>
      </dgm:prSet>
      <dgm:spPr/>
    </dgm:pt>
    <dgm:pt modelId="{20BD590A-EDD2-4CCB-AEF9-D113DDEFB4CE}" type="pres">
      <dgm:prSet presAssocID="{C3F61AEF-0C1D-45F9-98F6-7B05FCF20462}" presName="vertOne" presStyleCnt="0"/>
      <dgm:spPr/>
    </dgm:pt>
    <dgm:pt modelId="{5E5C1EF9-9558-43E0-A434-33C657406D83}" type="pres">
      <dgm:prSet presAssocID="{C3F61AEF-0C1D-45F9-98F6-7B05FCF20462}" presName="txOne" presStyleLbl="node0" presStyleIdx="0" presStyleCnt="1">
        <dgm:presLayoutVars>
          <dgm:chPref val="3"/>
        </dgm:presLayoutVars>
      </dgm:prSet>
      <dgm:spPr/>
    </dgm:pt>
    <dgm:pt modelId="{1EFEC7FE-42C3-4868-BE6D-C4B7FCDF045B}" type="pres">
      <dgm:prSet presAssocID="{C3F61AEF-0C1D-45F9-98F6-7B05FCF20462}" presName="parTransOne" presStyleCnt="0"/>
      <dgm:spPr/>
    </dgm:pt>
    <dgm:pt modelId="{63F0E831-922E-40DF-990E-54BD0E0B9ACC}" type="pres">
      <dgm:prSet presAssocID="{C3F61AEF-0C1D-45F9-98F6-7B05FCF20462}" presName="horzOne" presStyleCnt="0"/>
      <dgm:spPr/>
    </dgm:pt>
    <dgm:pt modelId="{7BC0D1DD-92C5-4D52-8EC8-C711DB756E14}" type="pres">
      <dgm:prSet presAssocID="{1048B0D9-5DAF-4608-9658-CE85CB318C31}" presName="vertTwo" presStyleCnt="0"/>
      <dgm:spPr/>
    </dgm:pt>
    <dgm:pt modelId="{09F8E3F2-CC0F-4659-B02F-70701E653647}" type="pres">
      <dgm:prSet presAssocID="{1048B0D9-5DAF-4608-9658-CE85CB318C31}" presName="txTwo" presStyleLbl="node2" presStyleIdx="0" presStyleCnt="3">
        <dgm:presLayoutVars>
          <dgm:chPref val="3"/>
        </dgm:presLayoutVars>
      </dgm:prSet>
      <dgm:spPr/>
    </dgm:pt>
    <dgm:pt modelId="{6CFB7D42-9C79-43BE-B866-3D195E115EEA}" type="pres">
      <dgm:prSet presAssocID="{1048B0D9-5DAF-4608-9658-CE85CB318C31}" presName="parTransTwo" presStyleCnt="0"/>
      <dgm:spPr/>
    </dgm:pt>
    <dgm:pt modelId="{B5FD77F3-81AB-4759-B6CF-2D1F9DB7B19B}" type="pres">
      <dgm:prSet presAssocID="{1048B0D9-5DAF-4608-9658-CE85CB318C31}" presName="horzTwo" presStyleCnt="0"/>
      <dgm:spPr/>
    </dgm:pt>
    <dgm:pt modelId="{332B7DA8-37D2-447B-9160-BD97EC47D752}" type="pres">
      <dgm:prSet presAssocID="{38719DC0-C3D8-494C-B220-364A3BB707DC}" presName="vertThree" presStyleCnt="0"/>
      <dgm:spPr/>
    </dgm:pt>
    <dgm:pt modelId="{E9BA8F3E-F01B-4D12-8013-5A900894EBB0}" type="pres">
      <dgm:prSet presAssocID="{38719DC0-C3D8-494C-B220-364A3BB707DC}" presName="txThree" presStyleLbl="node3" presStyleIdx="0" presStyleCnt="6">
        <dgm:presLayoutVars>
          <dgm:chPref val="3"/>
        </dgm:presLayoutVars>
      </dgm:prSet>
      <dgm:spPr/>
    </dgm:pt>
    <dgm:pt modelId="{96EEFDA3-A40A-459C-B5E9-27E5E705D656}" type="pres">
      <dgm:prSet presAssocID="{38719DC0-C3D8-494C-B220-364A3BB707DC}" presName="parTransThree" presStyleCnt="0"/>
      <dgm:spPr/>
    </dgm:pt>
    <dgm:pt modelId="{95800064-566A-4E6D-82A4-C99AAA9F8B13}" type="pres">
      <dgm:prSet presAssocID="{38719DC0-C3D8-494C-B220-364A3BB707DC}" presName="horzThree" presStyleCnt="0"/>
      <dgm:spPr/>
    </dgm:pt>
    <dgm:pt modelId="{3C41A235-5060-4EC3-A1D5-2D7BA9204E0B}" type="pres">
      <dgm:prSet presAssocID="{8C5EB3E9-BAF8-4604-84CD-A6B21571AC87}" presName="vertFour" presStyleCnt="0">
        <dgm:presLayoutVars>
          <dgm:chPref val="3"/>
        </dgm:presLayoutVars>
      </dgm:prSet>
      <dgm:spPr/>
    </dgm:pt>
    <dgm:pt modelId="{6DAA54A0-BCF9-4197-8B1A-FF3510968A59}" type="pres">
      <dgm:prSet presAssocID="{8C5EB3E9-BAF8-4604-84CD-A6B21571AC87}" presName="txFour" presStyleLbl="node4" presStyleIdx="0" presStyleCnt="9">
        <dgm:presLayoutVars>
          <dgm:chPref val="3"/>
        </dgm:presLayoutVars>
      </dgm:prSet>
      <dgm:spPr/>
    </dgm:pt>
    <dgm:pt modelId="{6D27B157-64D1-4F3A-8C9B-660E9F57E144}" type="pres">
      <dgm:prSet presAssocID="{8C5EB3E9-BAF8-4604-84CD-A6B21571AC87}" presName="horzFour" presStyleCnt="0"/>
      <dgm:spPr/>
    </dgm:pt>
    <dgm:pt modelId="{DDE49BC7-7FFB-4141-BECE-FFA350C284B6}" type="pres">
      <dgm:prSet presAssocID="{2785D055-896F-4C31-A9A4-1BF07585B4EE}" presName="sibSpaceFour" presStyleCnt="0"/>
      <dgm:spPr/>
    </dgm:pt>
    <dgm:pt modelId="{AC6A58CF-D22C-4D51-B8CC-05371227BE34}" type="pres">
      <dgm:prSet presAssocID="{0AC7C1F6-8916-4C47-AE5B-8DE204A9C091}" presName="vertFour" presStyleCnt="0">
        <dgm:presLayoutVars>
          <dgm:chPref val="3"/>
        </dgm:presLayoutVars>
      </dgm:prSet>
      <dgm:spPr/>
    </dgm:pt>
    <dgm:pt modelId="{904F8875-0AA8-4767-A6C6-321A38BA51FD}" type="pres">
      <dgm:prSet presAssocID="{0AC7C1F6-8916-4C47-AE5B-8DE204A9C091}" presName="txFour" presStyleLbl="node4" presStyleIdx="1" presStyleCnt="9">
        <dgm:presLayoutVars>
          <dgm:chPref val="3"/>
        </dgm:presLayoutVars>
      </dgm:prSet>
      <dgm:spPr/>
    </dgm:pt>
    <dgm:pt modelId="{C797AFD3-B676-4ACE-8DEB-AEBEEA6F865D}" type="pres">
      <dgm:prSet presAssocID="{0AC7C1F6-8916-4C47-AE5B-8DE204A9C091}" presName="horzFour" presStyleCnt="0"/>
      <dgm:spPr/>
    </dgm:pt>
    <dgm:pt modelId="{535B0780-AF98-441B-9D34-2EAB174654A4}" type="pres">
      <dgm:prSet presAssocID="{AADA0B8E-D590-4EC5-897C-38BA9BE0612C}" presName="sibSpaceFour" presStyleCnt="0"/>
      <dgm:spPr/>
    </dgm:pt>
    <dgm:pt modelId="{AF7DAE4E-73EC-4F56-944F-9E90FF191F4F}" type="pres">
      <dgm:prSet presAssocID="{9AC6B88B-F276-4B79-9235-422606D823CE}" presName="vertFour" presStyleCnt="0">
        <dgm:presLayoutVars>
          <dgm:chPref val="3"/>
        </dgm:presLayoutVars>
      </dgm:prSet>
      <dgm:spPr/>
    </dgm:pt>
    <dgm:pt modelId="{A7B9D0A6-6FBA-4D6B-919E-827A8639D438}" type="pres">
      <dgm:prSet presAssocID="{9AC6B88B-F276-4B79-9235-422606D823CE}" presName="txFour" presStyleLbl="node4" presStyleIdx="2" presStyleCnt="9">
        <dgm:presLayoutVars>
          <dgm:chPref val="3"/>
        </dgm:presLayoutVars>
      </dgm:prSet>
      <dgm:spPr/>
    </dgm:pt>
    <dgm:pt modelId="{EB6C09E1-DC86-4308-B7DD-8884324FBD79}" type="pres">
      <dgm:prSet presAssocID="{9AC6B88B-F276-4B79-9235-422606D823CE}" presName="horzFour" presStyleCnt="0"/>
      <dgm:spPr/>
    </dgm:pt>
    <dgm:pt modelId="{151F1006-4032-42F9-8CCD-223701D44CD0}" type="pres">
      <dgm:prSet presAssocID="{6B73DAA4-9D1C-4E8A-B0B8-D386389CF42A}" presName="sibSpaceTwo" presStyleCnt="0"/>
      <dgm:spPr/>
    </dgm:pt>
    <dgm:pt modelId="{F8637A55-D254-4F3A-B0EC-5B5C0121D4C2}" type="pres">
      <dgm:prSet presAssocID="{61DFB1BC-3869-47D2-A352-C295721FD319}" presName="vertTwo" presStyleCnt="0"/>
      <dgm:spPr/>
    </dgm:pt>
    <dgm:pt modelId="{2EF5C144-C6DA-4247-ABF8-C94EFC669CA1}" type="pres">
      <dgm:prSet presAssocID="{61DFB1BC-3869-47D2-A352-C295721FD319}" presName="txTwo" presStyleLbl="node2" presStyleIdx="1" presStyleCnt="3">
        <dgm:presLayoutVars>
          <dgm:chPref val="3"/>
        </dgm:presLayoutVars>
      </dgm:prSet>
      <dgm:spPr/>
    </dgm:pt>
    <dgm:pt modelId="{CA580643-B1A5-42EE-83E3-B0C1E7ACD6D9}" type="pres">
      <dgm:prSet presAssocID="{61DFB1BC-3869-47D2-A352-C295721FD319}" presName="parTransTwo" presStyleCnt="0"/>
      <dgm:spPr/>
    </dgm:pt>
    <dgm:pt modelId="{7876794B-746E-4AB5-8193-D59EF6DD02FF}" type="pres">
      <dgm:prSet presAssocID="{61DFB1BC-3869-47D2-A352-C295721FD319}" presName="horzTwo" presStyleCnt="0"/>
      <dgm:spPr/>
    </dgm:pt>
    <dgm:pt modelId="{314EC492-9436-4936-AB59-785C00D1786A}" type="pres">
      <dgm:prSet presAssocID="{AFDABEBD-8E0C-40E6-9EF0-64B323C7BDAA}" presName="vertThree" presStyleCnt="0"/>
      <dgm:spPr/>
    </dgm:pt>
    <dgm:pt modelId="{2527F62E-8A3A-4CC9-AF12-CCCF518B2B57}" type="pres">
      <dgm:prSet presAssocID="{AFDABEBD-8E0C-40E6-9EF0-64B323C7BDAA}" presName="txThree" presStyleLbl="node3" presStyleIdx="1" presStyleCnt="6">
        <dgm:presLayoutVars>
          <dgm:chPref val="3"/>
        </dgm:presLayoutVars>
      </dgm:prSet>
      <dgm:spPr/>
    </dgm:pt>
    <dgm:pt modelId="{9ACC47D4-A2EA-41A5-88F7-808EBCBB6515}" type="pres">
      <dgm:prSet presAssocID="{AFDABEBD-8E0C-40E6-9EF0-64B323C7BDAA}" presName="parTransThree" presStyleCnt="0"/>
      <dgm:spPr/>
    </dgm:pt>
    <dgm:pt modelId="{2536C613-36FB-458E-8A6F-0B2212553391}" type="pres">
      <dgm:prSet presAssocID="{AFDABEBD-8E0C-40E6-9EF0-64B323C7BDAA}" presName="horzThree" presStyleCnt="0"/>
      <dgm:spPr/>
    </dgm:pt>
    <dgm:pt modelId="{91D96D0A-C8F1-49D0-9844-29B4932DBB66}" type="pres">
      <dgm:prSet presAssocID="{6C61D554-4FBF-417F-93BE-A408C0CB7119}" presName="vertFour" presStyleCnt="0">
        <dgm:presLayoutVars>
          <dgm:chPref val="3"/>
        </dgm:presLayoutVars>
      </dgm:prSet>
      <dgm:spPr/>
    </dgm:pt>
    <dgm:pt modelId="{DAA74557-672C-41C9-AA3E-49DFA7332F51}" type="pres">
      <dgm:prSet presAssocID="{6C61D554-4FBF-417F-93BE-A408C0CB7119}" presName="txFour" presStyleLbl="node4" presStyleIdx="3" presStyleCnt="9">
        <dgm:presLayoutVars>
          <dgm:chPref val="3"/>
        </dgm:presLayoutVars>
      </dgm:prSet>
      <dgm:spPr/>
    </dgm:pt>
    <dgm:pt modelId="{0AAF793A-D914-4706-B2C7-00C81FDCEF3D}" type="pres">
      <dgm:prSet presAssocID="{6C61D554-4FBF-417F-93BE-A408C0CB7119}" presName="horzFour" presStyleCnt="0"/>
      <dgm:spPr/>
    </dgm:pt>
    <dgm:pt modelId="{8AA5D150-E83C-49CE-B252-7BEA540FC404}" type="pres">
      <dgm:prSet presAssocID="{F154BC59-3D65-4D8F-A595-96C0A1151895}" presName="sibSpaceThree" presStyleCnt="0"/>
      <dgm:spPr/>
    </dgm:pt>
    <dgm:pt modelId="{345079FD-5084-401B-AFC9-FE853779A106}" type="pres">
      <dgm:prSet presAssocID="{CBF9F32E-81E8-4101-8ED4-27C42E1E2293}" presName="vertThree" presStyleCnt="0"/>
      <dgm:spPr/>
    </dgm:pt>
    <dgm:pt modelId="{1D623DD2-0D65-47A2-82A3-C36A76ED0764}" type="pres">
      <dgm:prSet presAssocID="{CBF9F32E-81E8-4101-8ED4-27C42E1E2293}" presName="txThree" presStyleLbl="node3" presStyleIdx="2" presStyleCnt="6">
        <dgm:presLayoutVars>
          <dgm:chPref val="3"/>
        </dgm:presLayoutVars>
      </dgm:prSet>
      <dgm:spPr/>
    </dgm:pt>
    <dgm:pt modelId="{B69562FB-5EE5-4B1B-B7F6-3586305B9187}" type="pres">
      <dgm:prSet presAssocID="{CBF9F32E-81E8-4101-8ED4-27C42E1E2293}" presName="parTransThree" presStyleCnt="0"/>
      <dgm:spPr/>
    </dgm:pt>
    <dgm:pt modelId="{B79CE35E-F7E4-4278-8DDD-8C744BC65077}" type="pres">
      <dgm:prSet presAssocID="{CBF9F32E-81E8-4101-8ED4-27C42E1E2293}" presName="horzThree" presStyleCnt="0"/>
      <dgm:spPr/>
    </dgm:pt>
    <dgm:pt modelId="{3E391328-BFC5-4B53-ABCB-7F60427A6E2D}" type="pres">
      <dgm:prSet presAssocID="{1B0AACB2-797F-482D-BAAA-7BB84E36EEDC}" presName="vertFour" presStyleCnt="0">
        <dgm:presLayoutVars>
          <dgm:chPref val="3"/>
        </dgm:presLayoutVars>
      </dgm:prSet>
      <dgm:spPr/>
    </dgm:pt>
    <dgm:pt modelId="{74AA42E9-6E59-4BF7-ACB4-B876247F3E09}" type="pres">
      <dgm:prSet presAssocID="{1B0AACB2-797F-482D-BAAA-7BB84E36EEDC}" presName="txFour" presStyleLbl="node4" presStyleIdx="4" presStyleCnt="9">
        <dgm:presLayoutVars>
          <dgm:chPref val="3"/>
        </dgm:presLayoutVars>
      </dgm:prSet>
      <dgm:spPr/>
    </dgm:pt>
    <dgm:pt modelId="{345C914E-E003-40CB-8BE3-222144549228}" type="pres">
      <dgm:prSet presAssocID="{1B0AACB2-797F-482D-BAAA-7BB84E36EEDC}" presName="horzFour" presStyleCnt="0"/>
      <dgm:spPr/>
    </dgm:pt>
    <dgm:pt modelId="{845DFAE4-1610-4D71-9D4F-82D9945C2396}" type="pres">
      <dgm:prSet presAssocID="{E888345F-E734-4F5A-B20E-A21F627D4515}" presName="sibSpaceFour" presStyleCnt="0"/>
      <dgm:spPr/>
    </dgm:pt>
    <dgm:pt modelId="{12FE9653-FAFC-4F67-88E9-F11A2FB8921C}" type="pres">
      <dgm:prSet presAssocID="{A3CB471A-C3FC-427D-B1B5-227444E56BE1}" presName="vertFour" presStyleCnt="0">
        <dgm:presLayoutVars>
          <dgm:chPref val="3"/>
        </dgm:presLayoutVars>
      </dgm:prSet>
      <dgm:spPr/>
    </dgm:pt>
    <dgm:pt modelId="{654959DC-0023-4A87-825A-B95482775712}" type="pres">
      <dgm:prSet presAssocID="{A3CB471A-C3FC-427D-B1B5-227444E56BE1}" presName="txFour" presStyleLbl="node4" presStyleIdx="5" presStyleCnt="9">
        <dgm:presLayoutVars>
          <dgm:chPref val="3"/>
        </dgm:presLayoutVars>
      </dgm:prSet>
      <dgm:spPr/>
    </dgm:pt>
    <dgm:pt modelId="{CE455F40-44C2-4CEA-8501-66017D7A2674}" type="pres">
      <dgm:prSet presAssocID="{A3CB471A-C3FC-427D-B1B5-227444E56BE1}" presName="horzFour" presStyleCnt="0"/>
      <dgm:spPr/>
    </dgm:pt>
    <dgm:pt modelId="{BFD1FFCC-BBFB-483B-800F-9ECEAB4187F6}" type="pres">
      <dgm:prSet presAssocID="{F5D0A7EA-9005-42EB-85EF-80B683E795F9}" presName="sibSpaceFour" presStyleCnt="0"/>
      <dgm:spPr/>
    </dgm:pt>
    <dgm:pt modelId="{0D6D47AF-1DEC-46DF-A340-2AA8B55B3DEA}" type="pres">
      <dgm:prSet presAssocID="{21741BBF-424F-4191-8E82-B5BA5A725807}" presName="vertFour" presStyleCnt="0">
        <dgm:presLayoutVars>
          <dgm:chPref val="3"/>
        </dgm:presLayoutVars>
      </dgm:prSet>
      <dgm:spPr/>
    </dgm:pt>
    <dgm:pt modelId="{30B45BF4-CA92-440D-BD93-0361D3FCECE7}" type="pres">
      <dgm:prSet presAssocID="{21741BBF-424F-4191-8E82-B5BA5A725807}" presName="txFour" presStyleLbl="node4" presStyleIdx="6" presStyleCnt="9">
        <dgm:presLayoutVars>
          <dgm:chPref val="3"/>
        </dgm:presLayoutVars>
      </dgm:prSet>
      <dgm:spPr/>
    </dgm:pt>
    <dgm:pt modelId="{78A45E84-43D6-4FBD-A7C4-1541991B90CB}" type="pres">
      <dgm:prSet presAssocID="{21741BBF-424F-4191-8E82-B5BA5A725807}" presName="horzFour" presStyleCnt="0"/>
      <dgm:spPr/>
    </dgm:pt>
    <dgm:pt modelId="{5B2597DB-1D78-407F-AEFC-AF105E6D7D84}" type="pres">
      <dgm:prSet presAssocID="{13C104B1-6D1D-46E8-B3A7-0DFBC20F60DE}" presName="sibSpaceThree" presStyleCnt="0"/>
      <dgm:spPr/>
    </dgm:pt>
    <dgm:pt modelId="{1A592058-4A40-48B2-B66A-EBC64C348CCF}" type="pres">
      <dgm:prSet presAssocID="{79CE9691-B4E6-4815-B8ED-CB98356403F1}" presName="vertThree" presStyleCnt="0"/>
      <dgm:spPr/>
    </dgm:pt>
    <dgm:pt modelId="{666E79FA-942A-4569-8D28-B0EEE547FECC}" type="pres">
      <dgm:prSet presAssocID="{79CE9691-B4E6-4815-B8ED-CB98356403F1}" presName="txThree" presStyleLbl="node3" presStyleIdx="3" presStyleCnt="6">
        <dgm:presLayoutVars>
          <dgm:chPref val="3"/>
        </dgm:presLayoutVars>
      </dgm:prSet>
      <dgm:spPr/>
    </dgm:pt>
    <dgm:pt modelId="{D430BF8F-0D2C-479C-9ABF-03338B6D3DDB}" type="pres">
      <dgm:prSet presAssocID="{79CE9691-B4E6-4815-B8ED-CB98356403F1}" presName="parTransThree" presStyleCnt="0"/>
      <dgm:spPr/>
    </dgm:pt>
    <dgm:pt modelId="{A10DCA76-5DE9-4FDA-8AF7-80F3CC19F4A4}" type="pres">
      <dgm:prSet presAssocID="{79CE9691-B4E6-4815-B8ED-CB98356403F1}" presName="horzThree" presStyleCnt="0"/>
      <dgm:spPr/>
    </dgm:pt>
    <dgm:pt modelId="{352F69FF-8619-4F70-9749-12A46681F394}" type="pres">
      <dgm:prSet presAssocID="{F82B2008-FC63-422D-8D69-4445543B2F5F}" presName="vertFour" presStyleCnt="0">
        <dgm:presLayoutVars>
          <dgm:chPref val="3"/>
        </dgm:presLayoutVars>
      </dgm:prSet>
      <dgm:spPr/>
    </dgm:pt>
    <dgm:pt modelId="{47E72CAA-3DB1-417D-9327-4B6B0028F79D}" type="pres">
      <dgm:prSet presAssocID="{F82B2008-FC63-422D-8D69-4445543B2F5F}" presName="txFour" presStyleLbl="node4" presStyleIdx="7" presStyleCnt="9">
        <dgm:presLayoutVars>
          <dgm:chPref val="3"/>
        </dgm:presLayoutVars>
      </dgm:prSet>
      <dgm:spPr/>
    </dgm:pt>
    <dgm:pt modelId="{CEEB2EE0-D70B-4E91-8322-3CEADDA0BF03}" type="pres">
      <dgm:prSet presAssocID="{F82B2008-FC63-422D-8D69-4445543B2F5F}" presName="horzFour" presStyleCnt="0"/>
      <dgm:spPr/>
    </dgm:pt>
    <dgm:pt modelId="{5E5D90AE-CF50-4B22-BCB5-1443ADEB2CAE}" type="pres">
      <dgm:prSet presAssocID="{DC0C9CA3-8729-4677-B8D0-A5F406D019A3}" presName="sibSpaceFour" presStyleCnt="0"/>
      <dgm:spPr/>
    </dgm:pt>
    <dgm:pt modelId="{F4F16246-A83E-40CF-897E-5AD0D82E13FB}" type="pres">
      <dgm:prSet presAssocID="{68DD954D-91CE-4613-8006-11983677EE29}" presName="vertFour" presStyleCnt="0">
        <dgm:presLayoutVars>
          <dgm:chPref val="3"/>
        </dgm:presLayoutVars>
      </dgm:prSet>
      <dgm:spPr/>
    </dgm:pt>
    <dgm:pt modelId="{2AC4C9D0-9FE6-492A-A135-8CC8060C0DCE}" type="pres">
      <dgm:prSet presAssocID="{68DD954D-91CE-4613-8006-11983677EE29}" presName="txFour" presStyleLbl="node4" presStyleIdx="8" presStyleCnt="9">
        <dgm:presLayoutVars>
          <dgm:chPref val="3"/>
        </dgm:presLayoutVars>
      </dgm:prSet>
      <dgm:spPr/>
    </dgm:pt>
    <dgm:pt modelId="{EEF4795A-5128-460A-84CB-31ED01E0F6AC}" type="pres">
      <dgm:prSet presAssocID="{68DD954D-91CE-4613-8006-11983677EE29}" presName="horzFour" presStyleCnt="0"/>
      <dgm:spPr/>
    </dgm:pt>
    <dgm:pt modelId="{9E78C9C2-4C16-424E-8184-95A97A61FCB7}" type="pres">
      <dgm:prSet presAssocID="{A6764D24-8B3D-4154-8DDF-4FA90F8F3133}" presName="sibSpaceThree" presStyleCnt="0"/>
      <dgm:spPr/>
    </dgm:pt>
    <dgm:pt modelId="{9A3A2F32-069F-4AB4-AA44-B1B33F9F99C3}" type="pres">
      <dgm:prSet presAssocID="{F71930DD-AE23-4287-9408-A4E26F6E9D6E}" presName="vertThree" presStyleCnt="0"/>
      <dgm:spPr/>
    </dgm:pt>
    <dgm:pt modelId="{FF4816CD-7A12-46E2-9C2E-FAB60BB7CE6B}" type="pres">
      <dgm:prSet presAssocID="{F71930DD-AE23-4287-9408-A4E26F6E9D6E}" presName="txThree" presStyleLbl="node3" presStyleIdx="4" presStyleCnt="6">
        <dgm:presLayoutVars>
          <dgm:chPref val="3"/>
        </dgm:presLayoutVars>
      </dgm:prSet>
      <dgm:spPr/>
    </dgm:pt>
    <dgm:pt modelId="{CFB0F335-F94E-4108-8796-D9EBACA71FFA}" type="pres">
      <dgm:prSet presAssocID="{F71930DD-AE23-4287-9408-A4E26F6E9D6E}" presName="horzThree" presStyleCnt="0"/>
      <dgm:spPr/>
    </dgm:pt>
    <dgm:pt modelId="{6F621A40-05DE-4284-AF2F-874F4816E318}" type="pres">
      <dgm:prSet presAssocID="{186B714F-3E42-434A-8800-AA13B965A66F}" presName="sibSpaceTwo" presStyleCnt="0"/>
      <dgm:spPr/>
    </dgm:pt>
    <dgm:pt modelId="{B313039A-29C8-483D-B433-E62D985E7951}" type="pres">
      <dgm:prSet presAssocID="{1D51862B-1611-4C2F-AD1E-484900C712D4}" presName="vertTwo" presStyleCnt="0"/>
      <dgm:spPr/>
    </dgm:pt>
    <dgm:pt modelId="{D3A66C65-EEA3-46F1-977C-814E570F4D90}" type="pres">
      <dgm:prSet presAssocID="{1D51862B-1611-4C2F-AD1E-484900C712D4}" presName="txTwo" presStyleLbl="node2" presStyleIdx="2" presStyleCnt="3">
        <dgm:presLayoutVars>
          <dgm:chPref val="3"/>
        </dgm:presLayoutVars>
      </dgm:prSet>
      <dgm:spPr/>
    </dgm:pt>
    <dgm:pt modelId="{D1C6EB84-EB28-4357-90DD-D951983E5052}" type="pres">
      <dgm:prSet presAssocID="{1D51862B-1611-4C2F-AD1E-484900C712D4}" presName="parTransTwo" presStyleCnt="0"/>
      <dgm:spPr/>
    </dgm:pt>
    <dgm:pt modelId="{1DD85AA5-F3D7-4D83-8369-67DE06E1FDD7}" type="pres">
      <dgm:prSet presAssocID="{1D51862B-1611-4C2F-AD1E-484900C712D4}" presName="horzTwo" presStyleCnt="0"/>
      <dgm:spPr/>
    </dgm:pt>
    <dgm:pt modelId="{7770FDEC-3CB3-4BAB-94E4-894678CEFC6C}" type="pres">
      <dgm:prSet presAssocID="{E113482C-0C10-4185-A48A-00AF6551DB4D}" presName="vertThree" presStyleCnt="0"/>
      <dgm:spPr/>
    </dgm:pt>
    <dgm:pt modelId="{9EF323B1-AA36-4B00-8BE2-8DE30681DDF7}" type="pres">
      <dgm:prSet presAssocID="{E113482C-0C10-4185-A48A-00AF6551DB4D}" presName="txThree" presStyleLbl="node3" presStyleIdx="5" presStyleCnt="6">
        <dgm:presLayoutVars>
          <dgm:chPref val="3"/>
        </dgm:presLayoutVars>
      </dgm:prSet>
      <dgm:spPr/>
    </dgm:pt>
    <dgm:pt modelId="{297B9841-98E6-46AB-AB50-2EEB1CC69989}" type="pres">
      <dgm:prSet presAssocID="{E113482C-0C10-4185-A48A-00AF6551DB4D}" presName="horzThree" presStyleCnt="0"/>
      <dgm:spPr/>
    </dgm:pt>
  </dgm:ptLst>
  <dgm:cxnLst>
    <dgm:cxn modelId="{6388BB12-20AF-4E7A-8586-6C3ED5A0463C}" srcId="{C3F61AEF-0C1D-45F9-98F6-7B05FCF20462}" destId="{61DFB1BC-3869-47D2-A352-C295721FD319}" srcOrd="1" destOrd="0" parTransId="{3E470066-5F80-4E4A-862B-CEEF0104658E}" sibTransId="{186B714F-3E42-434A-8800-AA13B965A66F}"/>
    <dgm:cxn modelId="{4D03FD20-777E-4419-A6FE-E50686172714}" srcId="{79CE9691-B4E6-4815-B8ED-CB98356403F1}" destId="{68DD954D-91CE-4613-8006-11983677EE29}" srcOrd="1" destOrd="0" parTransId="{D0485DB0-999A-4FE8-836B-4AF8C48898E2}" sibTransId="{4FFB7D0F-8D3B-4990-B302-A595FA1020C8}"/>
    <dgm:cxn modelId="{9FB0C322-94A6-42DF-8366-29CED795B28F}" type="presOf" srcId="{6C61D554-4FBF-417F-93BE-A408C0CB7119}" destId="{DAA74557-672C-41C9-AA3E-49DFA7332F51}" srcOrd="0" destOrd="0" presId="urn:microsoft.com/office/officeart/2005/8/layout/hierarchy4"/>
    <dgm:cxn modelId="{BE411926-95E6-4C14-989C-03D0A2DC74CE}" srcId="{C3F61AEF-0C1D-45F9-98F6-7B05FCF20462}" destId="{1D51862B-1611-4C2F-AD1E-484900C712D4}" srcOrd="2" destOrd="0" parTransId="{084D7622-87E5-4C1F-90D3-F1F3D344C987}" sibTransId="{7AD4E01C-1DBF-4A17-965B-9AF2C086AEE5}"/>
    <dgm:cxn modelId="{1D255B2F-47ED-4EC7-9E07-E47F12DC8FBF}" type="presOf" srcId="{1048B0D9-5DAF-4608-9658-CE85CB318C31}" destId="{09F8E3F2-CC0F-4659-B02F-70701E653647}" srcOrd="0" destOrd="0" presId="urn:microsoft.com/office/officeart/2005/8/layout/hierarchy4"/>
    <dgm:cxn modelId="{9D49BB3E-1F05-44D8-BF71-8804DDDFB15B}" srcId="{61DFB1BC-3869-47D2-A352-C295721FD319}" destId="{F71930DD-AE23-4287-9408-A4E26F6E9D6E}" srcOrd="3" destOrd="0" parTransId="{F72F1622-620F-4A9B-B689-552BE8050F9E}" sibTransId="{F171358A-BCAA-4B74-AE76-28FA41C982D0}"/>
    <dgm:cxn modelId="{20BC4762-1744-497A-9408-172CAABDE54A}" srcId="{CBF9F32E-81E8-4101-8ED4-27C42E1E2293}" destId="{1B0AACB2-797F-482D-BAAA-7BB84E36EEDC}" srcOrd="0" destOrd="0" parTransId="{8BB8BBCA-5BC8-4A81-95A1-7B59E997A511}" sibTransId="{E888345F-E734-4F5A-B20E-A21F627D4515}"/>
    <dgm:cxn modelId="{6E1E5C43-A30B-46D1-BA2C-E5EEF6F7EA44}" srcId="{79CE9691-B4E6-4815-B8ED-CB98356403F1}" destId="{F82B2008-FC63-422D-8D69-4445543B2F5F}" srcOrd="0" destOrd="0" parTransId="{4D5D9B26-D201-4C2F-BB73-CCE388AD7755}" sibTransId="{DC0C9CA3-8729-4677-B8D0-A5F406D019A3}"/>
    <dgm:cxn modelId="{2FC31D64-922C-4AEC-9981-85487879C5C7}" srcId="{CBF9F32E-81E8-4101-8ED4-27C42E1E2293}" destId="{A3CB471A-C3FC-427D-B1B5-227444E56BE1}" srcOrd="1" destOrd="0" parTransId="{C7804D40-5125-439B-AE96-AFDE66136B57}" sibTransId="{F5D0A7EA-9005-42EB-85EF-80B683E795F9}"/>
    <dgm:cxn modelId="{290F2B66-0040-470D-96E7-68B85C1CEB24}" type="presOf" srcId="{0AC7C1F6-8916-4C47-AE5B-8DE204A9C091}" destId="{904F8875-0AA8-4767-A6C6-321A38BA51FD}" srcOrd="0" destOrd="0" presId="urn:microsoft.com/office/officeart/2005/8/layout/hierarchy4"/>
    <dgm:cxn modelId="{63B47947-0CB4-4F4B-A9C0-C77D4CF9EDAE}" srcId="{38719DC0-C3D8-494C-B220-364A3BB707DC}" destId="{0AC7C1F6-8916-4C47-AE5B-8DE204A9C091}" srcOrd="1" destOrd="0" parTransId="{6210279E-57C4-4676-8FBB-F1C2D50659EF}" sibTransId="{AADA0B8E-D590-4EC5-897C-38BA9BE0612C}"/>
    <dgm:cxn modelId="{F20BB452-5F4F-4714-B76D-73A6D2EFF9AF}" type="presOf" srcId="{68DD954D-91CE-4613-8006-11983677EE29}" destId="{2AC4C9D0-9FE6-492A-A135-8CC8060C0DCE}" srcOrd="0" destOrd="0" presId="urn:microsoft.com/office/officeart/2005/8/layout/hierarchy4"/>
    <dgm:cxn modelId="{5133CD73-5227-4C14-8617-100678519E28}" srcId="{AFDABEBD-8E0C-40E6-9EF0-64B323C7BDAA}" destId="{6C61D554-4FBF-417F-93BE-A408C0CB7119}" srcOrd="0" destOrd="0" parTransId="{68B4CD96-1AAA-4C90-A70F-29DE3E3BC326}" sibTransId="{F838141F-09D6-42F2-B707-9E0DCB8DB561}"/>
    <dgm:cxn modelId="{123FE658-4599-4F5B-B5E0-D4867218B3A9}" srcId="{1D51862B-1611-4C2F-AD1E-484900C712D4}" destId="{E113482C-0C10-4185-A48A-00AF6551DB4D}" srcOrd="0" destOrd="0" parTransId="{5243B4BD-C2D8-4163-9A5B-50F94FAF214E}" sibTransId="{14A86651-AE14-42FE-8179-99649E8881C2}"/>
    <dgm:cxn modelId="{9A0E1386-8998-47AD-9B0A-0C03C7261F37}" type="presOf" srcId="{E113482C-0C10-4185-A48A-00AF6551DB4D}" destId="{9EF323B1-AA36-4B00-8BE2-8DE30681DDF7}" srcOrd="0" destOrd="0" presId="urn:microsoft.com/office/officeart/2005/8/layout/hierarchy4"/>
    <dgm:cxn modelId="{D3651E87-8DD1-40BD-A92B-5BDB7AB0B701}" srcId="{CBF9F32E-81E8-4101-8ED4-27C42E1E2293}" destId="{21741BBF-424F-4191-8E82-B5BA5A725807}" srcOrd="2" destOrd="0" parTransId="{1A246F3A-CDEF-4A7A-8FCF-31F83A4D10E9}" sibTransId="{8DF2E110-D2D4-4100-91F0-92B1A32F2B44}"/>
    <dgm:cxn modelId="{1ABA4788-416B-4F3F-B2CE-EA20FE92C0DB}" type="presOf" srcId="{A3CB471A-C3FC-427D-B1B5-227444E56BE1}" destId="{654959DC-0023-4A87-825A-B95482775712}" srcOrd="0" destOrd="0" presId="urn:microsoft.com/office/officeart/2005/8/layout/hierarchy4"/>
    <dgm:cxn modelId="{6CB77C88-600C-49ED-9D68-DB5BC2DC57F0}" srcId="{61DFB1BC-3869-47D2-A352-C295721FD319}" destId="{AFDABEBD-8E0C-40E6-9EF0-64B323C7BDAA}" srcOrd="0" destOrd="0" parTransId="{FBCA6692-C3AA-4468-A25C-E453D7D3B3CF}" sibTransId="{F154BC59-3D65-4D8F-A595-96C0A1151895}"/>
    <dgm:cxn modelId="{219A6289-7079-426A-88DC-E9A28F016BAC}" type="presOf" srcId="{21741BBF-424F-4191-8E82-B5BA5A725807}" destId="{30B45BF4-CA92-440D-BD93-0361D3FCECE7}" srcOrd="0" destOrd="0" presId="urn:microsoft.com/office/officeart/2005/8/layout/hierarchy4"/>
    <dgm:cxn modelId="{5B99D98A-A931-46E3-9D51-0ACEE028EF75}" type="presOf" srcId="{1D51862B-1611-4C2F-AD1E-484900C712D4}" destId="{D3A66C65-EEA3-46F1-977C-814E570F4D90}" srcOrd="0" destOrd="0" presId="urn:microsoft.com/office/officeart/2005/8/layout/hierarchy4"/>
    <dgm:cxn modelId="{EE4FF190-DAFC-499C-BE06-B615B7BFAD13}" srcId="{61DFB1BC-3869-47D2-A352-C295721FD319}" destId="{CBF9F32E-81E8-4101-8ED4-27C42E1E2293}" srcOrd="1" destOrd="0" parTransId="{5F78E898-F125-42E1-9D14-3E24B9B0FEB8}" sibTransId="{13C104B1-6D1D-46E8-B3A7-0DFBC20F60DE}"/>
    <dgm:cxn modelId="{35B76A9B-078B-4DA3-95A6-B77A7211C209}" srcId="{EA1054FF-7EB0-4EE9-97A3-F3154DEFE874}" destId="{C3F61AEF-0C1D-45F9-98F6-7B05FCF20462}" srcOrd="0" destOrd="0" parTransId="{FB781EF8-FC09-408C-9DC6-FC097766E520}" sibTransId="{D8965C54-224E-40CB-B048-D9B241A94EDA}"/>
    <dgm:cxn modelId="{D63B49A3-2217-4C52-85F3-03F025CEF800}" type="presOf" srcId="{9AC6B88B-F276-4B79-9235-422606D823CE}" destId="{A7B9D0A6-6FBA-4D6B-919E-827A8639D438}" srcOrd="0" destOrd="0" presId="urn:microsoft.com/office/officeart/2005/8/layout/hierarchy4"/>
    <dgm:cxn modelId="{EF1953A5-0686-4AE0-9458-B038BF59D669}" srcId="{61DFB1BC-3869-47D2-A352-C295721FD319}" destId="{79CE9691-B4E6-4815-B8ED-CB98356403F1}" srcOrd="2" destOrd="0" parTransId="{8CB48A3D-D5F3-4058-BD70-375CF20DCCC6}" sibTransId="{A6764D24-8B3D-4154-8DDF-4FA90F8F3133}"/>
    <dgm:cxn modelId="{44F45CA8-0EA1-4FE7-8B9A-32A9BBFDC752}" type="presOf" srcId="{79CE9691-B4E6-4815-B8ED-CB98356403F1}" destId="{666E79FA-942A-4569-8D28-B0EEE547FECC}" srcOrd="0" destOrd="0" presId="urn:microsoft.com/office/officeart/2005/8/layout/hierarchy4"/>
    <dgm:cxn modelId="{5C8576AB-8CB5-4F42-A71E-AF899F1F0AB9}" type="presOf" srcId="{1B0AACB2-797F-482D-BAAA-7BB84E36EEDC}" destId="{74AA42E9-6E59-4BF7-ACB4-B876247F3E09}" srcOrd="0" destOrd="0" presId="urn:microsoft.com/office/officeart/2005/8/layout/hierarchy4"/>
    <dgm:cxn modelId="{00E986AC-CDFD-4890-86E4-2AA050F09E48}" type="presOf" srcId="{61DFB1BC-3869-47D2-A352-C295721FD319}" destId="{2EF5C144-C6DA-4247-ABF8-C94EFC669CA1}" srcOrd="0" destOrd="0" presId="urn:microsoft.com/office/officeart/2005/8/layout/hierarchy4"/>
    <dgm:cxn modelId="{7E6152B7-9577-4240-9EDD-C8396D06EFEC}" srcId="{1048B0D9-5DAF-4608-9658-CE85CB318C31}" destId="{38719DC0-C3D8-494C-B220-364A3BB707DC}" srcOrd="0" destOrd="0" parTransId="{FE85F534-9991-4529-8E14-FA227DE16380}" sibTransId="{6D1F7F6A-3553-4E0A-A259-8D92CF397236}"/>
    <dgm:cxn modelId="{20F653BA-DBB1-40F0-BB3A-E2A8A0DA60A0}" srcId="{38719DC0-C3D8-494C-B220-364A3BB707DC}" destId="{9AC6B88B-F276-4B79-9235-422606D823CE}" srcOrd="2" destOrd="0" parTransId="{A058452B-7FCC-43D5-9C4F-6FAD9D39F385}" sibTransId="{950C1BDA-1C05-4B14-A176-3CEC46C53A20}"/>
    <dgm:cxn modelId="{99BA2EC0-105A-4B80-9B08-9AF682750F9F}" type="presOf" srcId="{CBF9F32E-81E8-4101-8ED4-27C42E1E2293}" destId="{1D623DD2-0D65-47A2-82A3-C36A76ED0764}" srcOrd="0" destOrd="0" presId="urn:microsoft.com/office/officeart/2005/8/layout/hierarchy4"/>
    <dgm:cxn modelId="{82C718D0-D7A7-4064-A79F-792F486AF5A9}" type="presOf" srcId="{8C5EB3E9-BAF8-4604-84CD-A6B21571AC87}" destId="{6DAA54A0-BCF9-4197-8B1A-FF3510968A59}" srcOrd="0" destOrd="0" presId="urn:microsoft.com/office/officeart/2005/8/layout/hierarchy4"/>
    <dgm:cxn modelId="{C50E5AD7-B6DB-4946-9823-882C4C114B98}" type="presOf" srcId="{F82B2008-FC63-422D-8D69-4445543B2F5F}" destId="{47E72CAA-3DB1-417D-9327-4B6B0028F79D}" srcOrd="0" destOrd="0" presId="urn:microsoft.com/office/officeart/2005/8/layout/hierarchy4"/>
    <dgm:cxn modelId="{72A951E0-896B-495D-999A-1AD8A1A6986D}" type="presOf" srcId="{C3F61AEF-0C1D-45F9-98F6-7B05FCF20462}" destId="{5E5C1EF9-9558-43E0-A434-33C657406D83}" srcOrd="0" destOrd="0" presId="urn:microsoft.com/office/officeart/2005/8/layout/hierarchy4"/>
    <dgm:cxn modelId="{3418B0E2-50E5-43B4-BEBD-13B1556DC2FD}" type="presOf" srcId="{AFDABEBD-8E0C-40E6-9EF0-64B323C7BDAA}" destId="{2527F62E-8A3A-4CC9-AF12-CCCF518B2B57}" srcOrd="0" destOrd="0" presId="urn:microsoft.com/office/officeart/2005/8/layout/hierarchy4"/>
    <dgm:cxn modelId="{A69F7CEA-3340-4E92-8DD1-91165161855F}" type="presOf" srcId="{38719DC0-C3D8-494C-B220-364A3BB707DC}" destId="{E9BA8F3E-F01B-4D12-8013-5A900894EBB0}" srcOrd="0" destOrd="0" presId="urn:microsoft.com/office/officeart/2005/8/layout/hierarchy4"/>
    <dgm:cxn modelId="{134781F5-EB9C-4845-BCAF-A07D94B45B0E}" srcId="{C3F61AEF-0C1D-45F9-98F6-7B05FCF20462}" destId="{1048B0D9-5DAF-4608-9658-CE85CB318C31}" srcOrd="0" destOrd="0" parTransId="{7524A3AA-DBDB-4D11-8D49-3B041FF23F67}" sibTransId="{6B73DAA4-9D1C-4E8A-B0B8-D386389CF42A}"/>
    <dgm:cxn modelId="{82EDB1F6-D7E8-4A6A-BB14-FEEC895D4924}" type="presOf" srcId="{EA1054FF-7EB0-4EE9-97A3-F3154DEFE874}" destId="{FD8612E7-8A76-468C-8864-7AC0F6CF31E4}" srcOrd="0" destOrd="0" presId="urn:microsoft.com/office/officeart/2005/8/layout/hierarchy4"/>
    <dgm:cxn modelId="{81F272F7-8B47-4485-85D3-03478F223260}" type="presOf" srcId="{F71930DD-AE23-4287-9408-A4E26F6E9D6E}" destId="{FF4816CD-7A12-46E2-9C2E-FAB60BB7CE6B}" srcOrd="0" destOrd="0" presId="urn:microsoft.com/office/officeart/2005/8/layout/hierarchy4"/>
    <dgm:cxn modelId="{D9C3A6FC-B3D3-4957-BF06-1F751E22B88B}" srcId="{38719DC0-C3D8-494C-B220-364A3BB707DC}" destId="{8C5EB3E9-BAF8-4604-84CD-A6B21571AC87}" srcOrd="0" destOrd="0" parTransId="{78FADA62-D105-474C-8753-5818E1EE875B}" sibTransId="{2785D055-896F-4C31-A9A4-1BF07585B4EE}"/>
    <dgm:cxn modelId="{749435C8-C9A9-47BB-8E7A-31F0553290FD}" type="presParOf" srcId="{FD8612E7-8A76-468C-8864-7AC0F6CF31E4}" destId="{20BD590A-EDD2-4CCB-AEF9-D113DDEFB4CE}" srcOrd="0" destOrd="0" presId="urn:microsoft.com/office/officeart/2005/8/layout/hierarchy4"/>
    <dgm:cxn modelId="{7E0075A9-9A14-4C33-A3B6-F39FC4A429BE}" type="presParOf" srcId="{20BD590A-EDD2-4CCB-AEF9-D113DDEFB4CE}" destId="{5E5C1EF9-9558-43E0-A434-33C657406D83}" srcOrd="0" destOrd="0" presId="urn:microsoft.com/office/officeart/2005/8/layout/hierarchy4"/>
    <dgm:cxn modelId="{F06688BA-BB16-4E7B-8F0D-27C8690B4368}" type="presParOf" srcId="{20BD590A-EDD2-4CCB-AEF9-D113DDEFB4CE}" destId="{1EFEC7FE-42C3-4868-BE6D-C4B7FCDF045B}" srcOrd="1" destOrd="0" presId="urn:microsoft.com/office/officeart/2005/8/layout/hierarchy4"/>
    <dgm:cxn modelId="{014CB419-20A8-4BCE-B322-F2DBD164A7F6}" type="presParOf" srcId="{20BD590A-EDD2-4CCB-AEF9-D113DDEFB4CE}" destId="{63F0E831-922E-40DF-990E-54BD0E0B9ACC}" srcOrd="2" destOrd="0" presId="urn:microsoft.com/office/officeart/2005/8/layout/hierarchy4"/>
    <dgm:cxn modelId="{DD062898-EB9C-479C-9E85-92F5BD17F4D8}" type="presParOf" srcId="{63F0E831-922E-40DF-990E-54BD0E0B9ACC}" destId="{7BC0D1DD-92C5-4D52-8EC8-C711DB756E14}" srcOrd="0" destOrd="0" presId="urn:microsoft.com/office/officeart/2005/8/layout/hierarchy4"/>
    <dgm:cxn modelId="{AA88C501-222A-427B-9A9B-71E14F633B29}" type="presParOf" srcId="{7BC0D1DD-92C5-4D52-8EC8-C711DB756E14}" destId="{09F8E3F2-CC0F-4659-B02F-70701E653647}" srcOrd="0" destOrd="0" presId="urn:microsoft.com/office/officeart/2005/8/layout/hierarchy4"/>
    <dgm:cxn modelId="{5F19C200-D973-48EF-BCB8-039610AB65AC}" type="presParOf" srcId="{7BC0D1DD-92C5-4D52-8EC8-C711DB756E14}" destId="{6CFB7D42-9C79-43BE-B866-3D195E115EEA}" srcOrd="1" destOrd="0" presId="urn:microsoft.com/office/officeart/2005/8/layout/hierarchy4"/>
    <dgm:cxn modelId="{EEF8F433-E8A5-453D-9A7F-917CDC132A17}" type="presParOf" srcId="{7BC0D1DD-92C5-4D52-8EC8-C711DB756E14}" destId="{B5FD77F3-81AB-4759-B6CF-2D1F9DB7B19B}" srcOrd="2" destOrd="0" presId="urn:microsoft.com/office/officeart/2005/8/layout/hierarchy4"/>
    <dgm:cxn modelId="{685BE4CC-D1C6-4A78-A4A6-718FFAB70B7C}" type="presParOf" srcId="{B5FD77F3-81AB-4759-B6CF-2D1F9DB7B19B}" destId="{332B7DA8-37D2-447B-9160-BD97EC47D752}" srcOrd="0" destOrd="0" presId="urn:microsoft.com/office/officeart/2005/8/layout/hierarchy4"/>
    <dgm:cxn modelId="{CB93E120-F8A4-4832-AB0F-5785890F5995}" type="presParOf" srcId="{332B7DA8-37D2-447B-9160-BD97EC47D752}" destId="{E9BA8F3E-F01B-4D12-8013-5A900894EBB0}" srcOrd="0" destOrd="0" presId="urn:microsoft.com/office/officeart/2005/8/layout/hierarchy4"/>
    <dgm:cxn modelId="{76274BF9-E22B-46E6-803A-98DAB5901E99}" type="presParOf" srcId="{332B7DA8-37D2-447B-9160-BD97EC47D752}" destId="{96EEFDA3-A40A-459C-B5E9-27E5E705D656}" srcOrd="1" destOrd="0" presId="urn:microsoft.com/office/officeart/2005/8/layout/hierarchy4"/>
    <dgm:cxn modelId="{E2955124-0756-4484-BB49-9F0F6E5E757C}" type="presParOf" srcId="{332B7DA8-37D2-447B-9160-BD97EC47D752}" destId="{95800064-566A-4E6D-82A4-C99AAA9F8B13}" srcOrd="2" destOrd="0" presId="urn:microsoft.com/office/officeart/2005/8/layout/hierarchy4"/>
    <dgm:cxn modelId="{3888D99D-241F-4A88-8920-DB4A5CE11A94}" type="presParOf" srcId="{95800064-566A-4E6D-82A4-C99AAA9F8B13}" destId="{3C41A235-5060-4EC3-A1D5-2D7BA9204E0B}" srcOrd="0" destOrd="0" presId="urn:microsoft.com/office/officeart/2005/8/layout/hierarchy4"/>
    <dgm:cxn modelId="{7DE4255B-85D3-4843-88FA-73FAF49DBFAF}" type="presParOf" srcId="{3C41A235-5060-4EC3-A1D5-2D7BA9204E0B}" destId="{6DAA54A0-BCF9-4197-8B1A-FF3510968A59}" srcOrd="0" destOrd="0" presId="urn:microsoft.com/office/officeart/2005/8/layout/hierarchy4"/>
    <dgm:cxn modelId="{09AAAC8C-3CB6-47D7-BBE0-E2813AEDB3A8}" type="presParOf" srcId="{3C41A235-5060-4EC3-A1D5-2D7BA9204E0B}" destId="{6D27B157-64D1-4F3A-8C9B-660E9F57E144}" srcOrd="1" destOrd="0" presId="urn:microsoft.com/office/officeart/2005/8/layout/hierarchy4"/>
    <dgm:cxn modelId="{A698E6AA-F5C7-44D6-A6D6-CFB7855895C6}" type="presParOf" srcId="{95800064-566A-4E6D-82A4-C99AAA9F8B13}" destId="{DDE49BC7-7FFB-4141-BECE-FFA350C284B6}" srcOrd="1" destOrd="0" presId="urn:microsoft.com/office/officeart/2005/8/layout/hierarchy4"/>
    <dgm:cxn modelId="{52E672B5-AA7A-438A-9A79-93B6FAC8A017}" type="presParOf" srcId="{95800064-566A-4E6D-82A4-C99AAA9F8B13}" destId="{AC6A58CF-D22C-4D51-B8CC-05371227BE34}" srcOrd="2" destOrd="0" presId="urn:microsoft.com/office/officeart/2005/8/layout/hierarchy4"/>
    <dgm:cxn modelId="{A7BF26FF-DDBB-49C1-84D8-83EE0D2C93AD}" type="presParOf" srcId="{AC6A58CF-D22C-4D51-B8CC-05371227BE34}" destId="{904F8875-0AA8-4767-A6C6-321A38BA51FD}" srcOrd="0" destOrd="0" presId="urn:microsoft.com/office/officeart/2005/8/layout/hierarchy4"/>
    <dgm:cxn modelId="{D377B0CA-7957-4D69-9111-F05EB5688DD3}" type="presParOf" srcId="{AC6A58CF-D22C-4D51-B8CC-05371227BE34}" destId="{C797AFD3-B676-4ACE-8DEB-AEBEEA6F865D}" srcOrd="1" destOrd="0" presId="urn:microsoft.com/office/officeart/2005/8/layout/hierarchy4"/>
    <dgm:cxn modelId="{1F4E12F3-BEFD-484C-80B7-7276FFCAE0D4}" type="presParOf" srcId="{95800064-566A-4E6D-82A4-C99AAA9F8B13}" destId="{535B0780-AF98-441B-9D34-2EAB174654A4}" srcOrd="3" destOrd="0" presId="urn:microsoft.com/office/officeart/2005/8/layout/hierarchy4"/>
    <dgm:cxn modelId="{9F4DAA87-2B11-47A5-81D1-A906C8D10A00}" type="presParOf" srcId="{95800064-566A-4E6D-82A4-C99AAA9F8B13}" destId="{AF7DAE4E-73EC-4F56-944F-9E90FF191F4F}" srcOrd="4" destOrd="0" presId="urn:microsoft.com/office/officeart/2005/8/layout/hierarchy4"/>
    <dgm:cxn modelId="{5CB808DC-79B6-44ED-B22B-5B2F8E0B63FE}" type="presParOf" srcId="{AF7DAE4E-73EC-4F56-944F-9E90FF191F4F}" destId="{A7B9D0A6-6FBA-4D6B-919E-827A8639D438}" srcOrd="0" destOrd="0" presId="urn:microsoft.com/office/officeart/2005/8/layout/hierarchy4"/>
    <dgm:cxn modelId="{CF571E85-B509-468F-969D-C7E133FE81D6}" type="presParOf" srcId="{AF7DAE4E-73EC-4F56-944F-9E90FF191F4F}" destId="{EB6C09E1-DC86-4308-B7DD-8884324FBD79}" srcOrd="1" destOrd="0" presId="urn:microsoft.com/office/officeart/2005/8/layout/hierarchy4"/>
    <dgm:cxn modelId="{AFF64660-42AB-41B4-9127-755A33B1DE25}" type="presParOf" srcId="{63F0E831-922E-40DF-990E-54BD0E0B9ACC}" destId="{151F1006-4032-42F9-8CCD-223701D44CD0}" srcOrd="1" destOrd="0" presId="urn:microsoft.com/office/officeart/2005/8/layout/hierarchy4"/>
    <dgm:cxn modelId="{D814D64D-26D3-47D1-8B5B-71D8C825884E}" type="presParOf" srcId="{63F0E831-922E-40DF-990E-54BD0E0B9ACC}" destId="{F8637A55-D254-4F3A-B0EC-5B5C0121D4C2}" srcOrd="2" destOrd="0" presId="urn:microsoft.com/office/officeart/2005/8/layout/hierarchy4"/>
    <dgm:cxn modelId="{E93E15D7-EF07-4CB5-885A-F02C55A3FD4F}" type="presParOf" srcId="{F8637A55-D254-4F3A-B0EC-5B5C0121D4C2}" destId="{2EF5C144-C6DA-4247-ABF8-C94EFC669CA1}" srcOrd="0" destOrd="0" presId="urn:microsoft.com/office/officeart/2005/8/layout/hierarchy4"/>
    <dgm:cxn modelId="{EC595022-ADB7-4998-8C96-C80AA078591B}" type="presParOf" srcId="{F8637A55-D254-4F3A-B0EC-5B5C0121D4C2}" destId="{CA580643-B1A5-42EE-83E3-B0C1E7ACD6D9}" srcOrd="1" destOrd="0" presId="urn:microsoft.com/office/officeart/2005/8/layout/hierarchy4"/>
    <dgm:cxn modelId="{89C64757-D4F0-4DF6-B71B-A028C707568F}" type="presParOf" srcId="{F8637A55-D254-4F3A-B0EC-5B5C0121D4C2}" destId="{7876794B-746E-4AB5-8193-D59EF6DD02FF}" srcOrd="2" destOrd="0" presId="urn:microsoft.com/office/officeart/2005/8/layout/hierarchy4"/>
    <dgm:cxn modelId="{3400919C-2F74-42DB-92B7-A22DE9875150}" type="presParOf" srcId="{7876794B-746E-4AB5-8193-D59EF6DD02FF}" destId="{314EC492-9436-4936-AB59-785C00D1786A}" srcOrd="0" destOrd="0" presId="urn:microsoft.com/office/officeart/2005/8/layout/hierarchy4"/>
    <dgm:cxn modelId="{DFF5BA0A-6259-4206-97B2-727400CE9E5D}" type="presParOf" srcId="{314EC492-9436-4936-AB59-785C00D1786A}" destId="{2527F62E-8A3A-4CC9-AF12-CCCF518B2B57}" srcOrd="0" destOrd="0" presId="urn:microsoft.com/office/officeart/2005/8/layout/hierarchy4"/>
    <dgm:cxn modelId="{B69EC5B5-AEBF-49DB-9772-9E0C92D6F6E7}" type="presParOf" srcId="{314EC492-9436-4936-AB59-785C00D1786A}" destId="{9ACC47D4-A2EA-41A5-88F7-808EBCBB6515}" srcOrd="1" destOrd="0" presId="urn:microsoft.com/office/officeart/2005/8/layout/hierarchy4"/>
    <dgm:cxn modelId="{CA4AD559-5054-418A-B2E2-92684EE80DE9}" type="presParOf" srcId="{314EC492-9436-4936-AB59-785C00D1786A}" destId="{2536C613-36FB-458E-8A6F-0B2212553391}" srcOrd="2" destOrd="0" presId="urn:microsoft.com/office/officeart/2005/8/layout/hierarchy4"/>
    <dgm:cxn modelId="{E0B311F7-ECC0-45E0-BBD4-0C640AA94047}" type="presParOf" srcId="{2536C613-36FB-458E-8A6F-0B2212553391}" destId="{91D96D0A-C8F1-49D0-9844-29B4932DBB66}" srcOrd="0" destOrd="0" presId="urn:microsoft.com/office/officeart/2005/8/layout/hierarchy4"/>
    <dgm:cxn modelId="{72A346BC-7E76-4063-A835-5FDB8C134E49}" type="presParOf" srcId="{91D96D0A-C8F1-49D0-9844-29B4932DBB66}" destId="{DAA74557-672C-41C9-AA3E-49DFA7332F51}" srcOrd="0" destOrd="0" presId="urn:microsoft.com/office/officeart/2005/8/layout/hierarchy4"/>
    <dgm:cxn modelId="{2D03542F-91D2-4D03-8215-CCCEFFCF46F1}" type="presParOf" srcId="{91D96D0A-C8F1-49D0-9844-29B4932DBB66}" destId="{0AAF793A-D914-4706-B2C7-00C81FDCEF3D}" srcOrd="1" destOrd="0" presId="urn:microsoft.com/office/officeart/2005/8/layout/hierarchy4"/>
    <dgm:cxn modelId="{75492A06-B28C-4E7E-9500-793E28206EE5}" type="presParOf" srcId="{7876794B-746E-4AB5-8193-D59EF6DD02FF}" destId="{8AA5D150-E83C-49CE-B252-7BEA540FC404}" srcOrd="1" destOrd="0" presId="urn:microsoft.com/office/officeart/2005/8/layout/hierarchy4"/>
    <dgm:cxn modelId="{10E48A22-3BB3-46DA-A346-749C346F8DC4}" type="presParOf" srcId="{7876794B-746E-4AB5-8193-D59EF6DD02FF}" destId="{345079FD-5084-401B-AFC9-FE853779A106}" srcOrd="2" destOrd="0" presId="urn:microsoft.com/office/officeart/2005/8/layout/hierarchy4"/>
    <dgm:cxn modelId="{949537D9-9F6F-48A5-8328-8A4A741974BF}" type="presParOf" srcId="{345079FD-5084-401B-AFC9-FE853779A106}" destId="{1D623DD2-0D65-47A2-82A3-C36A76ED0764}" srcOrd="0" destOrd="0" presId="urn:microsoft.com/office/officeart/2005/8/layout/hierarchy4"/>
    <dgm:cxn modelId="{A352B5D6-A2C8-40D7-B66F-194678086336}" type="presParOf" srcId="{345079FD-5084-401B-AFC9-FE853779A106}" destId="{B69562FB-5EE5-4B1B-B7F6-3586305B9187}" srcOrd="1" destOrd="0" presId="urn:microsoft.com/office/officeart/2005/8/layout/hierarchy4"/>
    <dgm:cxn modelId="{86EC648E-7FC5-476D-B60A-9235802F0994}" type="presParOf" srcId="{345079FD-5084-401B-AFC9-FE853779A106}" destId="{B79CE35E-F7E4-4278-8DDD-8C744BC65077}" srcOrd="2" destOrd="0" presId="urn:microsoft.com/office/officeart/2005/8/layout/hierarchy4"/>
    <dgm:cxn modelId="{74E44BBE-0E86-4AD3-8675-45D8E17D8F9F}" type="presParOf" srcId="{B79CE35E-F7E4-4278-8DDD-8C744BC65077}" destId="{3E391328-BFC5-4B53-ABCB-7F60427A6E2D}" srcOrd="0" destOrd="0" presId="urn:microsoft.com/office/officeart/2005/8/layout/hierarchy4"/>
    <dgm:cxn modelId="{3D3AF92E-2AB4-4274-B990-974BBC23F921}" type="presParOf" srcId="{3E391328-BFC5-4B53-ABCB-7F60427A6E2D}" destId="{74AA42E9-6E59-4BF7-ACB4-B876247F3E09}" srcOrd="0" destOrd="0" presId="urn:microsoft.com/office/officeart/2005/8/layout/hierarchy4"/>
    <dgm:cxn modelId="{C23C2D9E-5EAE-4F69-9FF4-2604CDE1FFA3}" type="presParOf" srcId="{3E391328-BFC5-4B53-ABCB-7F60427A6E2D}" destId="{345C914E-E003-40CB-8BE3-222144549228}" srcOrd="1" destOrd="0" presId="urn:microsoft.com/office/officeart/2005/8/layout/hierarchy4"/>
    <dgm:cxn modelId="{EE513AC3-5715-43C6-B7AD-B938659A1BDD}" type="presParOf" srcId="{B79CE35E-F7E4-4278-8DDD-8C744BC65077}" destId="{845DFAE4-1610-4D71-9D4F-82D9945C2396}" srcOrd="1" destOrd="0" presId="urn:microsoft.com/office/officeart/2005/8/layout/hierarchy4"/>
    <dgm:cxn modelId="{FA72A1DD-1EF5-4E06-86A5-CF00EA5FF971}" type="presParOf" srcId="{B79CE35E-F7E4-4278-8DDD-8C744BC65077}" destId="{12FE9653-FAFC-4F67-88E9-F11A2FB8921C}" srcOrd="2" destOrd="0" presId="urn:microsoft.com/office/officeart/2005/8/layout/hierarchy4"/>
    <dgm:cxn modelId="{34C9378C-6854-4A0C-9925-F682EFE83670}" type="presParOf" srcId="{12FE9653-FAFC-4F67-88E9-F11A2FB8921C}" destId="{654959DC-0023-4A87-825A-B95482775712}" srcOrd="0" destOrd="0" presId="urn:microsoft.com/office/officeart/2005/8/layout/hierarchy4"/>
    <dgm:cxn modelId="{7298A40A-4E9E-436F-B38A-06B2C956C1E2}" type="presParOf" srcId="{12FE9653-FAFC-4F67-88E9-F11A2FB8921C}" destId="{CE455F40-44C2-4CEA-8501-66017D7A2674}" srcOrd="1" destOrd="0" presId="urn:microsoft.com/office/officeart/2005/8/layout/hierarchy4"/>
    <dgm:cxn modelId="{50CD13A0-FC87-4C9D-A8C6-8670EF0578AE}" type="presParOf" srcId="{B79CE35E-F7E4-4278-8DDD-8C744BC65077}" destId="{BFD1FFCC-BBFB-483B-800F-9ECEAB4187F6}" srcOrd="3" destOrd="0" presId="urn:microsoft.com/office/officeart/2005/8/layout/hierarchy4"/>
    <dgm:cxn modelId="{C5E05E58-B446-4131-B50E-9C5C2DCB1124}" type="presParOf" srcId="{B79CE35E-F7E4-4278-8DDD-8C744BC65077}" destId="{0D6D47AF-1DEC-46DF-A340-2AA8B55B3DEA}" srcOrd="4" destOrd="0" presId="urn:microsoft.com/office/officeart/2005/8/layout/hierarchy4"/>
    <dgm:cxn modelId="{D1E46966-3067-49C7-8C06-1DB1ED445398}" type="presParOf" srcId="{0D6D47AF-1DEC-46DF-A340-2AA8B55B3DEA}" destId="{30B45BF4-CA92-440D-BD93-0361D3FCECE7}" srcOrd="0" destOrd="0" presId="urn:microsoft.com/office/officeart/2005/8/layout/hierarchy4"/>
    <dgm:cxn modelId="{6A0C85CD-C935-4957-AD6F-0375D15226A8}" type="presParOf" srcId="{0D6D47AF-1DEC-46DF-A340-2AA8B55B3DEA}" destId="{78A45E84-43D6-4FBD-A7C4-1541991B90CB}" srcOrd="1" destOrd="0" presId="urn:microsoft.com/office/officeart/2005/8/layout/hierarchy4"/>
    <dgm:cxn modelId="{8027CA6A-34C0-4076-A30B-7F9D248988E4}" type="presParOf" srcId="{7876794B-746E-4AB5-8193-D59EF6DD02FF}" destId="{5B2597DB-1D78-407F-AEFC-AF105E6D7D84}" srcOrd="3" destOrd="0" presId="urn:microsoft.com/office/officeart/2005/8/layout/hierarchy4"/>
    <dgm:cxn modelId="{4F34E795-FC48-4239-ACB6-9DFE1984AD30}" type="presParOf" srcId="{7876794B-746E-4AB5-8193-D59EF6DD02FF}" destId="{1A592058-4A40-48B2-B66A-EBC64C348CCF}" srcOrd="4" destOrd="0" presId="urn:microsoft.com/office/officeart/2005/8/layout/hierarchy4"/>
    <dgm:cxn modelId="{761B6A72-AB07-4FD3-A713-82828FD6FE1A}" type="presParOf" srcId="{1A592058-4A40-48B2-B66A-EBC64C348CCF}" destId="{666E79FA-942A-4569-8D28-B0EEE547FECC}" srcOrd="0" destOrd="0" presId="urn:microsoft.com/office/officeart/2005/8/layout/hierarchy4"/>
    <dgm:cxn modelId="{66594CB4-C624-43DF-BCF2-AE04A1B4BEDA}" type="presParOf" srcId="{1A592058-4A40-48B2-B66A-EBC64C348CCF}" destId="{D430BF8F-0D2C-479C-9ABF-03338B6D3DDB}" srcOrd="1" destOrd="0" presId="urn:microsoft.com/office/officeart/2005/8/layout/hierarchy4"/>
    <dgm:cxn modelId="{13F89AC3-8636-4877-9A86-260A953DBF3C}" type="presParOf" srcId="{1A592058-4A40-48B2-B66A-EBC64C348CCF}" destId="{A10DCA76-5DE9-4FDA-8AF7-80F3CC19F4A4}" srcOrd="2" destOrd="0" presId="urn:microsoft.com/office/officeart/2005/8/layout/hierarchy4"/>
    <dgm:cxn modelId="{3AE27DE7-05CC-4F59-BD45-B32597DB62A9}" type="presParOf" srcId="{A10DCA76-5DE9-4FDA-8AF7-80F3CC19F4A4}" destId="{352F69FF-8619-4F70-9749-12A46681F394}" srcOrd="0" destOrd="0" presId="urn:microsoft.com/office/officeart/2005/8/layout/hierarchy4"/>
    <dgm:cxn modelId="{A39F4103-ADF9-49E6-A954-4F03973C54F3}" type="presParOf" srcId="{352F69FF-8619-4F70-9749-12A46681F394}" destId="{47E72CAA-3DB1-417D-9327-4B6B0028F79D}" srcOrd="0" destOrd="0" presId="urn:microsoft.com/office/officeart/2005/8/layout/hierarchy4"/>
    <dgm:cxn modelId="{5B0CED40-A18F-48D5-A454-C91A696A30C9}" type="presParOf" srcId="{352F69FF-8619-4F70-9749-12A46681F394}" destId="{CEEB2EE0-D70B-4E91-8322-3CEADDA0BF03}" srcOrd="1" destOrd="0" presId="urn:microsoft.com/office/officeart/2005/8/layout/hierarchy4"/>
    <dgm:cxn modelId="{A3B21858-D821-412F-B0B7-7B9757E0CB47}" type="presParOf" srcId="{A10DCA76-5DE9-4FDA-8AF7-80F3CC19F4A4}" destId="{5E5D90AE-CF50-4B22-BCB5-1443ADEB2CAE}" srcOrd="1" destOrd="0" presId="urn:microsoft.com/office/officeart/2005/8/layout/hierarchy4"/>
    <dgm:cxn modelId="{7E09E6A1-0BCF-4202-8954-C5FE84883E6E}" type="presParOf" srcId="{A10DCA76-5DE9-4FDA-8AF7-80F3CC19F4A4}" destId="{F4F16246-A83E-40CF-897E-5AD0D82E13FB}" srcOrd="2" destOrd="0" presId="urn:microsoft.com/office/officeart/2005/8/layout/hierarchy4"/>
    <dgm:cxn modelId="{036CE84C-E78D-451C-B350-23B3C86DF016}" type="presParOf" srcId="{F4F16246-A83E-40CF-897E-5AD0D82E13FB}" destId="{2AC4C9D0-9FE6-492A-A135-8CC8060C0DCE}" srcOrd="0" destOrd="0" presId="urn:microsoft.com/office/officeart/2005/8/layout/hierarchy4"/>
    <dgm:cxn modelId="{7FA90A5E-6966-464B-97EE-BF3AB9C2A01C}" type="presParOf" srcId="{F4F16246-A83E-40CF-897E-5AD0D82E13FB}" destId="{EEF4795A-5128-460A-84CB-31ED01E0F6AC}" srcOrd="1" destOrd="0" presId="urn:microsoft.com/office/officeart/2005/8/layout/hierarchy4"/>
    <dgm:cxn modelId="{0B7AA06A-5919-4877-959E-778EF125EBBD}" type="presParOf" srcId="{7876794B-746E-4AB5-8193-D59EF6DD02FF}" destId="{9E78C9C2-4C16-424E-8184-95A97A61FCB7}" srcOrd="5" destOrd="0" presId="urn:microsoft.com/office/officeart/2005/8/layout/hierarchy4"/>
    <dgm:cxn modelId="{E96F0142-C153-41B4-8946-A4DCCB5B87E0}" type="presParOf" srcId="{7876794B-746E-4AB5-8193-D59EF6DD02FF}" destId="{9A3A2F32-069F-4AB4-AA44-B1B33F9F99C3}" srcOrd="6" destOrd="0" presId="urn:microsoft.com/office/officeart/2005/8/layout/hierarchy4"/>
    <dgm:cxn modelId="{08C23E7A-DC52-4979-A65F-2F8A74D86967}" type="presParOf" srcId="{9A3A2F32-069F-4AB4-AA44-B1B33F9F99C3}" destId="{FF4816CD-7A12-46E2-9C2E-FAB60BB7CE6B}" srcOrd="0" destOrd="0" presId="urn:microsoft.com/office/officeart/2005/8/layout/hierarchy4"/>
    <dgm:cxn modelId="{6B8AD047-FF36-4C58-A777-1EE52DD39D89}" type="presParOf" srcId="{9A3A2F32-069F-4AB4-AA44-B1B33F9F99C3}" destId="{CFB0F335-F94E-4108-8796-D9EBACA71FFA}" srcOrd="1" destOrd="0" presId="urn:microsoft.com/office/officeart/2005/8/layout/hierarchy4"/>
    <dgm:cxn modelId="{59DC1270-0624-4138-B3F4-F1BCA59DAB0E}" type="presParOf" srcId="{63F0E831-922E-40DF-990E-54BD0E0B9ACC}" destId="{6F621A40-05DE-4284-AF2F-874F4816E318}" srcOrd="3" destOrd="0" presId="urn:microsoft.com/office/officeart/2005/8/layout/hierarchy4"/>
    <dgm:cxn modelId="{76EE2D2B-7CFB-4759-836E-7EF41102525E}" type="presParOf" srcId="{63F0E831-922E-40DF-990E-54BD0E0B9ACC}" destId="{B313039A-29C8-483D-B433-E62D985E7951}" srcOrd="4" destOrd="0" presId="urn:microsoft.com/office/officeart/2005/8/layout/hierarchy4"/>
    <dgm:cxn modelId="{37EEB34D-1AB5-4DC8-AFA0-0BB1354DEC2B}" type="presParOf" srcId="{B313039A-29C8-483D-B433-E62D985E7951}" destId="{D3A66C65-EEA3-46F1-977C-814E570F4D90}" srcOrd="0" destOrd="0" presId="urn:microsoft.com/office/officeart/2005/8/layout/hierarchy4"/>
    <dgm:cxn modelId="{556DA546-EB7B-46E7-9A5E-A613F375475E}" type="presParOf" srcId="{B313039A-29C8-483D-B433-E62D985E7951}" destId="{D1C6EB84-EB28-4357-90DD-D951983E5052}" srcOrd="1" destOrd="0" presId="urn:microsoft.com/office/officeart/2005/8/layout/hierarchy4"/>
    <dgm:cxn modelId="{1D0D6CC2-555F-4EE1-8889-29B910F64BCA}" type="presParOf" srcId="{B313039A-29C8-483D-B433-E62D985E7951}" destId="{1DD85AA5-F3D7-4D83-8369-67DE06E1FDD7}" srcOrd="2" destOrd="0" presId="urn:microsoft.com/office/officeart/2005/8/layout/hierarchy4"/>
    <dgm:cxn modelId="{A3663420-5A1E-4D0B-B479-9D4E6BA43F42}" type="presParOf" srcId="{1DD85AA5-F3D7-4D83-8369-67DE06E1FDD7}" destId="{7770FDEC-3CB3-4BAB-94E4-894678CEFC6C}" srcOrd="0" destOrd="0" presId="urn:microsoft.com/office/officeart/2005/8/layout/hierarchy4"/>
    <dgm:cxn modelId="{DA624375-B66A-45E8-8A7C-F8D47D285586}" type="presParOf" srcId="{7770FDEC-3CB3-4BAB-94E4-894678CEFC6C}" destId="{9EF323B1-AA36-4B00-8BE2-8DE30681DDF7}" srcOrd="0" destOrd="0" presId="urn:microsoft.com/office/officeart/2005/8/layout/hierarchy4"/>
    <dgm:cxn modelId="{D882EE33-DC23-4895-952D-1ED196DBD9C4}" type="presParOf" srcId="{7770FDEC-3CB3-4BAB-94E4-894678CEFC6C}" destId="{297B9841-98E6-46AB-AB50-2EEB1CC69989}" srcOrd="1" destOrd="0" presId="urn:microsoft.com/office/officeart/2005/8/layout/hierarchy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B0CB86F-0D9F-49E4-A055-2F219FB9E48F}" type="doc">
      <dgm:prSet loTypeId="urn:microsoft.com/office/officeart/2018/2/layout/IconCircleList" loCatId="icon" qsTypeId="urn:microsoft.com/office/officeart/2005/8/quickstyle/simple1" qsCatId="simple" csTypeId="urn:microsoft.com/office/officeart/2005/8/colors/accent3_2" csCatId="accent3" phldr="1"/>
      <dgm:spPr/>
      <dgm:t>
        <a:bodyPr/>
        <a:lstStyle/>
        <a:p>
          <a:endParaRPr lang="en-US"/>
        </a:p>
      </dgm:t>
    </dgm:pt>
    <dgm:pt modelId="{2AD037FB-AD56-4ADD-8783-D7713BBAE192}">
      <dgm:prSet/>
      <dgm:spPr/>
      <dgm:t>
        <a:bodyPr/>
        <a:lstStyle/>
        <a:p>
          <a:r>
            <a:rPr lang="en-GB" b="0" i="0"/>
            <a:t>Nasdaq Risk Modelling for Catastrophes is now part of Verisk</a:t>
          </a:r>
          <a:endParaRPr lang="en-US"/>
        </a:p>
      </dgm:t>
    </dgm:pt>
    <dgm:pt modelId="{C5E766B4-3DD4-46F0-93CB-27F6EFED1B57}" type="parTrans" cxnId="{305F6522-7F7D-4272-8A00-62786EEDA50C}">
      <dgm:prSet/>
      <dgm:spPr/>
      <dgm:t>
        <a:bodyPr/>
        <a:lstStyle/>
        <a:p>
          <a:endParaRPr lang="en-US"/>
        </a:p>
      </dgm:t>
    </dgm:pt>
    <dgm:pt modelId="{F113BC10-8F08-4D0C-92E0-9E0F97BB8212}" type="sibTrans" cxnId="{305F6522-7F7D-4272-8A00-62786EEDA50C}">
      <dgm:prSet/>
      <dgm:spPr/>
      <dgm:t>
        <a:bodyPr/>
        <a:lstStyle/>
        <a:p>
          <a:endParaRPr lang="en-US"/>
        </a:p>
      </dgm:t>
    </dgm:pt>
    <dgm:pt modelId="{DE1A71BB-14AF-43C1-BE02-6BE5B2B04C8A}">
      <dgm:prSet/>
      <dgm:spPr/>
      <dgm:t>
        <a:bodyPr/>
        <a:lstStyle/>
        <a:p>
          <a:r>
            <a:rPr lang="en-GB" b="0" i="0"/>
            <a:t>All cloud systems and services are transitioning to Verisk</a:t>
          </a:r>
          <a:endParaRPr lang="en-US"/>
        </a:p>
      </dgm:t>
    </dgm:pt>
    <dgm:pt modelId="{8F875BB4-4EFA-49FA-8BA8-406FBE53366B}" type="parTrans" cxnId="{D0AC6082-2A7C-43AC-A805-B1005B07BC64}">
      <dgm:prSet/>
      <dgm:spPr/>
      <dgm:t>
        <a:bodyPr/>
        <a:lstStyle/>
        <a:p>
          <a:endParaRPr lang="en-US"/>
        </a:p>
      </dgm:t>
    </dgm:pt>
    <dgm:pt modelId="{A96008A6-0C68-4474-AA57-3EAFF7043E08}" type="sibTrans" cxnId="{D0AC6082-2A7C-43AC-A805-B1005B07BC64}">
      <dgm:prSet/>
      <dgm:spPr/>
      <dgm:t>
        <a:bodyPr/>
        <a:lstStyle/>
        <a:p>
          <a:endParaRPr lang="en-US"/>
        </a:p>
      </dgm:t>
    </dgm:pt>
    <dgm:pt modelId="{56D7EEF4-77EB-4925-8042-AC22F69E494B}">
      <dgm:prSet/>
      <dgm:spPr/>
      <dgm:t>
        <a:bodyPr/>
        <a:lstStyle/>
        <a:p>
          <a:r>
            <a:rPr lang="en-GB" b="0" i="0"/>
            <a:t>Former NRMC employees are now Verisk employees</a:t>
          </a:r>
          <a:endParaRPr lang="en-US"/>
        </a:p>
      </dgm:t>
    </dgm:pt>
    <dgm:pt modelId="{F9C8EB5A-E9A7-4605-9C82-943437AE15CB}" type="parTrans" cxnId="{5CFAEC2C-A259-45FA-BDCB-02E7532E4D60}">
      <dgm:prSet/>
      <dgm:spPr/>
      <dgm:t>
        <a:bodyPr/>
        <a:lstStyle/>
        <a:p>
          <a:endParaRPr lang="en-US"/>
        </a:p>
      </dgm:t>
    </dgm:pt>
    <dgm:pt modelId="{037B97BF-DF35-411F-A454-7D8C8D026229}" type="sibTrans" cxnId="{5CFAEC2C-A259-45FA-BDCB-02E7532E4D60}">
      <dgm:prSet/>
      <dgm:spPr/>
      <dgm:t>
        <a:bodyPr/>
        <a:lstStyle/>
        <a:p>
          <a:endParaRPr lang="en-US"/>
        </a:p>
      </dgm:t>
    </dgm:pt>
    <dgm:pt modelId="{AAAFD331-C801-4B72-AA66-27F762503AFD}">
      <dgm:prSet/>
      <dgm:spPr/>
      <dgm:t>
        <a:bodyPr/>
        <a:lstStyle/>
        <a:p>
          <a:r>
            <a:rPr lang="en-GB" b="0" i="0"/>
            <a:t>Oasis Loss Modelling Framework technology is now utilised directly by one of the world’s biggest modelling companies</a:t>
          </a:r>
          <a:endParaRPr lang="en-US"/>
        </a:p>
      </dgm:t>
    </dgm:pt>
    <dgm:pt modelId="{F5F8E204-6C24-41E6-8230-422357DD28C3}" type="parTrans" cxnId="{6E6FC4A7-7B92-414C-9431-75ED35A28D67}">
      <dgm:prSet/>
      <dgm:spPr/>
      <dgm:t>
        <a:bodyPr/>
        <a:lstStyle/>
        <a:p>
          <a:endParaRPr lang="en-US"/>
        </a:p>
      </dgm:t>
    </dgm:pt>
    <dgm:pt modelId="{5601F07B-427F-43BC-BB62-2907C8F6C5CB}" type="sibTrans" cxnId="{6E6FC4A7-7B92-414C-9431-75ED35A28D67}">
      <dgm:prSet/>
      <dgm:spPr/>
      <dgm:t>
        <a:bodyPr/>
        <a:lstStyle/>
        <a:p>
          <a:endParaRPr lang="en-US"/>
        </a:p>
      </dgm:t>
    </dgm:pt>
    <dgm:pt modelId="{6DB88CCB-E69D-4405-A748-EDFA0A89AB7C}">
      <dgm:prSet/>
      <dgm:spPr/>
      <dgm:t>
        <a:bodyPr/>
        <a:lstStyle/>
        <a:p>
          <a:r>
            <a:rPr lang="en-GB" b="0" i="0"/>
            <a:t>Model vendors that develop their models in Oasis format have access to a bigger market</a:t>
          </a:r>
          <a:endParaRPr lang="en-US"/>
        </a:p>
      </dgm:t>
    </dgm:pt>
    <dgm:pt modelId="{6FBBD8B8-E81F-4BC2-834F-ABD7123B3161}" type="parTrans" cxnId="{0D5773FA-D0B4-4092-8E03-49B3F5E40605}">
      <dgm:prSet/>
      <dgm:spPr/>
      <dgm:t>
        <a:bodyPr/>
        <a:lstStyle/>
        <a:p>
          <a:endParaRPr lang="en-US"/>
        </a:p>
      </dgm:t>
    </dgm:pt>
    <dgm:pt modelId="{FE65DF04-47FC-44BD-98A2-B17277ABB5E8}" type="sibTrans" cxnId="{0D5773FA-D0B4-4092-8E03-49B3F5E40605}">
      <dgm:prSet/>
      <dgm:spPr/>
      <dgm:t>
        <a:bodyPr/>
        <a:lstStyle/>
        <a:p>
          <a:endParaRPr lang="en-US"/>
        </a:p>
      </dgm:t>
    </dgm:pt>
    <dgm:pt modelId="{267A5543-608B-4AF0-822C-39C8FBE3350C}">
      <dgm:prSet/>
      <dgm:spPr/>
      <dgm:t>
        <a:bodyPr/>
        <a:lstStyle/>
        <a:p>
          <a:r>
            <a:rPr lang="en-GB" b="0" i="0"/>
            <a:t>The product, now Model Exchange, is owned by a company whose core business is catastrophe modelling</a:t>
          </a:r>
          <a:endParaRPr lang="en-US"/>
        </a:p>
      </dgm:t>
    </dgm:pt>
    <dgm:pt modelId="{9ACF9CBA-F253-4815-A9E2-74D0C961922D}" type="parTrans" cxnId="{74950082-BAB4-4DAE-B814-DDEE8D6F8F91}">
      <dgm:prSet/>
      <dgm:spPr/>
      <dgm:t>
        <a:bodyPr/>
        <a:lstStyle/>
        <a:p>
          <a:endParaRPr lang="en-US"/>
        </a:p>
      </dgm:t>
    </dgm:pt>
    <dgm:pt modelId="{26AA2D1B-3C65-4E70-8838-D0AC965013B8}" type="sibTrans" cxnId="{74950082-BAB4-4DAE-B814-DDEE8D6F8F91}">
      <dgm:prSet/>
      <dgm:spPr/>
      <dgm:t>
        <a:bodyPr/>
        <a:lstStyle/>
        <a:p>
          <a:endParaRPr lang="en-US"/>
        </a:p>
      </dgm:t>
    </dgm:pt>
    <dgm:pt modelId="{B43C7B83-CBCB-49CF-AC5B-1952D0A6FA53}">
      <dgm:prSet/>
      <dgm:spPr/>
      <dgm:t>
        <a:bodyPr/>
        <a:lstStyle/>
        <a:p>
          <a:r>
            <a:rPr lang="en-GB" b="0" i="0"/>
            <a:t>Verisk has made a strategic investment to support and grow the open data and alternative modelling landscape</a:t>
          </a:r>
          <a:endParaRPr lang="en-US"/>
        </a:p>
      </dgm:t>
    </dgm:pt>
    <dgm:pt modelId="{67500A7F-88C9-47E0-9AB8-3EAAAA072BD4}" type="parTrans" cxnId="{F041E8FF-1A3F-4BF5-88F5-33F07C44FD31}">
      <dgm:prSet/>
      <dgm:spPr/>
      <dgm:t>
        <a:bodyPr/>
        <a:lstStyle/>
        <a:p>
          <a:endParaRPr lang="en-US"/>
        </a:p>
      </dgm:t>
    </dgm:pt>
    <dgm:pt modelId="{976606FB-835A-4D10-878E-D72A74F3FF5F}" type="sibTrans" cxnId="{F041E8FF-1A3F-4BF5-88F5-33F07C44FD31}">
      <dgm:prSet/>
      <dgm:spPr/>
      <dgm:t>
        <a:bodyPr/>
        <a:lstStyle/>
        <a:p>
          <a:endParaRPr lang="en-US"/>
        </a:p>
      </dgm:t>
    </dgm:pt>
    <dgm:pt modelId="{64AFB502-F1E9-4C12-ACC4-28ACF703B490}" type="pres">
      <dgm:prSet presAssocID="{0B0CB86F-0D9F-49E4-A055-2F219FB9E48F}" presName="root" presStyleCnt="0">
        <dgm:presLayoutVars>
          <dgm:dir/>
          <dgm:resizeHandles val="exact"/>
        </dgm:presLayoutVars>
      </dgm:prSet>
      <dgm:spPr/>
    </dgm:pt>
    <dgm:pt modelId="{BC9F31F3-83B7-4019-A157-3B7C38552AD7}" type="pres">
      <dgm:prSet presAssocID="{0B0CB86F-0D9F-49E4-A055-2F219FB9E48F}" presName="container" presStyleCnt="0">
        <dgm:presLayoutVars>
          <dgm:dir/>
          <dgm:resizeHandles val="exact"/>
        </dgm:presLayoutVars>
      </dgm:prSet>
      <dgm:spPr/>
    </dgm:pt>
    <dgm:pt modelId="{DAF5F703-231B-44EC-8473-DDC4E54D0DC6}" type="pres">
      <dgm:prSet presAssocID="{2AD037FB-AD56-4ADD-8783-D7713BBAE192}" presName="compNode" presStyleCnt="0"/>
      <dgm:spPr/>
    </dgm:pt>
    <dgm:pt modelId="{4A30C159-A2A4-401B-AF21-8DA3549B5206}" type="pres">
      <dgm:prSet presAssocID="{2AD037FB-AD56-4ADD-8783-D7713BBAE192}" presName="iconBgRect" presStyleLbl="bgShp" presStyleIdx="0" presStyleCnt="7"/>
      <dgm:spPr/>
    </dgm:pt>
    <dgm:pt modelId="{506DA7DE-9A7F-4B6B-A5A2-A63AAFAAF1A3}" type="pres">
      <dgm:prSet presAssocID="{2AD037FB-AD56-4ADD-8783-D7713BBAE192}" presName="iconRect" presStyleLbl="node1" presStyleIdx="0" presStyleCnt="7"/>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Warning"/>
        </a:ext>
      </dgm:extLst>
    </dgm:pt>
    <dgm:pt modelId="{8317F1B5-20D8-4E77-932B-02C0E3F20CD1}" type="pres">
      <dgm:prSet presAssocID="{2AD037FB-AD56-4ADD-8783-D7713BBAE192}" presName="spaceRect" presStyleCnt="0"/>
      <dgm:spPr/>
    </dgm:pt>
    <dgm:pt modelId="{B4E6F601-A41F-4DF8-8700-AF85FF9ECCF4}" type="pres">
      <dgm:prSet presAssocID="{2AD037FB-AD56-4ADD-8783-D7713BBAE192}" presName="textRect" presStyleLbl="revTx" presStyleIdx="0" presStyleCnt="7">
        <dgm:presLayoutVars>
          <dgm:chMax val="1"/>
          <dgm:chPref val="1"/>
        </dgm:presLayoutVars>
      </dgm:prSet>
      <dgm:spPr/>
    </dgm:pt>
    <dgm:pt modelId="{97939B04-6F59-41DC-BC5F-E7A3EFCFDB02}" type="pres">
      <dgm:prSet presAssocID="{F113BC10-8F08-4D0C-92E0-9E0F97BB8212}" presName="sibTrans" presStyleLbl="sibTrans2D1" presStyleIdx="0" presStyleCnt="0"/>
      <dgm:spPr/>
    </dgm:pt>
    <dgm:pt modelId="{CDC7E984-C61A-4F9D-96E6-1E7E4FF4580A}" type="pres">
      <dgm:prSet presAssocID="{DE1A71BB-14AF-43C1-BE02-6BE5B2B04C8A}" presName="compNode" presStyleCnt="0"/>
      <dgm:spPr/>
    </dgm:pt>
    <dgm:pt modelId="{4C2D75DE-DBFA-4C14-99A9-9ECD550768CC}" type="pres">
      <dgm:prSet presAssocID="{DE1A71BB-14AF-43C1-BE02-6BE5B2B04C8A}" presName="iconBgRect" presStyleLbl="bgShp" presStyleIdx="1" presStyleCnt="7"/>
      <dgm:spPr/>
    </dgm:pt>
    <dgm:pt modelId="{C38AE13C-984D-4C0F-94EF-7B896E7C6323}" type="pres">
      <dgm:prSet presAssocID="{DE1A71BB-14AF-43C1-BE02-6BE5B2B04C8A}" presName="iconRect" presStyleLbl="node1" presStyleIdx="1" presStyleCnt="7"/>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loud"/>
        </a:ext>
      </dgm:extLst>
    </dgm:pt>
    <dgm:pt modelId="{6133CD80-0307-4B61-A3D6-9253EFD78112}" type="pres">
      <dgm:prSet presAssocID="{DE1A71BB-14AF-43C1-BE02-6BE5B2B04C8A}" presName="spaceRect" presStyleCnt="0"/>
      <dgm:spPr/>
    </dgm:pt>
    <dgm:pt modelId="{0123EB05-4FEB-4566-8375-CFDA13342A2A}" type="pres">
      <dgm:prSet presAssocID="{DE1A71BB-14AF-43C1-BE02-6BE5B2B04C8A}" presName="textRect" presStyleLbl="revTx" presStyleIdx="1" presStyleCnt="7">
        <dgm:presLayoutVars>
          <dgm:chMax val="1"/>
          <dgm:chPref val="1"/>
        </dgm:presLayoutVars>
      </dgm:prSet>
      <dgm:spPr/>
    </dgm:pt>
    <dgm:pt modelId="{F548447C-3A5E-4F62-A91A-CDD82D59FBEC}" type="pres">
      <dgm:prSet presAssocID="{A96008A6-0C68-4474-AA57-3EAFF7043E08}" presName="sibTrans" presStyleLbl="sibTrans2D1" presStyleIdx="0" presStyleCnt="0"/>
      <dgm:spPr/>
    </dgm:pt>
    <dgm:pt modelId="{56C52F79-A6A8-46EE-B60A-0628DA4AA897}" type="pres">
      <dgm:prSet presAssocID="{56D7EEF4-77EB-4925-8042-AC22F69E494B}" presName="compNode" presStyleCnt="0"/>
      <dgm:spPr/>
    </dgm:pt>
    <dgm:pt modelId="{3384DF57-E1E9-4C77-8246-94A42785FB6A}" type="pres">
      <dgm:prSet presAssocID="{56D7EEF4-77EB-4925-8042-AC22F69E494B}" presName="iconBgRect" presStyleLbl="bgShp" presStyleIdx="2" presStyleCnt="7"/>
      <dgm:spPr/>
    </dgm:pt>
    <dgm:pt modelId="{D5FAC1F2-382C-4C9B-AC7D-3971BBA35BDD}" type="pres">
      <dgm:prSet presAssocID="{56D7EEF4-77EB-4925-8042-AC22F69E494B}" presName="iconRect" presStyleLbl="node1" presStyleIdx="2" presStyleCnt="7"/>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Team"/>
        </a:ext>
      </dgm:extLst>
    </dgm:pt>
    <dgm:pt modelId="{4C9E0DFD-2DEC-4BC7-85B6-CA1429E02349}" type="pres">
      <dgm:prSet presAssocID="{56D7EEF4-77EB-4925-8042-AC22F69E494B}" presName="spaceRect" presStyleCnt="0"/>
      <dgm:spPr/>
    </dgm:pt>
    <dgm:pt modelId="{ABF0EFA7-A2C7-4BF8-92E1-AC991A5FCA93}" type="pres">
      <dgm:prSet presAssocID="{56D7EEF4-77EB-4925-8042-AC22F69E494B}" presName="textRect" presStyleLbl="revTx" presStyleIdx="2" presStyleCnt="7">
        <dgm:presLayoutVars>
          <dgm:chMax val="1"/>
          <dgm:chPref val="1"/>
        </dgm:presLayoutVars>
      </dgm:prSet>
      <dgm:spPr/>
    </dgm:pt>
    <dgm:pt modelId="{326B0A33-E783-44E6-B91E-C730EA0D5173}" type="pres">
      <dgm:prSet presAssocID="{037B97BF-DF35-411F-A454-7D8C8D026229}" presName="sibTrans" presStyleLbl="sibTrans2D1" presStyleIdx="0" presStyleCnt="0"/>
      <dgm:spPr/>
    </dgm:pt>
    <dgm:pt modelId="{15AFD51D-3B89-41C4-8DDF-B54C5BC1DDA0}" type="pres">
      <dgm:prSet presAssocID="{AAAFD331-C801-4B72-AA66-27F762503AFD}" presName="compNode" presStyleCnt="0"/>
      <dgm:spPr/>
    </dgm:pt>
    <dgm:pt modelId="{6EDD600F-9C7C-4084-BDA3-265F7AF1ED6B}" type="pres">
      <dgm:prSet presAssocID="{AAAFD331-C801-4B72-AA66-27F762503AFD}" presName="iconBgRect" presStyleLbl="bgShp" presStyleIdx="3" presStyleCnt="7"/>
      <dgm:spPr/>
    </dgm:pt>
    <dgm:pt modelId="{10FF4E41-1326-4956-9D8C-4461715B669F}" type="pres">
      <dgm:prSet presAssocID="{AAAFD331-C801-4B72-AA66-27F762503AFD}" presName="iconRect" presStyleLbl="node1" presStyleIdx="3" presStyleCnt="7"/>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Processor"/>
        </a:ext>
      </dgm:extLst>
    </dgm:pt>
    <dgm:pt modelId="{B5C910C2-BC30-4B91-B984-F0E899719FF7}" type="pres">
      <dgm:prSet presAssocID="{AAAFD331-C801-4B72-AA66-27F762503AFD}" presName="spaceRect" presStyleCnt="0"/>
      <dgm:spPr/>
    </dgm:pt>
    <dgm:pt modelId="{A37A415A-F12F-44EF-AB18-31FE482C9D61}" type="pres">
      <dgm:prSet presAssocID="{AAAFD331-C801-4B72-AA66-27F762503AFD}" presName="textRect" presStyleLbl="revTx" presStyleIdx="3" presStyleCnt="7">
        <dgm:presLayoutVars>
          <dgm:chMax val="1"/>
          <dgm:chPref val="1"/>
        </dgm:presLayoutVars>
      </dgm:prSet>
      <dgm:spPr/>
    </dgm:pt>
    <dgm:pt modelId="{DF1E03A6-0B01-46EE-B68E-D57D32D74FFC}" type="pres">
      <dgm:prSet presAssocID="{5601F07B-427F-43BC-BB62-2907C8F6C5CB}" presName="sibTrans" presStyleLbl="sibTrans2D1" presStyleIdx="0" presStyleCnt="0"/>
      <dgm:spPr/>
    </dgm:pt>
    <dgm:pt modelId="{704E3A43-91D3-46AB-A0DE-8C566758D786}" type="pres">
      <dgm:prSet presAssocID="{6DB88CCB-E69D-4405-A748-EDFA0A89AB7C}" presName="compNode" presStyleCnt="0"/>
      <dgm:spPr/>
    </dgm:pt>
    <dgm:pt modelId="{D6875CE5-F080-4BD1-878F-5D6340C99FAA}" type="pres">
      <dgm:prSet presAssocID="{6DB88CCB-E69D-4405-A748-EDFA0A89AB7C}" presName="iconBgRect" presStyleLbl="bgShp" presStyleIdx="4" presStyleCnt="7"/>
      <dgm:spPr/>
    </dgm:pt>
    <dgm:pt modelId="{8B28550E-5173-45EC-8366-9FF4B493DAD0}" type="pres">
      <dgm:prSet presAssocID="{6DB88CCB-E69D-4405-A748-EDFA0A89AB7C}" presName="iconRect" presStyleLbl="node1" presStyleIdx="4" presStyleCnt="7"/>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a:noFill/>
        </a:ln>
      </dgm:spPr>
      <dgm:extLst>
        <a:ext uri="{E40237B7-FDA0-4F09-8148-C483321AD2D9}">
          <dgm14:cNvPr xmlns:dgm14="http://schemas.microsoft.com/office/drawing/2010/diagram" id="0" name="" descr="Checkmark"/>
        </a:ext>
      </dgm:extLst>
    </dgm:pt>
    <dgm:pt modelId="{24A5B1B1-028F-4870-9BC7-048FBF31E939}" type="pres">
      <dgm:prSet presAssocID="{6DB88CCB-E69D-4405-A748-EDFA0A89AB7C}" presName="spaceRect" presStyleCnt="0"/>
      <dgm:spPr/>
    </dgm:pt>
    <dgm:pt modelId="{FCA6C8A9-C007-4E11-BD95-3A400E1345C4}" type="pres">
      <dgm:prSet presAssocID="{6DB88CCB-E69D-4405-A748-EDFA0A89AB7C}" presName="textRect" presStyleLbl="revTx" presStyleIdx="4" presStyleCnt="7">
        <dgm:presLayoutVars>
          <dgm:chMax val="1"/>
          <dgm:chPref val="1"/>
        </dgm:presLayoutVars>
      </dgm:prSet>
      <dgm:spPr/>
    </dgm:pt>
    <dgm:pt modelId="{C1D6BA74-D7E4-47E0-B477-2AF1F45FB239}" type="pres">
      <dgm:prSet presAssocID="{FE65DF04-47FC-44BD-98A2-B17277ABB5E8}" presName="sibTrans" presStyleLbl="sibTrans2D1" presStyleIdx="0" presStyleCnt="0"/>
      <dgm:spPr/>
    </dgm:pt>
    <dgm:pt modelId="{F08C04BD-AE18-4AFA-90E1-940FA0FF4676}" type="pres">
      <dgm:prSet presAssocID="{267A5543-608B-4AF0-822C-39C8FBE3350C}" presName="compNode" presStyleCnt="0"/>
      <dgm:spPr/>
    </dgm:pt>
    <dgm:pt modelId="{BEA562FA-9BB2-4DA1-B4B6-CF41732330BB}" type="pres">
      <dgm:prSet presAssocID="{267A5543-608B-4AF0-822C-39C8FBE3350C}" presName="iconBgRect" presStyleLbl="bgShp" presStyleIdx="5" presStyleCnt="7"/>
      <dgm:spPr/>
    </dgm:pt>
    <dgm:pt modelId="{F406F869-186A-4125-AA1F-2A3962611EF4}" type="pres">
      <dgm:prSet presAssocID="{267A5543-608B-4AF0-822C-39C8FBE3350C}" presName="iconRect" presStyleLbl="node1" presStyleIdx="5" presStyleCnt="7"/>
      <dgm:spPr>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a:noFill/>
        </a:ln>
      </dgm:spPr>
      <dgm:extLst>
        <a:ext uri="{E40237B7-FDA0-4F09-8148-C483321AD2D9}">
          <dgm14:cNvPr xmlns:dgm14="http://schemas.microsoft.com/office/drawing/2010/diagram" id="0" name="" descr="Comet"/>
        </a:ext>
      </dgm:extLst>
    </dgm:pt>
    <dgm:pt modelId="{5456EE7C-4545-4265-95C0-B43857C3D6DB}" type="pres">
      <dgm:prSet presAssocID="{267A5543-608B-4AF0-822C-39C8FBE3350C}" presName="spaceRect" presStyleCnt="0"/>
      <dgm:spPr/>
    </dgm:pt>
    <dgm:pt modelId="{0CF84AAE-E685-4A07-BD4E-67F1F3679B52}" type="pres">
      <dgm:prSet presAssocID="{267A5543-608B-4AF0-822C-39C8FBE3350C}" presName="textRect" presStyleLbl="revTx" presStyleIdx="5" presStyleCnt="7">
        <dgm:presLayoutVars>
          <dgm:chMax val="1"/>
          <dgm:chPref val="1"/>
        </dgm:presLayoutVars>
      </dgm:prSet>
      <dgm:spPr/>
    </dgm:pt>
    <dgm:pt modelId="{16E3FF87-B870-4CDE-90ED-5950D35E7000}" type="pres">
      <dgm:prSet presAssocID="{26AA2D1B-3C65-4E70-8838-D0AC965013B8}" presName="sibTrans" presStyleLbl="sibTrans2D1" presStyleIdx="0" presStyleCnt="0"/>
      <dgm:spPr/>
    </dgm:pt>
    <dgm:pt modelId="{0E86A7BD-B9CA-4294-BB05-88997D673C07}" type="pres">
      <dgm:prSet presAssocID="{B43C7B83-CBCB-49CF-AC5B-1952D0A6FA53}" presName="compNode" presStyleCnt="0"/>
      <dgm:spPr/>
    </dgm:pt>
    <dgm:pt modelId="{0E38A3DD-9C95-4022-A60F-57CF7FF9230A}" type="pres">
      <dgm:prSet presAssocID="{B43C7B83-CBCB-49CF-AC5B-1952D0A6FA53}" presName="iconBgRect" presStyleLbl="bgShp" presStyleIdx="6" presStyleCnt="7"/>
      <dgm:spPr/>
    </dgm:pt>
    <dgm:pt modelId="{C0A4C868-A382-4EEB-9A81-1FE8990FB63E}" type="pres">
      <dgm:prSet presAssocID="{B43C7B83-CBCB-49CF-AC5B-1952D0A6FA53}" presName="iconRect" presStyleLbl="node1" presStyleIdx="6" presStyleCnt="7"/>
      <dgm:spPr>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a:noFill/>
        </a:ln>
      </dgm:spPr>
      <dgm:extLst>
        <a:ext uri="{E40237B7-FDA0-4F09-8148-C483321AD2D9}">
          <dgm14:cNvPr xmlns:dgm14="http://schemas.microsoft.com/office/drawing/2010/diagram" id="0" name="" descr="Upward trend"/>
        </a:ext>
      </dgm:extLst>
    </dgm:pt>
    <dgm:pt modelId="{FE389A4E-8837-489B-A0C6-D1EA68E3291B}" type="pres">
      <dgm:prSet presAssocID="{B43C7B83-CBCB-49CF-AC5B-1952D0A6FA53}" presName="spaceRect" presStyleCnt="0"/>
      <dgm:spPr/>
    </dgm:pt>
    <dgm:pt modelId="{CD41A7B2-B3F9-47FC-8A74-B2083A9AFE81}" type="pres">
      <dgm:prSet presAssocID="{B43C7B83-CBCB-49CF-AC5B-1952D0A6FA53}" presName="textRect" presStyleLbl="revTx" presStyleIdx="6" presStyleCnt="7">
        <dgm:presLayoutVars>
          <dgm:chMax val="1"/>
          <dgm:chPref val="1"/>
        </dgm:presLayoutVars>
      </dgm:prSet>
      <dgm:spPr/>
    </dgm:pt>
  </dgm:ptLst>
  <dgm:cxnLst>
    <dgm:cxn modelId="{6679DC02-83E2-4801-9863-8FBF5191CC2B}" type="presOf" srcId="{A96008A6-0C68-4474-AA57-3EAFF7043E08}" destId="{F548447C-3A5E-4F62-A91A-CDD82D59FBEC}" srcOrd="0" destOrd="0" presId="urn:microsoft.com/office/officeart/2018/2/layout/IconCircleList"/>
    <dgm:cxn modelId="{C4B88410-063A-4738-95AD-C2F1C83BFFED}" type="presOf" srcId="{0B0CB86F-0D9F-49E4-A055-2F219FB9E48F}" destId="{64AFB502-F1E9-4C12-ACC4-28ACF703B490}" srcOrd="0" destOrd="0" presId="urn:microsoft.com/office/officeart/2018/2/layout/IconCircleList"/>
    <dgm:cxn modelId="{305F6522-7F7D-4272-8A00-62786EEDA50C}" srcId="{0B0CB86F-0D9F-49E4-A055-2F219FB9E48F}" destId="{2AD037FB-AD56-4ADD-8783-D7713BBAE192}" srcOrd="0" destOrd="0" parTransId="{C5E766B4-3DD4-46F0-93CB-27F6EFED1B57}" sibTransId="{F113BC10-8F08-4D0C-92E0-9E0F97BB8212}"/>
    <dgm:cxn modelId="{5CFAEC2C-A259-45FA-BDCB-02E7532E4D60}" srcId="{0B0CB86F-0D9F-49E4-A055-2F219FB9E48F}" destId="{56D7EEF4-77EB-4925-8042-AC22F69E494B}" srcOrd="2" destOrd="0" parTransId="{F9C8EB5A-E9A7-4605-9C82-943437AE15CB}" sibTransId="{037B97BF-DF35-411F-A454-7D8C8D026229}"/>
    <dgm:cxn modelId="{33722131-A848-4AFA-8EA9-0CEEF6B602D9}" type="presOf" srcId="{5601F07B-427F-43BC-BB62-2907C8F6C5CB}" destId="{DF1E03A6-0B01-46EE-B68E-D57D32D74FFC}" srcOrd="0" destOrd="0" presId="urn:microsoft.com/office/officeart/2018/2/layout/IconCircleList"/>
    <dgm:cxn modelId="{93945A5F-6089-46EC-A270-E70CE067D39B}" type="presOf" srcId="{B43C7B83-CBCB-49CF-AC5B-1952D0A6FA53}" destId="{CD41A7B2-B3F9-47FC-8A74-B2083A9AFE81}" srcOrd="0" destOrd="0" presId="urn:microsoft.com/office/officeart/2018/2/layout/IconCircleList"/>
    <dgm:cxn modelId="{7BAC5242-9B9D-4C45-9EA2-1023A330B61A}" type="presOf" srcId="{F113BC10-8F08-4D0C-92E0-9E0F97BB8212}" destId="{97939B04-6F59-41DC-BC5F-E7A3EFCFDB02}" srcOrd="0" destOrd="0" presId="urn:microsoft.com/office/officeart/2018/2/layout/IconCircleList"/>
    <dgm:cxn modelId="{5C8CAB6D-7378-42A3-9D22-A6528E4BE6E2}" type="presOf" srcId="{26AA2D1B-3C65-4E70-8838-D0AC965013B8}" destId="{16E3FF87-B870-4CDE-90ED-5950D35E7000}" srcOrd="0" destOrd="0" presId="urn:microsoft.com/office/officeart/2018/2/layout/IconCircleList"/>
    <dgm:cxn modelId="{0D8DED80-80E2-4583-AEE2-CF57E9843651}" type="presOf" srcId="{037B97BF-DF35-411F-A454-7D8C8D026229}" destId="{326B0A33-E783-44E6-B91E-C730EA0D5173}" srcOrd="0" destOrd="0" presId="urn:microsoft.com/office/officeart/2018/2/layout/IconCircleList"/>
    <dgm:cxn modelId="{74950082-BAB4-4DAE-B814-DDEE8D6F8F91}" srcId="{0B0CB86F-0D9F-49E4-A055-2F219FB9E48F}" destId="{267A5543-608B-4AF0-822C-39C8FBE3350C}" srcOrd="5" destOrd="0" parTransId="{9ACF9CBA-F253-4815-A9E2-74D0C961922D}" sibTransId="{26AA2D1B-3C65-4E70-8838-D0AC965013B8}"/>
    <dgm:cxn modelId="{D0AC6082-2A7C-43AC-A805-B1005B07BC64}" srcId="{0B0CB86F-0D9F-49E4-A055-2F219FB9E48F}" destId="{DE1A71BB-14AF-43C1-BE02-6BE5B2B04C8A}" srcOrd="1" destOrd="0" parTransId="{8F875BB4-4EFA-49FA-8BA8-406FBE53366B}" sibTransId="{A96008A6-0C68-4474-AA57-3EAFF7043E08}"/>
    <dgm:cxn modelId="{38C13798-E94D-4952-821D-FF5C777FCA91}" type="presOf" srcId="{56D7EEF4-77EB-4925-8042-AC22F69E494B}" destId="{ABF0EFA7-A2C7-4BF8-92E1-AC991A5FCA93}" srcOrd="0" destOrd="0" presId="urn:microsoft.com/office/officeart/2018/2/layout/IconCircleList"/>
    <dgm:cxn modelId="{4689759C-63DD-4344-88F5-AB6E8B326E4B}" type="presOf" srcId="{FE65DF04-47FC-44BD-98A2-B17277ABB5E8}" destId="{C1D6BA74-D7E4-47E0-B477-2AF1F45FB239}" srcOrd="0" destOrd="0" presId="urn:microsoft.com/office/officeart/2018/2/layout/IconCircleList"/>
    <dgm:cxn modelId="{9DF06FA4-F1BE-4A3C-9696-E82D795693DB}" type="presOf" srcId="{6DB88CCB-E69D-4405-A748-EDFA0A89AB7C}" destId="{FCA6C8A9-C007-4E11-BD95-3A400E1345C4}" srcOrd="0" destOrd="0" presId="urn:microsoft.com/office/officeart/2018/2/layout/IconCircleList"/>
    <dgm:cxn modelId="{6E6FC4A7-7B92-414C-9431-75ED35A28D67}" srcId="{0B0CB86F-0D9F-49E4-A055-2F219FB9E48F}" destId="{AAAFD331-C801-4B72-AA66-27F762503AFD}" srcOrd="3" destOrd="0" parTransId="{F5F8E204-6C24-41E6-8230-422357DD28C3}" sibTransId="{5601F07B-427F-43BC-BB62-2907C8F6C5CB}"/>
    <dgm:cxn modelId="{C8A34FC5-DD97-4729-86DD-F0CB185A4110}" type="presOf" srcId="{AAAFD331-C801-4B72-AA66-27F762503AFD}" destId="{A37A415A-F12F-44EF-AB18-31FE482C9D61}" srcOrd="0" destOrd="0" presId="urn:microsoft.com/office/officeart/2018/2/layout/IconCircleList"/>
    <dgm:cxn modelId="{0AC164D5-410E-4AB9-A1ED-DD7CDC38D4B1}" type="presOf" srcId="{267A5543-608B-4AF0-822C-39C8FBE3350C}" destId="{0CF84AAE-E685-4A07-BD4E-67F1F3679B52}" srcOrd="0" destOrd="0" presId="urn:microsoft.com/office/officeart/2018/2/layout/IconCircleList"/>
    <dgm:cxn modelId="{D4C4F9D6-584A-46BE-9375-978198C38A00}" type="presOf" srcId="{DE1A71BB-14AF-43C1-BE02-6BE5B2B04C8A}" destId="{0123EB05-4FEB-4566-8375-CFDA13342A2A}" srcOrd="0" destOrd="0" presId="urn:microsoft.com/office/officeart/2018/2/layout/IconCircleList"/>
    <dgm:cxn modelId="{E74629E3-340A-45C1-A27D-A5710F3B959C}" type="presOf" srcId="{2AD037FB-AD56-4ADD-8783-D7713BBAE192}" destId="{B4E6F601-A41F-4DF8-8700-AF85FF9ECCF4}" srcOrd="0" destOrd="0" presId="urn:microsoft.com/office/officeart/2018/2/layout/IconCircleList"/>
    <dgm:cxn modelId="{0D5773FA-D0B4-4092-8E03-49B3F5E40605}" srcId="{0B0CB86F-0D9F-49E4-A055-2F219FB9E48F}" destId="{6DB88CCB-E69D-4405-A748-EDFA0A89AB7C}" srcOrd="4" destOrd="0" parTransId="{6FBBD8B8-E81F-4BC2-834F-ABD7123B3161}" sibTransId="{FE65DF04-47FC-44BD-98A2-B17277ABB5E8}"/>
    <dgm:cxn modelId="{F041E8FF-1A3F-4BF5-88F5-33F07C44FD31}" srcId="{0B0CB86F-0D9F-49E4-A055-2F219FB9E48F}" destId="{B43C7B83-CBCB-49CF-AC5B-1952D0A6FA53}" srcOrd="6" destOrd="0" parTransId="{67500A7F-88C9-47E0-9AB8-3EAAAA072BD4}" sibTransId="{976606FB-835A-4D10-878E-D72A74F3FF5F}"/>
    <dgm:cxn modelId="{973914E7-FB9C-4166-B1C1-59DCDCB104BD}" type="presParOf" srcId="{64AFB502-F1E9-4C12-ACC4-28ACF703B490}" destId="{BC9F31F3-83B7-4019-A157-3B7C38552AD7}" srcOrd="0" destOrd="0" presId="urn:microsoft.com/office/officeart/2018/2/layout/IconCircleList"/>
    <dgm:cxn modelId="{55B128ED-E9CE-49FD-9BD0-51436C75096C}" type="presParOf" srcId="{BC9F31F3-83B7-4019-A157-3B7C38552AD7}" destId="{DAF5F703-231B-44EC-8473-DDC4E54D0DC6}" srcOrd="0" destOrd="0" presId="urn:microsoft.com/office/officeart/2018/2/layout/IconCircleList"/>
    <dgm:cxn modelId="{CB4219AC-ADCC-40D0-8A9C-4547ABE43384}" type="presParOf" srcId="{DAF5F703-231B-44EC-8473-DDC4E54D0DC6}" destId="{4A30C159-A2A4-401B-AF21-8DA3549B5206}" srcOrd="0" destOrd="0" presId="urn:microsoft.com/office/officeart/2018/2/layout/IconCircleList"/>
    <dgm:cxn modelId="{CF39FC0A-BC97-4D0F-AD57-04CCC1743E63}" type="presParOf" srcId="{DAF5F703-231B-44EC-8473-DDC4E54D0DC6}" destId="{506DA7DE-9A7F-4B6B-A5A2-A63AAFAAF1A3}" srcOrd="1" destOrd="0" presId="urn:microsoft.com/office/officeart/2018/2/layout/IconCircleList"/>
    <dgm:cxn modelId="{A9DE34D0-F205-42B7-8149-19FE0F33E144}" type="presParOf" srcId="{DAF5F703-231B-44EC-8473-DDC4E54D0DC6}" destId="{8317F1B5-20D8-4E77-932B-02C0E3F20CD1}" srcOrd="2" destOrd="0" presId="urn:microsoft.com/office/officeart/2018/2/layout/IconCircleList"/>
    <dgm:cxn modelId="{74484049-32C5-4136-A9EC-2A745015684A}" type="presParOf" srcId="{DAF5F703-231B-44EC-8473-DDC4E54D0DC6}" destId="{B4E6F601-A41F-4DF8-8700-AF85FF9ECCF4}" srcOrd="3" destOrd="0" presId="urn:microsoft.com/office/officeart/2018/2/layout/IconCircleList"/>
    <dgm:cxn modelId="{7FD3BF81-1086-4E0A-AAC9-512104313C1E}" type="presParOf" srcId="{BC9F31F3-83B7-4019-A157-3B7C38552AD7}" destId="{97939B04-6F59-41DC-BC5F-E7A3EFCFDB02}" srcOrd="1" destOrd="0" presId="urn:microsoft.com/office/officeart/2018/2/layout/IconCircleList"/>
    <dgm:cxn modelId="{7B4D42FF-B3A9-4C8E-AEC4-5DBAF9841B98}" type="presParOf" srcId="{BC9F31F3-83B7-4019-A157-3B7C38552AD7}" destId="{CDC7E984-C61A-4F9D-96E6-1E7E4FF4580A}" srcOrd="2" destOrd="0" presId="urn:microsoft.com/office/officeart/2018/2/layout/IconCircleList"/>
    <dgm:cxn modelId="{E5AE14BF-E0E0-4147-B91F-DD7EC2C019A8}" type="presParOf" srcId="{CDC7E984-C61A-4F9D-96E6-1E7E4FF4580A}" destId="{4C2D75DE-DBFA-4C14-99A9-9ECD550768CC}" srcOrd="0" destOrd="0" presId="urn:microsoft.com/office/officeart/2018/2/layout/IconCircleList"/>
    <dgm:cxn modelId="{140D81CC-140B-401C-9561-78C1DEDDB65A}" type="presParOf" srcId="{CDC7E984-C61A-4F9D-96E6-1E7E4FF4580A}" destId="{C38AE13C-984D-4C0F-94EF-7B896E7C6323}" srcOrd="1" destOrd="0" presId="urn:microsoft.com/office/officeart/2018/2/layout/IconCircleList"/>
    <dgm:cxn modelId="{620796DB-6C1E-46C3-A9B5-80A4208FE8CE}" type="presParOf" srcId="{CDC7E984-C61A-4F9D-96E6-1E7E4FF4580A}" destId="{6133CD80-0307-4B61-A3D6-9253EFD78112}" srcOrd="2" destOrd="0" presId="urn:microsoft.com/office/officeart/2018/2/layout/IconCircleList"/>
    <dgm:cxn modelId="{D10C828A-B464-4F71-8847-1C32F8387EB7}" type="presParOf" srcId="{CDC7E984-C61A-4F9D-96E6-1E7E4FF4580A}" destId="{0123EB05-4FEB-4566-8375-CFDA13342A2A}" srcOrd="3" destOrd="0" presId="urn:microsoft.com/office/officeart/2018/2/layout/IconCircleList"/>
    <dgm:cxn modelId="{DD69919D-4210-4F90-B103-7470DD2EE89F}" type="presParOf" srcId="{BC9F31F3-83B7-4019-A157-3B7C38552AD7}" destId="{F548447C-3A5E-4F62-A91A-CDD82D59FBEC}" srcOrd="3" destOrd="0" presId="urn:microsoft.com/office/officeart/2018/2/layout/IconCircleList"/>
    <dgm:cxn modelId="{12243AAE-E708-4046-99FA-ABC2EC714494}" type="presParOf" srcId="{BC9F31F3-83B7-4019-A157-3B7C38552AD7}" destId="{56C52F79-A6A8-46EE-B60A-0628DA4AA897}" srcOrd="4" destOrd="0" presId="urn:microsoft.com/office/officeart/2018/2/layout/IconCircleList"/>
    <dgm:cxn modelId="{5ED017D4-6B7D-4209-88D2-362DCC7B51EF}" type="presParOf" srcId="{56C52F79-A6A8-46EE-B60A-0628DA4AA897}" destId="{3384DF57-E1E9-4C77-8246-94A42785FB6A}" srcOrd="0" destOrd="0" presId="urn:microsoft.com/office/officeart/2018/2/layout/IconCircleList"/>
    <dgm:cxn modelId="{E6664B51-25B2-45EF-AFB8-950355E16703}" type="presParOf" srcId="{56C52F79-A6A8-46EE-B60A-0628DA4AA897}" destId="{D5FAC1F2-382C-4C9B-AC7D-3971BBA35BDD}" srcOrd="1" destOrd="0" presId="urn:microsoft.com/office/officeart/2018/2/layout/IconCircleList"/>
    <dgm:cxn modelId="{0F138897-2E6F-4717-9051-824134738E83}" type="presParOf" srcId="{56C52F79-A6A8-46EE-B60A-0628DA4AA897}" destId="{4C9E0DFD-2DEC-4BC7-85B6-CA1429E02349}" srcOrd="2" destOrd="0" presId="urn:microsoft.com/office/officeart/2018/2/layout/IconCircleList"/>
    <dgm:cxn modelId="{E994604A-242D-43B8-B18E-04511965D383}" type="presParOf" srcId="{56C52F79-A6A8-46EE-B60A-0628DA4AA897}" destId="{ABF0EFA7-A2C7-4BF8-92E1-AC991A5FCA93}" srcOrd="3" destOrd="0" presId="urn:microsoft.com/office/officeart/2018/2/layout/IconCircleList"/>
    <dgm:cxn modelId="{8339E3D5-A462-4F95-8FB9-8ADDA596730C}" type="presParOf" srcId="{BC9F31F3-83B7-4019-A157-3B7C38552AD7}" destId="{326B0A33-E783-44E6-B91E-C730EA0D5173}" srcOrd="5" destOrd="0" presId="urn:microsoft.com/office/officeart/2018/2/layout/IconCircleList"/>
    <dgm:cxn modelId="{F0FC095B-1A76-4CB6-AB2A-35B90487FE9C}" type="presParOf" srcId="{BC9F31F3-83B7-4019-A157-3B7C38552AD7}" destId="{15AFD51D-3B89-41C4-8DDF-B54C5BC1DDA0}" srcOrd="6" destOrd="0" presId="urn:microsoft.com/office/officeart/2018/2/layout/IconCircleList"/>
    <dgm:cxn modelId="{02C8F11D-C292-4888-819F-23D0B3C00E35}" type="presParOf" srcId="{15AFD51D-3B89-41C4-8DDF-B54C5BC1DDA0}" destId="{6EDD600F-9C7C-4084-BDA3-265F7AF1ED6B}" srcOrd="0" destOrd="0" presId="urn:microsoft.com/office/officeart/2018/2/layout/IconCircleList"/>
    <dgm:cxn modelId="{E6B95E2B-8C73-4F2B-AABA-7FBCBFF65B9B}" type="presParOf" srcId="{15AFD51D-3B89-41C4-8DDF-B54C5BC1DDA0}" destId="{10FF4E41-1326-4956-9D8C-4461715B669F}" srcOrd="1" destOrd="0" presId="urn:microsoft.com/office/officeart/2018/2/layout/IconCircleList"/>
    <dgm:cxn modelId="{BFA0DEDF-7CE2-4B52-997D-611ABEA866E6}" type="presParOf" srcId="{15AFD51D-3B89-41C4-8DDF-B54C5BC1DDA0}" destId="{B5C910C2-BC30-4B91-B984-F0E899719FF7}" srcOrd="2" destOrd="0" presId="urn:microsoft.com/office/officeart/2018/2/layout/IconCircleList"/>
    <dgm:cxn modelId="{18372A80-6D90-4C28-8F6C-6E9D12294DB2}" type="presParOf" srcId="{15AFD51D-3B89-41C4-8DDF-B54C5BC1DDA0}" destId="{A37A415A-F12F-44EF-AB18-31FE482C9D61}" srcOrd="3" destOrd="0" presId="urn:microsoft.com/office/officeart/2018/2/layout/IconCircleList"/>
    <dgm:cxn modelId="{962EB322-B86B-4468-B7DA-B9FF20E69947}" type="presParOf" srcId="{BC9F31F3-83B7-4019-A157-3B7C38552AD7}" destId="{DF1E03A6-0B01-46EE-B68E-D57D32D74FFC}" srcOrd="7" destOrd="0" presId="urn:microsoft.com/office/officeart/2018/2/layout/IconCircleList"/>
    <dgm:cxn modelId="{24F5D1C1-1611-498A-8487-973FB61CA80C}" type="presParOf" srcId="{BC9F31F3-83B7-4019-A157-3B7C38552AD7}" destId="{704E3A43-91D3-46AB-A0DE-8C566758D786}" srcOrd="8" destOrd="0" presId="urn:microsoft.com/office/officeart/2018/2/layout/IconCircleList"/>
    <dgm:cxn modelId="{80E99AD7-5E6E-4316-B74A-76E2CB62E33C}" type="presParOf" srcId="{704E3A43-91D3-46AB-A0DE-8C566758D786}" destId="{D6875CE5-F080-4BD1-878F-5D6340C99FAA}" srcOrd="0" destOrd="0" presId="urn:microsoft.com/office/officeart/2018/2/layout/IconCircleList"/>
    <dgm:cxn modelId="{D8136B27-A6C8-4C87-B3FF-D7A09463EE81}" type="presParOf" srcId="{704E3A43-91D3-46AB-A0DE-8C566758D786}" destId="{8B28550E-5173-45EC-8366-9FF4B493DAD0}" srcOrd="1" destOrd="0" presId="urn:microsoft.com/office/officeart/2018/2/layout/IconCircleList"/>
    <dgm:cxn modelId="{9A3AAC79-07C3-4CC9-A3C3-4AE045106F04}" type="presParOf" srcId="{704E3A43-91D3-46AB-A0DE-8C566758D786}" destId="{24A5B1B1-028F-4870-9BC7-048FBF31E939}" srcOrd="2" destOrd="0" presId="urn:microsoft.com/office/officeart/2018/2/layout/IconCircleList"/>
    <dgm:cxn modelId="{D09F68BD-C90D-4732-BEB8-543DEFB977B1}" type="presParOf" srcId="{704E3A43-91D3-46AB-A0DE-8C566758D786}" destId="{FCA6C8A9-C007-4E11-BD95-3A400E1345C4}" srcOrd="3" destOrd="0" presId="urn:microsoft.com/office/officeart/2018/2/layout/IconCircleList"/>
    <dgm:cxn modelId="{644193B0-8E7F-485E-89C0-581C19EA273D}" type="presParOf" srcId="{BC9F31F3-83B7-4019-A157-3B7C38552AD7}" destId="{C1D6BA74-D7E4-47E0-B477-2AF1F45FB239}" srcOrd="9" destOrd="0" presId="urn:microsoft.com/office/officeart/2018/2/layout/IconCircleList"/>
    <dgm:cxn modelId="{2EAB9EDF-5D4D-4BF2-8096-D37915918DF8}" type="presParOf" srcId="{BC9F31F3-83B7-4019-A157-3B7C38552AD7}" destId="{F08C04BD-AE18-4AFA-90E1-940FA0FF4676}" srcOrd="10" destOrd="0" presId="urn:microsoft.com/office/officeart/2018/2/layout/IconCircleList"/>
    <dgm:cxn modelId="{3232316E-24ED-4A33-B2DE-93266C4E8243}" type="presParOf" srcId="{F08C04BD-AE18-4AFA-90E1-940FA0FF4676}" destId="{BEA562FA-9BB2-4DA1-B4B6-CF41732330BB}" srcOrd="0" destOrd="0" presId="urn:microsoft.com/office/officeart/2018/2/layout/IconCircleList"/>
    <dgm:cxn modelId="{C242CEA9-EF2C-4EE5-AB13-2FB9CF4621B0}" type="presParOf" srcId="{F08C04BD-AE18-4AFA-90E1-940FA0FF4676}" destId="{F406F869-186A-4125-AA1F-2A3962611EF4}" srcOrd="1" destOrd="0" presId="urn:microsoft.com/office/officeart/2018/2/layout/IconCircleList"/>
    <dgm:cxn modelId="{7E944464-9AD2-44FC-AACA-82939F9ABC9E}" type="presParOf" srcId="{F08C04BD-AE18-4AFA-90E1-940FA0FF4676}" destId="{5456EE7C-4545-4265-95C0-B43857C3D6DB}" srcOrd="2" destOrd="0" presId="urn:microsoft.com/office/officeart/2018/2/layout/IconCircleList"/>
    <dgm:cxn modelId="{312B0E13-E8A2-4A25-92DE-ED1DF52B1015}" type="presParOf" srcId="{F08C04BD-AE18-4AFA-90E1-940FA0FF4676}" destId="{0CF84AAE-E685-4A07-BD4E-67F1F3679B52}" srcOrd="3" destOrd="0" presId="urn:microsoft.com/office/officeart/2018/2/layout/IconCircleList"/>
    <dgm:cxn modelId="{9DF53B1D-24CF-48E1-8AE4-8C8E3285D9BE}" type="presParOf" srcId="{BC9F31F3-83B7-4019-A157-3B7C38552AD7}" destId="{16E3FF87-B870-4CDE-90ED-5950D35E7000}" srcOrd="11" destOrd="0" presId="urn:microsoft.com/office/officeart/2018/2/layout/IconCircleList"/>
    <dgm:cxn modelId="{DCB65757-1C33-49E7-8348-BAAE01CFF1F5}" type="presParOf" srcId="{BC9F31F3-83B7-4019-A157-3B7C38552AD7}" destId="{0E86A7BD-B9CA-4294-BB05-88997D673C07}" srcOrd="12" destOrd="0" presId="urn:microsoft.com/office/officeart/2018/2/layout/IconCircleList"/>
    <dgm:cxn modelId="{9EBF5D0B-9DED-453F-99C3-290669B7356D}" type="presParOf" srcId="{0E86A7BD-B9CA-4294-BB05-88997D673C07}" destId="{0E38A3DD-9C95-4022-A60F-57CF7FF9230A}" srcOrd="0" destOrd="0" presId="urn:microsoft.com/office/officeart/2018/2/layout/IconCircleList"/>
    <dgm:cxn modelId="{19836A06-DFF5-4095-8765-217DB87B4628}" type="presParOf" srcId="{0E86A7BD-B9CA-4294-BB05-88997D673C07}" destId="{C0A4C868-A382-4EEB-9A81-1FE8990FB63E}" srcOrd="1" destOrd="0" presId="urn:microsoft.com/office/officeart/2018/2/layout/IconCircleList"/>
    <dgm:cxn modelId="{00E34563-5083-456A-BAD2-2FF60295DD65}" type="presParOf" srcId="{0E86A7BD-B9CA-4294-BB05-88997D673C07}" destId="{FE389A4E-8837-489B-A0C6-D1EA68E3291B}" srcOrd="2" destOrd="0" presId="urn:microsoft.com/office/officeart/2018/2/layout/IconCircleList"/>
    <dgm:cxn modelId="{50E630EA-5C98-477B-A58E-D26B0457CC33}" type="presParOf" srcId="{0E86A7BD-B9CA-4294-BB05-88997D673C07}" destId="{CD41A7B2-B3F9-47FC-8A74-B2083A9AFE81}" srcOrd="3" destOrd="0" presId="urn:microsoft.com/office/officeart/2018/2/layout/IconCircle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B6E0506-0B07-4A5C-B880-9EA4A443A7C4}" type="doc">
      <dgm:prSet loTypeId="urn:microsoft.com/office/officeart/2005/8/layout/hList1" loCatId="list" qsTypeId="urn:microsoft.com/office/officeart/2005/8/quickstyle/simple1" qsCatId="simple" csTypeId="urn:microsoft.com/office/officeart/2005/8/colors/accent3_2" csCatId="accent3"/>
      <dgm:spPr/>
      <dgm:t>
        <a:bodyPr/>
        <a:lstStyle/>
        <a:p>
          <a:endParaRPr lang="en-US"/>
        </a:p>
      </dgm:t>
    </dgm:pt>
    <dgm:pt modelId="{FDCCF267-9D56-4C7E-9AE6-D453B44E8C59}">
      <dgm:prSet/>
      <dgm:spPr/>
      <dgm:t>
        <a:bodyPr/>
        <a:lstStyle/>
        <a:p>
          <a:r>
            <a:rPr lang="en-GB" b="0" i="0"/>
            <a:t>What makes our platform a success will continue to be our focus:</a:t>
          </a:r>
          <a:endParaRPr lang="en-US"/>
        </a:p>
      </dgm:t>
    </dgm:pt>
    <dgm:pt modelId="{FE8DD4AE-20E3-446F-A113-013169B7BA30}" type="parTrans" cxnId="{C796F505-C34E-4D3D-9859-57FBF2A99C2B}">
      <dgm:prSet/>
      <dgm:spPr/>
      <dgm:t>
        <a:bodyPr/>
        <a:lstStyle/>
        <a:p>
          <a:endParaRPr lang="en-US"/>
        </a:p>
      </dgm:t>
    </dgm:pt>
    <dgm:pt modelId="{DD8A4719-F6C4-4A2A-B1AC-BAA1DC48E70B}" type="sibTrans" cxnId="{C796F505-C34E-4D3D-9859-57FBF2A99C2B}">
      <dgm:prSet/>
      <dgm:spPr/>
      <dgm:t>
        <a:bodyPr/>
        <a:lstStyle/>
        <a:p>
          <a:endParaRPr lang="en-US"/>
        </a:p>
      </dgm:t>
    </dgm:pt>
    <dgm:pt modelId="{1C22D861-D785-437C-987B-39C6B59968B3}">
      <dgm:prSet/>
      <dgm:spPr/>
      <dgm:t>
        <a:bodyPr/>
        <a:lstStyle/>
        <a:p>
          <a:r>
            <a:rPr lang="en-GB" b="0" i="0"/>
            <a:t>We will continue to work with any model vendors that have a model in Oasis format</a:t>
          </a:r>
          <a:endParaRPr lang="en-US"/>
        </a:p>
      </dgm:t>
    </dgm:pt>
    <dgm:pt modelId="{E89DE33A-1874-488D-99B0-49544A0EF479}" type="parTrans" cxnId="{01EA9F4F-9F50-4BAF-ABAE-2DE2222769CD}">
      <dgm:prSet/>
      <dgm:spPr/>
      <dgm:t>
        <a:bodyPr/>
        <a:lstStyle/>
        <a:p>
          <a:endParaRPr lang="en-US"/>
        </a:p>
      </dgm:t>
    </dgm:pt>
    <dgm:pt modelId="{1790B884-1EAB-452D-A3B6-ACF8753059FB}" type="sibTrans" cxnId="{01EA9F4F-9F50-4BAF-ABAE-2DE2222769CD}">
      <dgm:prSet/>
      <dgm:spPr/>
      <dgm:t>
        <a:bodyPr/>
        <a:lstStyle/>
        <a:p>
          <a:endParaRPr lang="en-US"/>
        </a:p>
      </dgm:t>
    </dgm:pt>
    <dgm:pt modelId="{E21BD2F8-8E8F-4DE8-9219-DF964439D13C}">
      <dgm:prSet/>
      <dgm:spPr/>
      <dgm:t>
        <a:bodyPr/>
        <a:lstStyle/>
        <a:p>
          <a:r>
            <a:rPr lang="en-GB" b="0" i="0"/>
            <a:t>The Model Exchange team will continue to promote models on the platform</a:t>
          </a:r>
          <a:endParaRPr lang="en-US"/>
        </a:p>
      </dgm:t>
    </dgm:pt>
    <dgm:pt modelId="{27AC2A85-B2DC-4D1B-8CD7-933A1D0D6714}" type="parTrans" cxnId="{2241EEFE-1E9B-4A43-B4BC-1F2CB7D617FD}">
      <dgm:prSet/>
      <dgm:spPr/>
      <dgm:t>
        <a:bodyPr/>
        <a:lstStyle/>
        <a:p>
          <a:endParaRPr lang="en-US"/>
        </a:p>
      </dgm:t>
    </dgm:pt>
    <dgm:pt modelId="{54DFED14-B557-41D1-8ECA-1FF560BE5628}" type="sibTrans" cxnId="{2241EEFE-1E9B-4A43-B4BC-1F2CB7D617FD}">
      <dgm:prSet/>
      <dgm:spPr/>
      <dgm:t>
        <a:bodyPr/>
        <a:lstStyle/>
        <a:p>
          <a:endParaRPr lang="en-US"/>
        </a:p>
      </dgm:t>
    </dgm:pt>
    <dgm:pt modelId="{7027795C-4A7B-4A5B-89BA-A69B0ADD522E}">
      <dgm:prSet/>
      <dgm:spPr/>
      <dgm:t>
        <a:bodyPr/>
        <a:lstStyle/>
        <a:p>
          <a:r>
            <a:rPr lang="en-GB" b="0" i="0"/>
            <a:t>Wider Verisk teams will have the information they need to help promote the platform with their clients</a:t>
          </a:r>
          <a:endParaRPr lang="en-US"/>
        </a:p>
      </dgm:t>
    </dgm:pt>
    <dgm:pt modelId="{F8931B36-ABEE-4281-8B6E-0A9B815C257A}" type="parTrans" cxnId="{609D26CF-0A51-4B4B-96C8-77CF723D384B}">
      <dgm:prSet/>
      <dgm:spPr/>
      <dgm:t>
        <a:bodyPr/>
        <a:lstStyle/>
        <a:p>
          <a:endParaRPr lang="en-US"/>
        </a:p>
      </dgm:t>
    </dgm:pt>
    <dgm:pt modelId="{153DB44F-40D1-4770-97F9-A653B76F0204}" type="sibTrans" cxnId="{609D26CF-0A51-4B4B-96C8-77CF723D384B}">
      <dgm:prSet/>
      <dgm:spPr/>
      <dgm:t>
        <a:bodyPr/>
        <a:lstStyle/>
        <a:p>
          <a:endParaRPr lang="en-US"/>
        </a:p>
      </dgm:t>
    </dgm:pt>
    <dgm:pt modelId="{74F7BA09-E306-40A0-92AD-1B5DA7A8A0D3}">
      <dgm:prSet/>
      <dgm:spPr/>
      <dgm:t>
        <a:bodyPr/>
        <a:lstStyle/>
        <a:p>
          <a:r>
            <a:rPr lang="en-GB" b="0" i="0"/>
            <a:t>Although we are part of Verisk, there will be controls in place regarding model IP:</a:t>
          </a:r>
          <a:endParaRPr lang="en-US"/>
        </a:p>
      </dgm:t>
    </dgm:pt>
    <dgm:pt modelId="{270077DD-054D-4CD8-8B20-39FF0428433D}" type="parTrans" cxnId="{12BB8685-EE15-40C0-8A7E-8543588444E6}">
      <dgm:prSet/>
      <dgm:spPr/>
      <dgm:t>
        <a:bodyPr/>
        <a:lstStyle/>
        <a:p>
          <a:endParaRPr lang="en-US"/>
        </a:p>
      </dgm:t>
    </dgm:pt>
    <dgm:pt modelId="{E9B737D0-03D0-4668-A135-DC5B118142A2}" type="sibTrans" cxnId="{12BB8685-EE15-40C0-8A7E-8543588444E6}">
      <dgm:prSet/>
      <dgm:spPr/>
      <dgm:t>
        <a:bodyPr/>
        <a:lstStyle/>
        <a:p>
          <a:endParaRPr lang="en-US"/>
        </a:p>
      </dgm:t>
    </dgm:pt>
    <dgm:pt modelId="{359D9FE1-2A00-4D12-894A-114DFB2AFE1D}">
      <dgm:prSet/>
      <dgm:spPr/>
      <dgm:t>
        <a:bodyPr/>
        <a:lstStyle/>
        <a:p>
          <a:r>
            <a:rPr lang="en-GB" b="0" i="0"/>
            <a:t>Model data is held in separate systems with strict access controls</a:t>
          </a:r>
          <a:endParaRPr lang="en-US"/>
        </a:p>
      </dgm:t>
    </dgm:pt>
    <dgm:pt modelId="{2631665F-FB3A-49CC-8E5A-4D4A384A382B}" type="parTrans" cxnId="{B9D7BC7F-FB64-4326-8587-2834AC816384}">
      <dgm:prSet/>
      <dgm:spPr/>
      <dgm:t>
        <a:bodyPr/>
        <a:lstStyle/>
        <a:p>
          <a:endParaRPr lang="en-US"/>
        </a:p>
      </dgm:t>
    </dgm:pt>
    <dgm:pt modelId="{5A73770B-9D65-4E7D-B536-90D2FB3DA126}" type="sibTrans" cxnId="{B9D7BC7F-FB64-4326-8587-2834AC816384}">
      <dgm:prSet/>
      <dgm:spPr/>
      <dgm:t>
        <a:bodyPr/>
        <a:lstStyle/>
        <a:p>
          <a:endParaRPr lang="en-US"/>
        </a:p>
      </dgm:t>
    </dgm:pt>
    <dgm:pt modelId="{069D1288-5184-4905-B035-814D93BB49A3}">
      <dgm:prSet/>
      <dgm:spPr/>
      <dgm:t>
        <a:bodyPr/>
        <a:lstStyle/>
        <a:p>
          <a:r>
            <a:rPr lang="en-GB" b="0" i="0"/>
            <a:t>Processes are in place to protect the commercial IP of model vendors</a:t>
          </a:r>
          <a:endParaRPr lang="en-US"/>
        </a:p>
      </dgm:t>
    </dgm:pt>
    <dgm:pt modelId="{6BAE871E-E4B0-4309-9A6B-BE69D35D4298}" type="parTrans" cxnId="{2DEBBF8D-A89A-4A6A-8EA1-146FCCA00063}">
      <dgm:prSet/>
      <dgm:spPr/>
      <dgm:t>
        <a:bodyPr/>
        <a:lstStyle/>
        <a:p>
          <a:endParaRPr lang="en-US"/>
        </a:p>
      </dgm:t>
    </dgm:pt>
    <dgm:pt modelId="{E8236BBC-2B2F-4BD5-9E04-B43DDBFBD628}" type="sibTrans" cxnId="{2DEBBF8D-A89A-4A6A-8EA1-146FCCA00063}">
      <dgm:prSet/>
      <dgm:spPr/>
      <dgm:t>
        <a:bodyPr/>
        <a:lstStyle/>
        <a:p>
          <a:endParaRPr lang="en-US"/>
        </a:p>
      </dgm:t>
    </dgm:pt>
    <dgm:pt modelId="{C1B2A6BC-0835-4353-A7E6-3A57387A6A51}" type="pres">
      <dgm:prSet presAssocID="{DB6E0506-0B07-4A5C-B880-9EA4A443A7C4}" presName="Name0" presStyleCnt="0">
        <dgm:presLayoutVars>
          <dgm:dir/>
          <dgm:animLvl val="lvl"/>
          <dgm:resizeHandles val="exact"/>
        </dgm:presLayoutVars>
      </dgm:prSet>
      <dgm:spPr/>
    </dgm:pt>
    <dgm:pt modelId="{93115287-DED5-4C42-AF77-EA36B1BF5FE6}" type="pres">
      <dgm:prSet presAssocID="{FDCCF267-9D56-4C7E-9AE6-D453B44E8C59}" presName="composite" presStyleCnt="0"/>
      <dgm:spPr/>
    </dgm:pt>
    <dgm:pt modelId="{6F744D61-3878-4E2B-A356-BBB56012A9AB}" type="pres">
      <dgm:prSet presAssocID="{FDCCF267-9D56-4C7E-9AE6-D453B44E8C59}" presName="parTx" presStyleLbl="alignNode1" presStyleIdx="0" presStyleCnt="2">
        <dgm:presLayoutVars>
          <dgm:chMax val="0"/>
          <dgm:chPref val="0"/>
          <dgm:bulletEnabled val="1"/>
        </dgm:presLayoutVars>
      </dgm:prSet>
      <dgm:spPr/>
    </dgm:pt>
    <dgm:pt modelId="{5E7B9EEC-C210-414D-A46A-AA661A7C5709}" type="pres">
      <dgm:prSet presAssocID="{FDCCF267-9D56-4C7E-9AE6-D453B44E8C59}" presName="desTx" presStyleLbl="alignAccFollowNode1" presStyleIdx="0" presStyleCnt="2">
        <dgm:presLayoutVars>
          <dgm:bulletEnabled val="1"/>
        </dgm:presLayoutVars>
      </dgm:prSet>
      <dgm:spPr/>
    </dgm:pt>
    <dgm:pt modelId="{E9F52E8A-57F5-4CEC-9C56-114F9BC4774B}" type="pres">
      <dgm:prSet presAssocID="{DD8A4719-F6C4-4A2A-B1AC-BAA1DC48E70B}" presName="space" presStyleCnt="0"/>
      <dgm:spPr/>
    </dgm:pt>
    <dgm:pt modelId="{4182D26A-84C3-427D-9BB6-F5B6E2EE6117}" type="pres">
      <dgm:prSet presAssocID="{74F7BA09-E306-40A0-92AD-1B5DA7A8A0D3}" presName="composite" presStyleCnt="0"/>
      <dgm:spPr/>
    </dgm:pt>
    <dgm:pt modelId="{D6F04EC9-B96B-4F86-9E2C-6A68ECCAC516}" type="pres">
      <dgm:prSet presAssocID="{74F7BA09-E306-40A0-92AD-1B5DA7A8A0D3}" presName="parTx" presStyleLbl="alignNode1" presStyleIdx="1" presStyleCnt="2">
        <dgm:presLayoutVars>
          <dgm:chMax val="0"/>
          <dgm:chPref val="0"/>
          <dgm:bulletEnabled val="1"/>
        </dgm:presLayoutVars>
      </dgm:prSet>
      <dgm:spPr/>
    </dgm:pt>
    <dgm:pt modelId="{47117B1D-D9F9-4019-B54F-25B944369D1D}" type="pres">
      <dgm:prSet presAssocID="{74F7BA09-E306-40A0-92AD-1B5DA7A8A0D3}" presName="desTx" presStyleLbl="alignAccFollowNode1" presStyleIdx="1" presStyleCnt="2">
        <dgm:presLayoutVars>
          <dgm:bulletEnabled val="1"/>
        </dgm:presLayoutVars>
      </dgm:prSet>
      <dgm:spPr/>
    </dgm:pt>
  </dgm:ptLst>
  <dgm:cxnLst>
    <dgm:cxn modelId="{C796F505-C34E-4D3D-9859-57FBF2A99C2B}" srcId="{DB6E0506-0B07-4A5C-B880-9EA4A443A7C4}" destId="{FDCCF267-9D56-4C7E-9AE6-D453B44E8C59}" srcOrd="0" destOrd="0" parTransId="{FE8DD4AE-20E3-446F-A113-013169B7BA30}" sibTransId="{DD8A4719-F6C4-4A2A-B1AC-BAA1DC48E70B}"/>
    <dgm:cxn modelId="{1BD72560-2E2B-4B42-A896-2B052786ABEC}" type="presOf" srcId="{E21BD2F8-8E8F-4DE8-9219-DF964439D13C}" destId="{5E7B9EEC-C210-414D-A46A-AA661A7C5709}" srcOrd="0" destOrd="1" presId="urn:microsoft.com/office/officeart/2005/8/layout/hList1"/>
    <dgm:cxn modelId="{31BEC74A-A9FF-45FE-A48F-CB9473CFA73D}" type="presOf" srcId="{1C22D861-D785-437C-987B-39C6B59968B3}" destId="{5E7B9EEC-C210-414D-A46A-AA661A7C5709}" srcOrd="0" destOrd="0" presId="urn:microsoft.com/office/officeart/2005/8/layout/hList1"/>
    <dgm:cxn modelId="{01EA9F4F-9F50-4BAF-ABAE-2DE2222769CD}" srcId="{FDCCF267-9D56-4C7E-9AE6-D453B44E8C59}" destId="{1C22D861-D785-437C-987B-39C6B59968B3}" srcOrd="0" destOrd="0" parTransId="{E89DE33A-1874-488D-99B0-49544A0EF479}" sibTransId="{1790B884-1EAB-452D-A3B6-ACF8753059FB}"/>
    <dgm:cxn modelId="{47559776-CC30-4CAB-9319-02A88E07B4D9}" type="presOf" srcId="{74F7BA09-E306-40A0-92AD-1B5DA7A8A0D3}" destId="{D6F04EC9-B96B-4F86-9E2C-6A68ECCAC516}" srcOrd="0" destOrd="0" presId="urn:microsoft.com/office/officeart/2005/8/layout/hList1"/>
    <dgm:cxn modelId="{B9D7BC7F-FB64-4326-8587-2834AC816384}" srcId="{74F7BA09-E306-40A0-92AD-1B5DA7A8A0D3}" destId="{359D9FE1-2A00-4D12-894A-114DFB2AFE1D}" srcOrd="0" destOrd="0" parTransId="{2631665F-FB3A-49CC-8E5A-4D4A384A382B}" sibTransId="{5A73770B-9D65-4E7D-B536-90D2FB3DA126}"/>
    <dgm:cxn modelId="{12BB8685-EE15-40C0-8A7E-8543588444E6}" srcId="{DB6E0506-0B07-4A5C-B880-9EA4A443A7C4}" destId="{74F7BA09-E306-40A0-92AD-1B5DA7A8A0D3}" srcOrd="1" destOrd="0" parTransId="{270077DD-054D-4CD8-8B20-39FF0428433D}" sibTransId="{E9B737D0-03D0-4668-A135-DC5B118142A2}"/>
    <dgm:cxn modelId="{2DEBBF8D-A89A-4A6A-8EA1-146FCCA00063}" srcId="{74F7BA09-E306-40A0-92AD-1B5DA7A8A0D3}" destId="{069D1288-5184-4905-B035-814D93BB49A3}" srcOrd="1" destOrd="0" parTransId="{6BAE871E-E4B0-4309-9A6B-BE69D35D4298}" sibTransId="{E8236BBC-2B2F-4BD5-9E04-B43DDBFBD628}"/>
    <dgm:cxn modelId="{6549F290-0038-4569-8F23-68135AA02434}" type="presOf" srcId="{7027795C-4A7B-4A5B-89BA-A69B0ADD522E}" destId="{5E7B9EEC-C210-414D-A46A-AA661A7C5709}" srcOrd="0" destOrd="2" presId="urn:microsoft.com/office/officeart/2005/8/layout/hList1"/>
    <dgm:cxn modelId="{E13333A8-D75D-4F50-B805-65AA83E9E81C}" type="presOf" srcId="{069D1288-5184-4905-B035-814D93BB49A3}" destId="{47117B1D-D9F9-4019-B54F-25B944369D1D}" srcOrd="0" destOrd="1" presId="urn:microsoft.com/office/officeart/2005/8/layout/hList1"/>
    <dgm:cxn modelId="{F736D8AF-9DA6-4074-83A4-9B37A5B6577F}" type="presOf" srcId="{359D9FE1-2A00-4D12-894A-114DFB2AFE1D}" destId="{47117B1D-D9F9-4019-B54F-25B944369D1D}" srcOrd="0" destOrd="0" presId="urn:microsoft.com/office/officeart/2005/8/layout/hList1"/>
    <dgm:cxn modelId="{5A8F72B0-EBEC-4061-852B-421E7D10845F}" type="presOf" srcId="{FDCCF267-9D56-4C7E-9AE6-D453B44E8C59}" destId="{6F744D61-3878-4E2B-A356-BBB56012A9AB}" srcOrd="0" destOrd="0" presId="urn:microsoft.com/office/officeart/2005/8/layout/hList1"/>
    <dgm:cxn modelId="{609D26CF-0A51-4B4B-96C8-77CF723D384B}" srcId="{FDCCF267-9D56-4C7E-9AE6-D453B44E8C59}" destId="{7027795C-4A7B-4A5B-89BA-A69B0ADD522E}" srcOrd="2" destOrd="0" parTransId="{F8931B36-ABEE-4281-8B6E-0A9B815C257A}" sibTransId="{153DB44F-40D1-4770-97F9-A653B76F0204}"/>
    <dgm:cxn modelId="{F91EE0E2-5138-44A8-8487-84F7B7DA77AD}" type="presOf" srcId="{DB6E0506-0B07-4A5C-B880-9EA4A443A7C4}" destId="{C1B2A6BC-0835-4353-A7E6-3A57387A6A51}" srcOrd="0" destOrd="0" presId="urn:microsoft.com/office/officeart/2005/8/layout/hList1"/>
    <dgm:cxn modelId="{2241EEFE-1E9B-4A43-B4BC-1F2CB7D617FD}" srcId="{FDCCF267-9D56-4C7E-9AE6-D453B44E8C59}" destId="{E21BD2F8-8E8F-4DE8-9219-DF964439D13C}" srcOrd="1" destOrd="0" parTransId="{27AC2A85-B2DC-4D1B-8CD7-933A1D0D6714}" sibTransId="{54DFED14-B557-41D1-8ECA-1FF560BE5628}"/>
    <dgm:cxn modelId="{4201B325-87A2-4ACD-A0E4-CD9950E6329D}" type="presParOf" srcId="{C1B2A6BC-0835-4353-A7E6-3A57387A6A51}" destId="{93115287-DED5-4C42-AF77-EA36B1BF5FE6}" srcOrd="0" destOrd="0" presId="urn:microsoft.com/office/officeart/2005/8/layout/hList1"/>
    <dgm:cxn modelId="{1B7FE62F-AD5A-4BB0-8D6D-2A22B7F6997B}" type="presParOf" srcId="{93115287-DED5-4C42-AF77-EA36B1BF5FE6}" destId="{6F744D61-3878-4E2B-A356-BBB56012A9AB}" srcOrd="0" destOrd="0" presId="urn:microsoft.com/office/officeart/2005/8/layout/hList1"/>
    <dgm:cxn modelId="{BB2BA43B-C634-444E-9B6E-E801E6F36B8F}" type="presParOf" srcId="{93115287-DED5-4C42-AF77-EA36B1BF5FE6}" destId="{5E7B9EEC-C210-414D-A46A-AA661A7C5709}" srcOrd="1" destOrd="0" presId="urn:microsoft.com/office/officeart/2005/8/layout/hList1"/>
    <dgm:cxn modelId="{E71D4ADD-AD31-4029-87E3-7C15F23B2F3C}" type="presParOf" srcId="{C1B2A6BC-0835-4353-A7E6-3A57387A6A51}" destId="{E9F52E8A-57F5-4CEC-9C56-114F9BC4774B}" srcOrd="1" destOrd="0" presId="urn:microsoft.com/office/officeart/2005/8/layout/hList1"/>
    <dgm:cxn modelId="{185DE2B3-5266-4487-A450-6D7B9C5FB471}" type="presParOf" srcId="{C1B2A6BC-0835-4353-A7E6-3A57387A6A51}" destId="{4182D26A-84C3-427D-9BB6-F5B6E2EE6117}" srcOrd="2" destOrd="0" presId="urn:microsoft.com/office/officeart/2005/8/layout/hList1"/>
    <dgm:cxn modelId="{A1DAD528-BAF1-4A7D-BE51-3D4E160C9152}" type="presParOf" srcId="{4182D26A-84C3-427D-9BB6-F5B6E2EE6117}" destId="{D6F04EC9-B96B-4F86-9E2C-6A68ECCAC516}" srcOrd="0" destOrd="0" presId="urn:microsoft.com/office/officeart/2005/8/layout/hList1"/>
    <dgm:cxn modelId="{C6731E4C-FF47-4D57-828C-AD814DB604F5}" type="presParOf" srcId="{4182D26A-84C3-427D-9BB6-F5B6E2EE6117}" destId="{47117B1D-D9F9-4019-B54F-25B944369D1D}"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DA5AED0-B3C2-4317-BF3C-D651DB3D8E00}" type="doc">
      <dgm:prSet loTypeId="urn:microsoft.com/office/officeart/2018/2/layout/IconVerticalSolidList" loCatId="icon" qsTypeId="urn:microsoft.com/office/officeart/2005/8/quickstyle/simple1" qsCatId="simple" csTypeId="urn:microsoft.com/office/officeart/2005/8/colors/accent3_2" csCatId="accent3" phldr="1"/>
      <dgm:spPr/>
      <dgm:t>
        <a:bodyPr/>
        <a:lstStyle/>
        <a:p>
          <a:endParaRPr lang="en-US"/>
        </a:p>
      </dgm:t>
    </dgm:pt>
    <dgm:pt modelId="{00290A38-C204-4F79-B91E-1BE805121916}">
      <dgm:prSet/>
      <dgm:spPr/>
      <dgm:t>
        <a:bodyPr/>
        <a:lstStyle/>
        <a:p>
          <a:pPr>
            <a:lnSpc>
              <a:spcPct val="100000"/>
            </a:lnSpc>
          </a:pPr>
          <a:r>
            <a:rPr lang="en-GB"/>
            <a:t>Model Exchange will continue to be developed as a standalone platform</a:t>
          </a:r>
          <a:endParaRPr lang="en-US"/>
        </a:p>
      </dgm:t>
    </dgm:pt>
    <dgm:pt modelId="{ACA81E17-D8D6-437E-ACCD-B857B460997C}" type="parTrans" cxnId="{93A33AF5-A196-4F8F-B64B-426CD6BB3806}">
      <dgm:prSet/>
      <dgm:spPr/>
      <dgm:t>
        <a:bodyPr/>
        <a:lstStyle/>
        <a:p>
          <a:endParaRPr lang="en-US"/>
        </a:p>
      </dgm:t>
    </dgm:pt>
    <dgm:pt modelId="{5E99B112-F351-4BA2-8F5F-1401E3936B5F}" type="sibTrans" cxnId="{93A33AF5-A196-4F8F-B64B-426CD6BB3806}">
      <dgm:prSet/>
      <dgm:spPr/>
      <dgm:t>
        <a:bodyPr/>
        <a:lstStyle/>
        <a:p>
          <a:endParaRPr lang="en-US"/>
        </a:p>
      </dgm:t>
    </dgm:pt>
    <dgm:pt modelId="{A38CFF43-476B-4E26-823A-0DCC897284CE}">
      <dgm:prSet/>
      <dgm:spPr/>
      <dgm:t>
        <a:bodyPr/>
        <a:lstStyle/>
        <a:p>
          <a:pPr>
            <a:lnSpc>
              <a:spcPct val="100000"/>
            </a:lnSpc>
          </a:pPr>
          <a:r>
            <a:rPr lang="en-GB"/>
            <a:t>We are growing the number of models and model vendors available via the platform</a:t>
          </a:r>
          <a:endParaRPr lang="en-US"/>
        </a:p>
      </dgm:t>
    </dgm:pt>
    <dgm:pt modelId="{CB4AA257-D3BB-46A6-8B84-1B48A23E5CB4}" type="parTrans" cxnId="{18B47138-2186-4399-AED3-00F942438F38}">
      <dgm:prSet/>
      <dgm:spPr/>
      <dgm:t>
        <a:bodyPr/>
        <a:lstStyle/>
        <a:p>
          <a:endParaRPr lang="en-US"/>
        </a:p>
      </dgm:t>
    </dgm:pt>
    <dgm:pt modelId="{E944DDA0-B924-4C3D-810E-66F3CDC98274}" type="sibTrans" cxnId="{18B47138-2186-4399-AED3-00F942438F38}">
      <dgm:prSet/>
      <dgm:spPr/>
      <dgm:t>
        <a:bodyPr/>
        <a:lstStyle/>
        <a:p>
          <a:endParaRPr lang="en-US"/>
        </a:p>
      </dgm:t>
    </dgm:pt>
    <dgm:pt modelId="{E26AEE12-5758-494F-9A97-9B32E4CCBBA1}">
      <dgm:prSet/>
      <dgm:spPr/>
      <dgm:t>
        <a:bodyPr/>
        <a:lstStyle/>
        <a:p>
          <a:pPr>
            <a:lnSpc>
              <a:spcPct val="100000"/>
            </a:lnSpc>
          </a:pPr>
          <a:r>
            <a:rPr lang="en-GB"/>
            <a:t>The Model Exchange team and Verisk team are working on a robust method to convert data between OED and CEDE exposure formats</a:t>
          </a:r>
          <a:endParaRPr lang="en-US"/>
        </a:p>
      </dgm:t>
    </dgm:pt>
    <dgm:pt modelId="{32CADC76-9AA4-45CD-88DF-D5798E6A344A}" type="parTrans" cxnId="{AC7709CB-CA6C-4349-AB9C-5852425165F5}">
      <dgm:prSet/>
      <dgm:spPr/>
      <dgm:t>
        <a:bodyPr/>
        <a:lstStyle/>
        <a:p>
          <a:endParaRPr lang="en-US"/>
        </a:p>
      </dgm:t>
    </dgm:pt>
    <dgm:pt modelId="{9C6D8236-5AC9-474B-B229-1410E51B7F44}" type="sibTrans" cxnId="{AC7709CB-CA6C-4349-AB9C-5852425165F5}">
      <dgm:prSet/>
      <dgm:spPr/>
      <dgm:t>
        <a:bodyPr/>
        <a:lstStyle/>
        <a:p>
          <a:endParaRPr lang="en-US"/>
        </a:p>
      </dgm:t>
    </dgm:pt>
    <dgm:pt modelId="{76736481-F7E8-4204-80A7-3FA9BA311BA4}">
      <dgm:prSet/>
      <dgm:spPr/>
      <dgm:t>
        <a:bodyPr/>
        <a:lstStyle/>
        <a:p>
          <a:pPr>
            <a:lnSpc>
              <a:spcPct val="100000"/>
            </a:lnSpc>
          </a:pPr>
          <a:r>
            <a:rPr lang="en-GB"/>
            <a:t>We will look to integrate Model Exchange with Synergy Studio so clients can gain the benefits of a seamless workflow</a:t>
          </a:r>
          <a:endParaRPr lang="en-US"/>
        </a:p>
      </dgm:t>
    </dgm:pt>
    <dgm:pt modelId="{09CF0509-34E1-4695-AA18-38444CB8FF08}" type="parTrans" cxnId="{2ED6C8F6-5050-497F-A8CB-F294EA0CFCD5}">
      <dgm:prSet/>
      <dgm:spPr/>
      <dgm:t>
        <a:bodyPr/>
        <a:lstStyle/>
        <a:p>
          <a:endParaRPr lang="en-US"/>
        </a:p>
      </dgm:t>
    </dgm:pt>
    <dgm:pt modelId="{825E94D7-21B8-4123-9649-1B3C9E0E0B23}" type="sibTrans" cxnId="{2ED6C8F6-5050-497F-A8CB-F294EA0CFCD5}">
      <dgm:prSet/>
      <dgm:spPr/>
      <dgm:t>
        <a:bodyPr/>
        <a:lstStyle/>
        <a:p>
          <a:endParaRPr lang="en-US"/>
        </a:p>
      </dgm:t>
    </dgm:pt>
    <dgm:pt modelId="{D48C9C22-E766-4784-AFA6-274C894A3E6A}" type="pres">
      <dgm:prSet presAssocID="{ADA5AED0-B3C2-4317-BF3C-D651DB3D8E00}" presName="root" presStyleCnt="0">
        <dgm:presLayoutVars>
          <dgm:dir/>
          <dgm:resizeHandles val="exact"/>
        </dgm:presLayoutVars>
      </dgm:prSet>
      <dgm:spPr/>
    </dgm:pt>
    <dgm:pt modelId="{7F2C29BF-F631-42C7-9E55-6D34FC32E8DC}" type="pres">
      <dgm:prSet presAssocID="{00290A38-C204-4F79-B91E-1BE805121916}" presName="compNode" presStyleCnt="0"/>
      <dgm:spPr/>
    </dgm:pt>
    <dgm:pt modelId="{9AD7174E-E922-4F0F-BF42-1EF82B89A02F}" type="pres">
      <dgm:prSet presAssocID="{00290A38-C204-4F79-B91E-1BE805121916}" presName="bgRect" presStyleLbl="bgShp" presStyleIdx="0" presStyleCnt="4"/>
      <dgm:spPr/>
    </dgm:pt>
    <dgm:pt modelId="{300D38B7-E4B9-4EBA-8194-B68AE738B98D}" type="pres">
      <dgm:prSet presAssocID="{00290A38-C204-4F79-B91E-1BE805121916}"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User"/>
        </a:ext>
      </dgm:extLst>
    </dgm:pt>
    <dgm:pt modelId="{5DB2EF1C-2258-49B0-80F3-A419E850F027}" type="pres">
      <dgm:prSet presAssocID="{00290A38-C204-4F79-B91E-1BE805121916}" presName="spaceRect" presStyleCnt="0"/>
      <dgm:spPr/>
    </dgm:pt>
    <dgm:pt modelId="{44D57738-CF2E-429E-B505-BC99488FD6FC}" type="pres">
      <dgm:prSet presAssocID="{00290A38-C204-4F79-B91E-1BE805121916}" presName="parTx" presStyleLbl="revTx" presStyleIdx="0" presStyleCnt="4">
        <dgm:presLayoutVars>
          <dgm:chMax val="0"/>
          <dgm:chPref val="0"/>
        </dgm:presLayoutVars>
      </dgm:prSet>
      <dgm:spPr/>
    </dgm:pt>
    <dgm:pt modelId="{37C9D743-D0ED-4588-8AB2-5C87E99D1472}" type="pres">
      <dgm:prSet presAssocID="{5E99B112-F351-4BA2-8F5F-1401E3936B5F}" presName="sibTrans" presStyleCnt="0"/>
      <dgm:spPr/>
    </dgm:pt>
    <dgm:pt modelId="{FE839CBA-6538-4155-A19E-61EA3D0B9266}" type="pres">
      <dgm:prSet presAssocID="{A38CFF43-476B-4E26-823A-0DCC897284CE}" presName="compNode" presStyleCnt="0"/>
      <dgm:spPr/>
    </dgm:pt>
    <dgm:pt modelId="{C9A3FD8C-29E0-4EB8-828D-C40146B8A23E}" type="pres">
      <dgm:prSet presAssocID="{A38CFF43-476B-4E26-823A-0DCC897284CE}" presName="bgRect" presStyleLbl="bgShp" presStyleIdx="1" presStyleCnt="4"/>
      <dgm:spPr/>
    </dgm:pt>
    <dgm:pt modelId="{695A6FFE-E5E6-4D05-B078-E595266094BC}" type="pres">
      <dgm:prSet presAssocID="{A38CFF43-476B-4E26-823A-0DCC897284CE}"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heckmark"/>
        </a:ext>
      </dgm:extLst>
    </dgm:pt>
    <dgm:pt modelId="{7FF5A93A-F571-4193-AC13-FECF3C350C49}" type="pres">
      <dgm:prSet presAssocID="{A38CFF43-476B-4E26-823A-0DCC897284CE}" presName="spaceRect" presStyleCnt="0"/>
      <dgm:spPr/>
    </dgm:pt>
    <dgm:pt modelId="{C2B268EB-BF5F-41EE-B93E-9783ADC06FAF}" type="pres">
      <dgm:prSet presAssocID="{A38CFF43-476B-4E26-823A-0DCC897284CE}" presName="parTx" presStyleLbl="revTx" presStyleIdx="1" presStyleCnt="4">
        <dgm:presLayoutVars>
          <dgm:chMax val="0"/>
          <dgm:chPref val="0"/>
        </dgm:presLayoutVars>
      </dgm:prSet>
      <dgm:spPr/>
    </dgm:pt>
    <dgm:pt modelId="{0F4B9DB6-C227-4E46-A415-A7DF4788BD22}" type="pres">
      <dgm:prSet presAssocID="{E944DDA0-B924-4C3D-810E-66F3CDC98274}" presName="sibTrans" presStyleCnt="0"/>
      <dgm:spPr/>
    </dgm:pt>
    <dgm:pt modelId="{B73A92DE-B30D-482A-B301-60B98CA1A05B}" type="pres">
      <dgm:prSet presAssocID="{E26AEE12-5758-494F-9A97-9B32E4CCBBA1}" presName="compNode" presStyleCnt="0"/>
      <dgm:spPr/>
    </dgm:pt>
    <dgm:pt modelId="{DABA5C11-2D33-496E-8E8E-354A6371B297}" type="pres">
      <dgm:prSet presAssocID="{E26AEE12-5758-494F-9A97-9B32E4CCBBA1}" presName="bgRect" presStyleLbl="bgShp" presStyleIdx="2" presStyleCnt="4"/>
      <dgm:spPr/>
    </dgm:pt>
    <dgm:pt modelId="{27BFC1C1-0504-4AAC-BAF4-3B3EB322A1C3}" type="pres">
      <dgm:prSet presAssocID="{E26AEE12-5758-494F-9A97-9B32E4CCBBA1}"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atabase"/>
        </a:ext>
      </dgm:extLst>
    </dgm:pt>
    <dgm:pt modelId="{D7415B7C-DBFC-4FC5-88DC-59BD357E4719}" type="pres">
      <dgm:prSet presAssocID="{E26AEE12-5758-494F-9A97-9B32E4CCBBA1}" presName="spaceRect" presStyleCnt="0"/>
      <dgm:spPr/>
    </dgm:pt>
    <dgm:pt modelId="{86222AFC-8939-4B0D-B6B4-231996DDC603}" type="pres">
      <dgm:prSet presAssocID="{E26AEE12-5758-494F-9A97-9B32E4CCBBA1}" presName="parTx" presStyleLbl="revTx" presStyleIdx="2" presStyleCnt="4">
        <dgm:presLayoutVars>
          <dgm:chMax val="0"/>
          <dgm:chPref val="0"/>
        </dgm:presLayoutVars>
      </dgm:prSet>
      <dgm:spPr/>
    </dgm:pt>
    <dgm:pt modelId="{D350279D-50E3-495A-B1CC-F158704DA6C2}" type="pres">
      <dgm:prSet presAssocID="{9C6D8236-5AC9-474B-B229-1410E51B7F44}" presName="sibTrans" presStyleCnt="0"/>
      <dgm:spPr/>
    </dgm:pt>
    <dgm:pt modelId="{EAA9EF36-EE6B-4B5A-B8A0-B40024E4D8FA}" type="pres">
      <dgm:prSet presAssocID="{76736481-F7E8-4204-80A7-3FA9BA311BA4}" presName="compNode" presStyleCnt="0"/>
      <dgm:spPr/>
    </dgm:pt>
    <dgm:pt modelId="{427C8F7A-88EF-46F8-BE72-6AF6C1C06352}" type="pres">
      <dgm:prSet presAssocID="{76736481-F7E8-4204-80A7-3FA9BA311BA4}" presName="bgRect" presStyleLbl="bgShp" presStyleIdx="3" presStyleCnt="4"/>
      <dgm:spPr/>
    </dgm:pt>
    <dgm:pt modelId="{3B80AB6B-86BE-45B5-A8D9-8834C0920A8D}" type="pres">
      <dgm:prSet presAssocID="{76736481-F7E8-4204-80A7-3FA9BA311BA4}"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Handshake"/>
        </a:ext>
      </dgm:extLst>
    </dgm:pt>
    <dgm:pt modelId="{C6A1B530-CFAB-48BF-9403-A93E689EE8D8}" type="pres">
      <dgm:prSet presAssocID="{76736481-F7E8-4204-80A7-3FA9BA311BA4}" presName="spaceRect" presStyleCnt="0"/>
      <dgm:spPr/>
    </dgm:pt>
    <dgm:pt modelId="{BF0E6C4C-E2E7-4D47-90B2-40438E060F0A}" type="pres">
      <dgm:prSet presAssocID="{76736481-F7E8-4204-80A7-3FA9BA311BA4}" presName="parTx" presStyleLbl="revTx" presStyleIdx="3" presStyleCnt="4">
        <dgm:presLayoutVars>
          <dgm:chMax val="0"/>
          <dgm:chPref val="0"/>
        </dgm:presLayoutVars>
      </dgm:prSet>
      <dgm:spPr/>
    </dgm:pt>
  </dgm:ptLst>
  <dgm:cxnLst>
    <dgm:cxn modelId="{6ACC3D0B-1F7A-46D4-B9DD-EE80A52F1DBC}" type="presOf" srcId="{E26AEE12-5758-494F-9A97-9B32E4CCBBA1}" destId="{86222AFC-8939-4B0D-B6B4-231996DDC603}" srcOrd="0" destOrd="0" presId="urn:microsoft.com/office/officeart/2018/2/layout/IconVerticalSolidList"/>
    <dgm:cxn modelId="{18B47138-2186-4399-AED3-00F942438F38}" srcId="{ADA5AED0-B3C2-4317-BF3C-D651DB3D8E00}" destId="{A38CFF43-476B-4E26-823A-0DCC897284CE}" srcOrd="1" destOrd="0" parTransId="{CB4AA257-D3BB-46A6-8B84-1B48A23E5CB4}" sibTransId="{E944DDA0-B924-4C3D-810E-66F3CDC98274}"/>
    <dgm:cxn modelId="{7653B139-54FD-48F6-980B-6E3A47B2F97A}" type="presOf" srcId="{A38CFF43-476B-4E26-823A-0DCC897284CE}" destId="{C2B268EB-BF5F-41EE-B93E-9783ADC06FAF}" srcOrd="0" destOrd="0" presId="urn:microsoft.com/office/officeart/2018/2/layout/IconVerticalSolidList"/>
    <dgm:cxn modelId="{29D21E4B-01EF-408A-9308-0374E55C1B13}" type="presOf" srcId="{00290A38-C204-4F79-B91E-1BE805121916}" destId="{44D57738-CF2E-429E-B505-BC99488FD6FC}" srcOrd="0" destOrd="0" presId="urn:microsoft.com/office/officeart/2018/2/layout/IconVerticalSolidList"/>
    <dgm:cxn modelId="{5ECBC5C9-EBB8-404B-BDBB-0CFAFB04426F}" type="presOf" srcId="{ADA5AED0-B3C2-4317-BF3C-D651DB3D8E00}" destId="{D48C9C22-E766-4784-AFA6-274C894A3E6A}" srcOrd="0" destOrd="0" presId="urn:microsoft.com/office/officeart/2018/2/layout/IconVerticalSolidList"/>
    <dgm:cxn modelId="{AC7709CB-CA6C-4349-AB9C-5852425165F5}" srcId="{ADA5AED0-B3C2-4317-BF3C-D651DB3D8E00}" destId="{E26AEE12-5758-494F-9A97-9B32E4CCBBA1}" srcOrd="2" destOrd="0" parTransId="{32CADC76-9AA4-45CD-88DF-D5798E6A344A}" sibTransId="{9C6D8236-5AC9-474B-B229-1410E51B7F44}"/>
    <dgm:cxn modelId="{76CAD4DA-3F90-45D8-B9B0-A2733C571732}" type="presOf" srcId="{76736481-F7E8-4204-80A7-3FA9BA311BA4}" destId="{BF0E6C4C-E2E7-4D47-90B2-40438E060F0A}" srcOrd="0" destOrd="0" presId="urn:microsoft.com/office/officeart/2018/2/layout/IconVerticalSolidList"/>
    <dgm:cxn modelId="{93A33AF5-A196-4F8F-B64B-426CD6BB3806}" srcId="{ADA5AED0-B3C2-4317-BF3C-D651DB3D8E00}" destId="{00290A38-C204-4F79-B91E-1BE805121916}" srcOrd="0" destOrd="0" parTransId="{ACA81E17-D8D6-437E-ACCD-B857B460997C}" sibTransId="{5E99B112-F351-4BA2-8F5F-1401E3936B5F}"/>
    <dgm:cxn modelId="{2ED6C8F6-5050-497F-A8CB-F294EA0CFCD5}" srcId="{ADA5AED0-B3C2-4317-BF3C-D651DB3D8E00}" destId="{76736481-F7E8-4204-80A7-3FA9BA311BA4}" srcOrd="3" destOrd="0" parTransId="{09CF0509-34E1-4695-AA18-38444CB8FF08}" sibTransId="{825E94D7-21B8-4123-9649-1B3C9E0E0B23}"/>
    <dgm:cxn modelId="{0A46B38E-2315-41BC-AE13-646DFD83BAEC}" type="presParOf" srcId="{D48C9C22-E766-4784-AFA6-274C894A3E6A}" destId="{7F2C29BF-F631-42C7-9E55-6D34FC32E8DC}" srcOrd="0" destOrd="0" presId="urn:microsoft.com/office/officeart/2018/2/layout/IconVerticalSolidList"/>
    <dgm:cxn modelId="{0476E448-6CEE-4C66-AA91-60AF7E0D97C0}" type="presParOf" srcId="{7F2C29BF-F631-42C7-9E55-6D34FC32E8DC}" destId="{9AD7174E-E922-4F0F-BF42-1EF82B89A02F}" srcOrd="0" destOrd="0" presId="urn:microsoft.com/office/officeart/2018/2/layout/IconVerticalSolidList"/>
    <dgm:cxn modelId="{B2C2A32E-7E0E-4FA8-8EF6-E18BD582E021}" type="presParOf" srcId="{7F2C29BF-F631-42C7-9E55-6D34FC32E8DC}" destId="{300D38B7-E4B9-4EBA-8194-B68AE738B98D}" srcOrd="1" destOrd="0" presId="urn:microsoft.com/office/officeart/2018/2/layout/IconVerticalSolidList"/>
    <dgm:cxn modelId="{A817139E-E2EF-4777-9439-99613A9F4F5C}" type="presParOf" srcId="{7F2C29BF-F631-42C7-9E55-6D34FC32E8DC}" destId="{5DB2EF1C-2258-49B0-80F3-A419E850F027}" srcOrd="2" destOrd="0" presId="urn:microsoft.com/office/officeart/2018/2/layout/IconVerticalSolidList"/>
    <dgm:cxn modelId="{15BD8BBE-376E-4F7B-9115-8A4A9B201E8B}" type="presParOf" srcId="{7F2C29BF-F631-42C7-9E55-6D34FC32E8DC}" destId="{44D57738-CF2E-429E-B505-BC99488FD6FC}" srcOrd="3" destOrd="0" presId="urn:microsoft.com/office/officeart/2018/2/layout/IconVerticalSolidList"/>
    <dgm:cxn modelId="{28D4C673-AE08-493B-9AB4-A2D370FF3202}" type="presParOf" srcId="{D48C9C22-E766-4784-AFA6-274C894A3E6A}" destId="{37C9D743-D0ED-4588-8AB2-5C87E99D1472}" srcOrd="1" destOrd="0" presId="urn:microsoft.com/office/officeart/2018/2/layout/IconVerticalSolidList"/>
    <dgm:cxn modelId="{9938F4E3-52B7-46B6-99CE-8FA05B3AFE4A}" type="presParOf" srcId="{D48C9C22-E766-4784-AFA6-274C894A3E6A}" destId="{FE839CBA-6538-4155-A19E-61EA3D0B9266}" srcOrd="2" destOrd="0" presId="urn:microsoft.com/office/officeart/2018/2/layout/IconVerticalSolidList"/>
    <dgm:cxn modelId="{C1618CA5-881C-4BFB-BF62-9801334BFC03}" type="presParOf" srcId="{FE839CBA-6538-4155-A19E-61EA3D0B9266}" destId="{C9A3FD8C-29E0-4EB8-828D-C40146B8A23E}" srcOrd="0" destOrd="0" presId="urn:microsoft.com/office/officeart/2018/2/layout/IconVerticalSolidList"/>
    <dgm:cxn modelId="{1470CD26-5EFF-4C15-BA39-5F2A662BC966}" type="presParOf" srcId="{FE839CBA-6538-4155-A19E-61EA3D0B9266}" destId="{695A6FFE-E5E6-4D05-B078-E595266094BC}" srcOrd="1" destOrd="0" presId="urn:microsoft.com/office/officeart/2018/2/layout/IconVerticalSolidList"/>
    <dgm:cxn modelId="{A21BE5E8-ADAE-4FCC-AAF9-87F3DBC37A8C}" type="presParOf" srcId="{FE839CBA-6538-4155-A19E-61EA3D0B9266}" destId="{7FF5A93A-F571-4193-AC13-FECF3C350C49}" srcOrd="2" destOrd="0" presId="urn:microsoft.com/office/officeart/2018/2/layout/IconVerticalSolidList"/>
    <dgm:cxn modelId="{BDEAEB3B-B438-4357-9046-487FBA8DE8F3}" type="presParOf" srcId="{FE839CBA-6538-4155-A19E-61EA3D0B9266}" destId="{C2B268EB-BF5F-41EE-B93E-9783ADC06FAF}" srcOrd="3" destOrd="0" presId="urn:microsoft.com/office/officeart/2018/2/layout/IconVerticalSolidList"/>
    <dgm:cxn modelId="{BA7A211F-7819-42DC-A1C3-A0DB3548F75A}" type="presParOf" srcId="{D48C9C22-E766-4784-AFA6-274C894A3E6A}" destId="{0F4B9DB6-C227-4E46-A415-A7DF4788BD22}" srcOrd="3" destOrd="0" presId="urn:microsoft.com/office/officeart/2018/2/layout/IconVerticalSolidList"/>
    <dgm:cxn modelId="{02076C69-3DD5-452F-9B1B-584E40803D71}" type="presParOf" srcId="{D48C9C22-E766-4784-AFA6-274C894A3E6A}" destId="{B73A92DE-B30D-482A-B301-60B98CA1A05B}" srcOrd="4" destOrd="0" presId="urn:microsoft.com/office/officeart/2018/2/layout/IconVerticalSolidList"/>
    <dgm:cxn modelId="{D6433EE6-1C8D-4146-A81B-556ED4023C50}" type="presParOf" srcId="{B73A92DE-B30D-482A-B301-60B98CA1A05B}" destId="{DABA5C11-2D33-496E-8E8E-354A6371B297}" srcOrd="0" destOrd="0" presId="urn:microsoft.com/office/officeart/2018/2/layout/IconVerticalSolidList"/>
    <dgm:cxn modelId="{F1594813-7021-459E-B5DC-B0C327F6A682}" type="presParOf" srcId="{B73A92DE-B30D-482A-B301-60B98CA1A05B}" destId="{27BFC1C1-0504-4AAC-BAF4-3B3EB322A1C3}" srcOrd="1" destOrd="0" presId="urn:microsoft.com/office/officeart/2018/2/layout/IconVerticalSolidList"/>
    <dgm:cxn modelId="{0A6AD66E-83D3-4139-A708-A5190CF70219}" type="presParOf" srcId="{B73A92DE-B30D-482A-B301-60B98CA1A05B}" destId="{D7415B7C-DBFC-4FC5-88DC-59BD357E4719}" srcOrd="2" destOrd="0" presId="urn:microsoft.com/office/officeart/2018/2/layout/IconVerticalSolidList"/>
    <dgm:cxn modelId="{FAE99665-A562-43DA-AE00-ECF52B550D0E}" type="presParOf" srcId="{B73A92DE-B30D-482A-B301-60B98CA1A05B}" destId="{86222AFC-8939-4B0D-B6B4-231996DDC603}" srcOrd="3" destOrd="0" presId="urn:microsoft.com/office/officeart/2018/2/layout/IconVerticalSolidList"/>
    <dgm:cxn modelId="{867AC8D5-A59C-42F6-BECB-D8C9FEB8496F}" type="presParOf" srcId="{D48C9C22-E766-4784-AFA6-274C894A3E6A}" destId="{D350279D-50E3-495A-B1CC-F158704DA6C2}" srcOrd="5" destOrd="0" presId="urn:microsoft.com/office/officeart/2018/2/layout/IconVerticalSolidList"/>
    <dgm:cxn modelId="{B97B104F-A9AA-47E3-A253-DC0A3D706B24}" type="presParOf" srcId="{D48C9C22-E766-4784-AFA6-274C894A3E6A}" destId="{EAA9EF36-EE6B-4B5A-B8A0-B40024E4D8FA}" srcOrd="6" destOrd="0" presId="urn:microsoft.com/office/officeart/2018/2/layout/IconVerticalSolidList"/>
    <dgm:cxn modelId="{3BBCF14D-9239-497D-88AB-0F3A95151DDF}" type="presParOf" srcId="{EAA9EF36-EE6B-4B5A-B8A0-B40024E4D8FA}" destId="{427C8F7A-88EF-46F8-BE72-6AF6C1C06352}" srcOrd="0" destOrd="0" presId="urn:microsoft.com/office/officeart/2018/2/layout/IconVerticalSolidList"/>
    <dgm:cxn modelId="{D6584572-7A81-43D0-93D2-1BA1022B9EAF}" type="presParOf" srcId="{EAA9EF36-EE6B-4B5A-B8A0-B40024E4D8FA}" destId="{3B80AB6B-86BE-45B5-A8D9-8834C0920A8D}" srcOrd="1" destOrd="0" presId="urn:microsoft.com/office/officeart/2018/2/layout/IconVerticalSolidList"/>
    <dgm:cxn modelId="{956D5D2F-8F56-4754-9000-254A1CB0D156}" type="presParOf" srcId="{EAA9EF36-EE6B-4B5A-B8A0-B40024E4D8FA}" destId="{C6A1B530-CFAB-48BF-9403-A93E689EE8D8}" srcOrd="2" destOrd="0" presId="urn:microsoft.com/office/officeart/2018/2/layout/IconVerticalSolidList"/>
    <dgm:cxn modelId="{16A32343-E17D-4DC5-BE19-BF9E50E7ABBE}" type="presParOf" srcId="{EAA9EF36-EE6B-4B5A-B8A0-B40024E4D8FA}" destId="{BF0E6C4C-E2E7-4D47-90B2-40438E060F0A}"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5C1EF9-9558-43E0-A434-33C657406D83}">
      <dsp:nvSpPr>
        <dsp:cNvPr id="0" name=""/>
        <dsp:cNvSpPr/>
      </dsp:nvSpPr>
      <dsp:spPr>
        <a:xfrm>
          <a:off x="4239" y="1606"/>
          <a:ext cx="9229590" cy="1019689"/>
        </a:xfrm>
        <a:prstGeom prst="roundRect">
          <a:avLst>
            <a:gd name="adj" fmla="val 10000"/>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marL="0" lvl="0" indent="0" algn="ctr" defTabSz="1244600">
            <a:lnSpc>
              <a:spcPct val="90000"/>
            </a:lnSpc>
            <a:spcBef>
              <a:spcPct val="0"/>
            </a:spcBef>
            <a:spcAft>
              <a:spcPct val="35000"/>
            </a:spcAft>
            <a:buNone/>
          </a:pPr>
          <a:r>
            <a:rPr lang="en-US" sz="2800" b="1" kern="1200"/>
            <a:t>Catastrophe Model</a:t>
          </a:r>
        </a:p>
      </dsp:txBody>
      <dsp:txXfrm>
        <a:off x="34105" y="31472"/>
        <a:ext cx="9169858" cy="959957"/>
      </dsp:txXfrm>
    </dsp:sp>
    <dsp:sp modelId="{09F8E3F2-CC0F-4659-B02F-70701E653647}">
      <dsp:nvSpPr>
        <dsp:cNvPr id="0" name=""/>
        <dsp:cNvSpPr/>
      </dsp:nvSpPr>
      <dsp:spPr>
        <a:xfrm>
          <a:off x="4239" y="1140146"/>
          <a:ext cx="2463059" cy="1019689"/>
        </a:xfrm>
        <a:prstGeom prst="roundRect">
          <a:avLst>
            <a:gd name="adj" fmla="val 10000"/>
          </a:avLst>
        </a:prstGeom>
        <a:solidFill>
          <a:srgbClr val="FFD893"/>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solidFill>
                <a:schemeClr val="tx1"/>
              </a:solidFill>
            </a:rPr>
            <a:t>IF financial engine </a:t>
          </a:r>
          <a:endParaRPr lang="cs-CZ" sz="2100" kern="1200">
            <a:solidFill>
              <a:schemeClr val="tx1"/>
            </a:solidFill>
          </a:endParaRPr>
        </a:p>
      </dsp:txBody>
      <dsp:txXfrm>
        <a:off x="34105" y="1170012"/>
        <a:ext cx="2403327" cy="959957"/>
      </dsp:txXfrm>
    </dsp:sp>
    <dsp:sp modelId="{E9BA8F3E-F01B-4D12-8013-5A900894EBB0}">
      <dsp:nvSpPr>
        <dsp:cNvPr id="0" name=""/>
        <dsp:cNvSpPr/>
      </dsp:nvSpPr>
      <dsp:spPr>
        <a:xfrm>
          <a:off x="4239" y="2278685"/>
          <a:ext cx="2463059" cy="1019689"/>
        </a:xfrm>
        <a:prstGeom prst="roundRect">
          <a:avLst>
            <a:gd name="adj" fmla="val 10000"/>
          </a:avLst>
        </a:prstGeom>
        <a:solidFill>
          <a:srgbClr val="FFD893"/>
        </a:solidFill>
        <a:ln w="28575" cap="flat" cmpd="sng" algn="ctr">
          <a:solidFill>
            <a:srgbClr val="FFA6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In ELEMENTS</a:t>
          </a:r>
        </a:p>
      </dsp:txBody>
      <dsp:txXfrm>
        <a:off x="34105" y="2308551"/>
        <a:ext cx="2403327" cy="959957"/>
      </dsp:txXfrm>
    </dsp:sp>
    <dsp:sp modelId="{6DAA54A0-BCF9-4197-8B1A-FF3510968A59}">
      <dsp:nvSpPr>
        <dsp:cNvPr id="0" name=""/>
        <dsp:cNvSpPr/>
      </dsp:nvSpPr>
      <dsp:spPr>
        <a:xfrm>
          <a:off x="4239" y="3417224"/>
          <a:ext cx="809684" cy="1019689"/>
        </a:xfrm>
        <a:prstGeom prst="roundRect">
          <a:avLst>
            <a:gd name="adj" fmla="val 10000"/>
          </a:avLst>
        </a:prstGeom>
        <a:solidFill>
          <a:srgbClr val="FFD893"/>
        </a:solidFill>
        <a:ln w="28575" cap="flat" cmpd="sng" algn="ctr">
          <a:solidFill>
            <a:srgbClr val="FFA6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On prem</a:t>
          </a:r>
          <a:endParaRPr lang="cs-CZ" sz="1400" kern="1200">
            <a:solidFill>
              <a:schemeClr val="tx1"/>
            </a:solidFill>
          </a:endParaRPr>
        </a:p>
      </dsp:txBody>
      <dsp:txXfrm>
        <a:off x="27954" y="3440939"/>
        <a:ext cx="762254" cy="972259"/>
      </dsp:txXfrm>
    </dsp:sp>
    <dsp:sp modelId="{904F8875-0AA8-4767-A6C6-321A38BA51FD}">
      <dsp:nvSpPr>
        <dsp:cNvPr id="0" name=""/>
        <dsp:cNvSpPr/>
      </dsp:nvSpPr>
      <dsp:spPr>
        <a:xfrm>
          <a:off x="830926" y="3417224"/>
          <a:ext cx="809684" cy="1019689"/>
        </a:xfrm>
        <a:prstGeom prst="roundRect">
          <a:avLst>
            <a:gd name="adj" fmla="val 10000"/>
          </a:avLst>
        </a:prstGeom>
        <a:solidFill>
          <a:srgbClr val="FFD893"/>
        </a:solidFill>
        <a:ln w="28575" cap="flat" cmpd="sng" algn="ctr">
          <a:solidFill>
            <a:srgbClr val="FFA6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On AWS</a:t>
          </a:r>
          <a:endParaRPr lang="cs-CZ" sz="1400" kern="1200">
            <a:solidFill>
              <a:schemeClr val="tx1"/>
            </a:solidFill>
          </a:endParaRPr>
        </a:p>
      </dsp:txBody>
      <dsp:txXfrm>
        <a:off x="854641" y="3440939"/>
        <a:ext cx="762254" cy="972259"/>
      </dsp:txXfrm>
    </dsp:sp>
    <dsp:sp modelId="{A7B9D0A6-6FBA-4D6B-919E-827A8639D438}">
      <dsp:nvSpPr>
        <dsp:cNvPr id="0" name=""/>
        <dsp:cNvSpPr/>
      </dsp:nvSpPr>
      <dsp:spPr>
        <a:xfrm>
          <a:off x="1657614" y="3417224"/>
          <a:ext cx="809684" cy="1019689"/>
        </a:xfrm>
        <a:prstGeom prst="roundRect">
          <a:avLst>
            <a:gd name="adj" fmla="val 10000"/>
          </a:avLst>
        </a:prstGeom>
        <a:solidFill>
          <a:srgbClr val="FFD893"/>
        </a:solidFill>
        <a:ln w="28575" cap="flat" cmpd="sng" algn="ctr">
          <a:solidFill>
            <a:srgbClr val="FFA6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0" kern="1200">
              <a:solidFill>
                <a:schemeClr val="tx1">
                  <a:lumMod val="50000"/>
                  <a:lumOff val="50000"/>
                </a:schemeClr>
              </a:solidFill>
            </a:rPr>
            <a:t>SaaS</a:t>
          </a:r>
          <a:endParaRPr lang="cs-CZ" sz="1400" b="0" kern="1200">
            <a:solidFill>
              <a:schemeClr val="tx1">
                <a:lumMod val="50000"/>
                <a:lumOff val="50000"/>
              </a:schemeClr>
            </a:solidFill>
          </a:endParaRPr>
        </a:p>
      </dsp:txBody>
      <dsp:txXfrm>
        <a:off x="1681329" y="3440939"/>
        <a:ext cx="762254" cy="972259"/>
      </dsp:txXfrm>
    </dsp:sp>
    <dsp:sp modelId="{2EF5C144-C6DA-4247-ABF8-C94EFC669CA1}">
      <dsp:nvSpPr>
        <dsp:cNvPr id="0" name=""/>
        <dsp:cNvSpPr/>
      </dsp:nvSpPr>
      <dsp:spPr>
        <a:xfrm>
          <a:off x="2535312" y="1140146"/>
          <a:ext cx="5820820" cy="1019689"/>
        </a:xfrm>
        <a:prstGeom prst="roundRect">
          <a:avLst>
            <a:gd name="adj" fmla="val 10000"/>
          </a:avLst>
        </a:prstGeom>
        <a:solidFill>
          <a:schemeClr val="accent1">
            <a:lumMod val="20000"/>
            <a:lumOff val="80000"/>
          </a:schemeClr>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a:solidFill>
                <a:schemeClr val="tx1"/>
              </a:solidFill>
            </a:rPr>
            <a:t>Oasis financial engine</a:t>
          </a:r>
        </a:p>
      </dsp:txBody>
      <dsp:txXfrm>
        <a:off x="2565178" y="1170012"/>
        <a:ext cx="5761088" cy="959957"/>
      </dsp:txXfrm>
    </dsp:sp>
    <dsp:sp modelId="{2527F62E-8A3A-4CC9-AF12-CCCF518B2B57}">
      <dsp:nvSpPr>
        <dsp:cNvPr id="0" name=""/>
        <dsp:cNvSpPr/>
      </dsp:nvSpPr>
      <dsp:spPr>
        <a:xfrm>
          <a:off x="2535312" y="2278685"/>
          <a:ext cx="809684" cy="1019689"/>
        </a:xfrm>
        <a:prstGeom prst="roundRect">
          <a:avLst>
            <a:gd name="adj" fmla="val 10000"/>
          </a:avLst>
        </a:prstGeom>
        <a:solidFill>
          <a:schemeClr val="accent1">
            <a:lumMod val="20000"/>
            <a:lumOff val="80000"/>
          </a:schemeClr>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a:solidFill>
                <a:schemeClr val="tx1"/>
              </a:solidFill>
            </a:rPr>
            <a:t>Client’s own</a:t>
          </a:r>
          <a:endParaRPr lang="cs-CZ" sz="1400" b="1" kern="1200">
            <a:solidFill>
              <a:schemeClr val="tx1"/>
            </a:solidFill>
          </a:endParaRPr>
        </a:p>
      </dsp:txBody>
      <dsp:txXfrm>
        <a:off x="2559027" y="2302400"/>
        <a:ext cx="762254" cy="972259"/>
      </dsp:txXfrm>
    </dsp:sp>
    <dsp:sp modelId="{DAA74557-672C-41C9-AA3E-49DFA7332F51}">
      <dsp:nvSpPr>
        <dsp:cNvPr id="0" name=""/>
        <dsp:cNvSpPr/>
      </dsp:nvSpPr>
      <dsp:spPr>
        <a:xfrm>
          <a:off x="2535312" y="3417224"/>
          <a:ext cx="809684" cy="1019689"/>
        </a:xfrm>
        <a:prstGeom prst="roundRect">
          <a:avLst>
            <a:gd name="adj" fmla="val 10000"/>
          </a:avLst>
        </a:prstGeom>
        <a:solidFill>
          <a:schemeClr val="accent1">
            <a:lumMod val="20000"/>
            <a:lumOff val="80000"/>
          </a:schemeClr>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On prem / SaaS</a:t>
          </a:r>
          <a:endParaRPr lang="cs-CZ" sz="1400" kern="1200">
            <a:solidFill>
              <a:schemeClr val="tx1"/>
            </a:solidFill>
          </a:endParaRPr>
        </a:p>
      </dsp:txBody>
      <dsp:txXfrm>
        <a:off x="2559027" y="3440939"/>
        <a:ext cx="762254" cy="972259"/>
      </dsp:txXfrm>
    </dsp:sp>
    <dsp:sp modelId="{1D623DD2-0D65-47A2-82A3-C36A76ED0764}">
      <dsp:nvSpPr>
        <dsp:cNvPr id="0" name=""/>
        <dsp:cNvSpPr/>
      </dsp:nvSpPr>
      <dsp:spPr>
        <a:xfrm>
          <a:off x="3379003" y="2278685"/>
          <a:ext cx="2463059" cy="1019689"/>
        </a:xfrm>
        <a:prstGeom prst="roundRect">
          <a:avLst>
            <a:gd name="adj" fmla="val 10000"/>
          </a:avLst>
        </a:prstGeom>
        <a:solidFill>
          <a:schemeClr val="accent1">
            <a:lumMod val="20000"/>
            <a:lumOff val="80000"/>
          </a:schemeClr>
        </a:solidFill>
        <a:ln w="28575" cap="flat" cmpd="sng" algn="ctr">
          <a:solidFill>
            <a:srgbClr val="FFA6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In ELEMENTS</a:t>
          </a:r>
          <a:endParaRPr lang="cs-CZ" sz="1600" b="1" kern="1200">
            <a:solidFill>
              <a:schemeClr val="tx1"/>
            </a:solidFill>
          </a:endParaRPr>
        </a:p>
      </dsp:txBody>
      <dsp:txXfrm>
        <a:off x="3408869" y="2308551"/>
        <a:ext cx="2403327" cy="959957"/>
      </dsp:txXfrm>
    </dsp:sp>
    <dsp:sp modelId="{74AA42E9-6E59-4BF7-ACB4-B876247F3E09}">
      <dsp:nvSpPr>
        <dsp:cNvPr id="0" name=""/>
        <dsp:cNvSpPr/>
      </dsp:nvSpPr>
      <dsp:spPr>
        <a:xfrm>
          <a:off x="3379003" y="3417224"/>
          <a:ext cx="809684" cy="1019689"/>
        </a:xfrm>
        <a:prstGeom prst="roundRect">
          <a:avLst>
            <a:gd name="adj" fmla="val 10000"/>
          </a:avLst>
        </a:prstGeom>
        <a:solidFill>
          <a:schemeClr val="accent1">
            <a:lumMod val="20000"/>
            <a:lumOff val="80000"/>
          </a:schemeClr>
        </a:solidFill>
        <a:ln w="28575" cap="flat" cmpd="sng" algn="ctr">
          <a:solidFill>
            <a:srgbClr val="FFA6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On prem</a:t>
          </a:r>
          <a:endParaRPr lang="cs-CZ" sz="1400" kern="1200">
            <a:solidFill>
              <a:schemeClr val="tx1"/>
            </a:solidFill>
          </a:endParaRPr>
        </a:p>
      </dsp:txBody>
      <dsp:txXfrm>
        <a:off x="3402718" y="3440939"/>
        <a:ext cx="762254" cy="972259"/>
      </dsp:txXfrm>
    </dsp:sp>
    <dsp:sp modelId="{654959DC-0023-4A87-825A-B95482775712}">
      <dsp:nvSpPr>
        <dsp:cNvPr id="0" name=""/>
        <dsp:cNvSpPr/>
      </dsp:nvSpPr>
      <dsp:spPr>
        <a:xfrm>
          <a:off x="4205690" y="3417224"/>
          <a:ext cx="809684" cy="1019689"/>
        </a:xfrm>
        <a:prstGeom prst="roundRect">
          <a:avLst>
            <a:gd name="adj" fmla="val 10000"/>
          </a:avLst>
        </a:prstGeom>
        <a:solidFill>
          <a:schemeClr val="accent1">
            <a:lumMod val="20000"/>
            <a:lumOff val="80000"/>
          </a:schemeClr>
        </a:solidFill>
        <a:ln w="28575" cap="flat" cmpd="sng" algn="ctr">
          <a:solidFill>
            <a:srgbClr val="FFA6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On AWS</a:t>
          </a:r>
          <a:endParaRPr lang="cs-CZ" sz="1400" kern="1200">
            <a:solidFill>
              <a:schemeClr val="tx1"/>
            </a:solidFill>
          </a:endParaRPr>
        </a:p>
      </dsp:txBody>
      <dsp:txXfrm>
        <a:off x="4229405" y="3440939"/>
        <a:ext cx="762254" cy="972259"/>
      </dsp:txXfrm>
    </dsp:sp>
    <dsp:sp modelId="{30B45BF4-CA92-440D-BD93-0361D3FCECE7}">
      <dsp:nvSpPr>
        <dsp:cNvPr id="0" name=""/>
        <dsp:cNvSpPr/>
      </dsp:nvSpPr>
      <dsp:spPr>
        <a:xfrm>
          <a:off x="5032378" y="3417224"/>
          <a:ext cx="809684" cy="1019689"/>
        </a:xfrm>
        <a:prstGeom prst="roundRect">
          <a:avLst>
            <a:gd name="adj" fmla="val 10000"/>
          </a:avLst>
        </a:prstGeom>
        <a:solidFill>
          <a:schemeClr val="accent1">
            <a:lumMod val="20000"/>
            <a:lumOff val="80000"/>
          </a:schemeClr>
        </a:solidFill>
        <a:ln w="28575" cap="flat" cmpd="sng" algn="ctr">
          <a:solidFill>
            <a:srgbClr val="FFA60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2">
                  <a:lumMod val="60000"/>
                  <a:lumOff val="40000"/>
                </a:schemeClr>
              </a:solidFill>
            </a:rPr>
            <a:t>SaaS</a:t>
          </a:r>
          <a:endParaRPr lang="cs-CZ" sz="1400" kern="1200">
            <a:solidFill>
              <a:schemeClr val="tx2">
                <a:lumMod val="60000"/>
                <a:lumOff val="40000"/>
              </a:schemeClr>
            </a:solidFill>
          </a:endParaRPr>
        </a:p>
      </dsp:txBody>
      <dsp:txXfrm>
        <a:off x="5056093" y="3440939"/>
        <a:ext cx="762254" cy="972259"/>
      </dsp:txXfrm>
    </dsp:sp>
    <dsp:sp modelId="{666E79FA-942A-4569-8D28-B0EEE547FECC}">
      <dsp:nvSpPr>
        <dsp:cNvPr id="0" name=""/>
        <dsp:cNvSpPr/>
      </dsp:nvSpPr>
      <dsp:spPr>
        <a:xfrm>
          <a:off x="5876069" y="2278685"/>
          <a:ext cx="1636371" cy="1019689"/>
        </a:xfrm>
        <a:prstGeom prst="roundRect">
          <a:avLst>
            <a:gd name="adj" fmla="val 10000"/>
          </a:avLst>
        </a:prstGeom>
        <a:solidFill>
          <a:schemeClr val="accent1">
            <a:lumMod val="20000"/>
            <a:lumOff val="80000"/>
          </a:schemeClr>
        </a:solidFill>
        <a:ln w="28575" cap="flat" cmpd="sng" algn="ctr">
          <a:solidFill>
            <a:srgbClr val="00B0F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Verisk’s NRMC</a:t>
          </a:r>
          <a:endParaRPr lang="cs-CZ" sz="1600" b="1" kern="1200">
            <a:solidFill>
              <a:schemeClr val="tx1"/>
            </a:solidFill>
          </a:endParaRPr>
        </a:p>
      </dsp:txBody>
      <dsp:txXfrm>
        <a:off x="5905935" y="2308551"/>
        <a:ext cx="1576639" cy="959957"/>
      </dsp:txXfrm>
    </dsp:sp>
    <dsp:sp modelId="{47E72CAA-3DB1-417D-9327-4B6B0028F79D}">
      <dsp:nvSpPr>
        <dsp:cNvPr id="0" name=""/>
        <dsp:cNvSpPr/>
      </dsp:nvSpPr>
      <dsp:spPr>
        <a:xfrm>
          <a:off x="5876069" y="3417224"/>
          <a:ext cx="809684" cy="1019689"/>
        </a:xfrm>
        <a:prstGeom prst="roundRect">
          <a:avLst>
            <a:gd name="adj" fmla="val 10000"/>
          </a:avLst>
        </a:prstGeom>
        <a:solidFill>
          <a:schemeClr val="accent1">
            <a:lumMod val="20000"/>
            <a:lumOff val="80000"/>
          </a:schemeClr>
        </a:solidFill>
        <a:ln w="28575" cap="flat" cmpd="sng" algn="ctr">
          <a:solidFill>
            <a:srgbClr val="00B0F0"/>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solidFill>
                <a:schemeClr val="tx1"/>
              </a:solidFill>
            </a:rPr>
            <a:t>Direct</a:t>
          </a:r>
        </a:p>
        <a:p>
          <a:pPr marL="0" lvl="0" indent="0" algn="ctr" defTabSz="622300">
            <a:lnSpc>
              <a:spcPct val="90000"/>
            </a:lnSpc>
            <a:spcBef>
              <a:spcPct val="0"/>
            </a:spcBef>
            <a:spcAft>
              <a:spcPct val="35000"/>
            </a:spcAft>
            <a:buNone/>
          </a:pPr>
          <a:r>
            <a:rPr lang="en-US" sz="1400" kern="1200">
              <a:solidFill>
                <a:schemeClr val="tx1"/>
              </a:solidFill>
            </a:rPr>
            <a:t>(SaaS)</a:t>
          </a:r>
          <a:endParaRPr lang="cs-CZ" sz="1400" kern="1200">
            <a:solidFill>
              <a:schemeClr val="tx1"/>
            </a:solidFill>
          </a:endParaRPr>
        </a:p>
      </dsp:txBody>
      <dsp:txXfrm>
        <a:off x="5899784" y="3440939"/>
        <a:ext cx="762254" cy="972259"/>
      </dsp:txXfrm>
    </dsp:sp>
    <dsp:sp modelId="{2AC4C9D0-9FE6-492A-A135-8CC8060C0DCE}">
      <dsp:nvSpPr>
        <dsp:cNvPr id="0" name=""/>
        <dsp:cNvSpPr/>
      </dsp:nvSpPr>
      <dsp:spPr>
        <a:xfrm>
          <a:off x="6702756" y="3417224"/>
          <a:ext cx="809684" cy="1019689"/>
        </a:xfrm>
        <a:prstGeom prst="roundRect">
          <a:avLst>
            <a:gd name="adj" fmla="val 10000"/>
          </a:avLst>
        </a:prstGeom>
        <a:solidFill>
          <a:schemeClr val="accent1">
            <a:lumMod val="20000"/>
            <a:lumOff val="80000"/>
          </a:schemeClr>
        </a:solidFill>
        <a:ln w="28575" cap="flat" cmpd="sng" algn="ctr">
          <a:solidFill>
            <a:srgbClr val="101E7F"/>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kern="1200">
              <a:solidFill>
                <a:schemeClr val="tx1"/>
              </a:solidFill>
            </a:rPr>
            <a:t>Via Moody’s IRP  </a:t>
          </a:r>
          <a:endParaRPr lang="cs-CZ" sz="1300" kern="1200">
            <a:solidFill>
              <a:schemeClr val="tx1"/>
            </a:solidFill>
          </a:endParaRPr>
        </a:p>
      </dsp:txBody>
      <dsp:txXfrm>
        <a:off x="6726471" y="3440939"/>
        <a:ext cx="762254" cy="972259"/>
      </dsp:txXfrm>
    </dsp:sp>
    <dsp:sp modelId="{FF4816CD-7A12-46E2-9C2E-FAB60BB7CE6B}">
      <dsp:nvSpPr>
        <dsp:cNvPr id="0" name=""/>
        <dsp:cNvSpPr/>
      </dsp:nvSpPr>
      <dsp:spPr>
        <a:xfrm>
          <a:off x="7546447" y="2278685"/>
          <a:ext cx="809684" cy="1019689"/>
        </a:xfrm>
        <a:prstGeom prst="roundRect">
          <a:avLst>
            <a:gd name="adj" fmla="val 10000"/>
          </a:avLst>
        </a:prstGeom>
        <a:solidFill>
          <a:schemeClr val="accent1">
            <a:lumMod val="20000"/>
            <a:lumOff val="80000"/>
          </a:schemeClr>
        </a:solidFill>
        <a:ln w="28575"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a:solidFill>
                <a:schemeClr val="tx1"/>
              </a:solidFill>
            </a:rPr>
            <a:t>Other Oasis based</a:t>
          </a:r>
          <a:endParaRPr lang="cs-CZ" sz="1400" b="1" kern="1200">
            <a:solidFill>
              <a:schemeClr val="tx1"/>
            </a:solidFill>
          </a:endParaRPr>
        </a:p>
      </dsp:txBody>
      <dsp:txXfrm>
        <a:off x="7570162" y="2302400"/>
        <a:ext cx="762254" cy="972259"/>
      </dsp:txXfrm>
    </dsp:sp>
    <dsp:sp modelId="{D3A66C65-EEA3-46F1-977C-814E570F4D90}">
      <dsp:nvSpPr>
        <dsp:cNvPr id="0" name=""/>
        <dsp:cNvSpPr/>
      </dsp:nvSpPr>
      <dsp:spPr>
        <a:xfrm>
          <a:off x="8424145" y="1140146"/>
          <a:ext cx="809684" cy="1019689"/>
        </a:xfrm>
        <a:prstGeom prst="roundRect">
          <a:avLst>
            <a:gd name="adj" fmla="val 10000"/>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en-US" sz="1300" b="0" kern="1200">
              <a:solidFill>
                <a:schemeClr val="tx1"/>
              </a:solidFill>
            </a:rPr>
            <a:t>Other engines</a:t>
          </a:r>
          <a:endParaRPr lang="cs-CZ" sz="1300" b="0" kern="1200">
            <a:solidFill>
              <a:schemeClr val="tx1"/>
            </a:solidFill>
          </a:endParaRPr>
        </a:p>
      </dsp:txBody>
      <dsp:txXfrm>
        <a:off x="8447860" y="1163861"/>
        <a:ext cx="762254" cy="972259"/>
      </dsp:txXfrm>
    </dsp:sp>
    <dsp:sp modelId="{9EF323B1-AA36-4B00-8BE2-8DE30681DDF7}">
      <dsp:nvSpPr>
        <dsp:cNvPr id="0" name=""/>
        <dsp:cNvSpPr/>
      </dsp:nvSpPr>
      <dsp:spPr>
        <a:xfrm>
          <a:off x="8424145" y="2278685"/>
          <a:ext cx="809684" cy="1019689"/>
        </a:xfrm>
        <a:prstGeom prst="roundRect">
          <a:avLst>
            <a:gd name="adj" fmla="val 10000"/>
          </a:avLst>
        </a:prstGeom>
        <a:solidFill>
          <a:schemeClr val="bg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kern="1200">
              <a:solidFill>
                <a:schemeClr val="tx1"/>
              </a:solidFill>
            </a:rPr>
            <a:t>Other platforms</a:t>
          </a:r>
          <a:endParaRPr lang="cs-CZ" sz="1200" b="0" kern="1200">
            <a:solidFill>
              <a:schemeClr val="tx1"/>
            </a:solidFill>
          </a:endParaRPr>
        </a:p>
      </dsp:txBody>
      <dsp:txXfrm>
        <a:off x="8447860" y="2302400"/>
        <a:ext cx="762254" cy="97225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30C159-A2A4-401B-AF21-8DA3549B5206}">
      <dsp:nvSpPr>
        <dsp:cNvPr id="0" name=""/>
        <dsp:cNvSpPr/>
      </dsp:nvSpPr>
      <dsp:spPr>
        <a:xfrm>
          <a:off x="26178" y="185642"/>
          <a:ext cx="788130" cy="78813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06DA7DE-9A7F-4B6B-A5A2-A63AAFAAF1A3}">
      <dsp:nvSpPr>
        <dsp:cNvPr id="0" name=""/>
        <dsp:cNvSpPr/>
      </dsp:nvSpPr>
      <dsp:spPr>
        <a:xfrm>
          <a:off x="191686" y="351150"/>
          <a:ext cx="457115" cy="457115"/>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4E6F601-A41F-4DF8-8700-AF85FF9ECCF4}">
      <dsp:nvSpPr>
        <dsp:cNvPr id="0" name=""/>
        <dsp:cNvSpPr/>
      </dsp:nvSpPr>
      <dsp:spPr>
        <a:xfrm>
          <a:off x="983193" y="185642"/>
          <a:ext cx="1857735" cy="788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GB" sz="1100" b="0" i="0" kern="1200"/>
            <a:t>Nasdaq Risk Modelling for Catastrophes is now part of Verisk</a:t>
          </a:r>
          <a:endParaRPr lang="en-US" sz="1100" kern="1200"/>
        </a:p>
      </dsp:txBody>
      <dsp:txXfrm>
        <a:off x="983193" y="185642"/>
        <a:ext cx="1857735" cy="788130"/>
      </dsp:txXfrm>
    </dsp:sp>
    <dsp:sp modelId="{4C2D75DE-DBFA-4C14-99A9-9ECD550768CC}">
      <dsp:nvSpPr>
        <dsp:cNvPr id="0" name=""/>
        <dsp:cNvSpPr/>
      </dsp:nvSpPr>
      <dsp:spPr>
        <a:xfrm>
          <a:off x="3164625" y="185642"/>
          <a:ext cx="788130" cy="78813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38AE13C-984D-4C0F-94EF-7B896E7C6323}">
      <dsp:nvSpPr>
        <dsp:cNvPr id="0" name=""/>
        <dsp:cNvSpPr/>
      </dsp:nvSpPr>
      <dsp:spPr>
        <a:xfrm>
          <a:off x="3330132" y="351150"/>
          <a:ext cx="457115" cy="457115"/>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123EB05-4FEB-4566-8375-CFDA13342A2A}">
      <dsp:nvSpPr>
        <dsp:cNvPr id="0" name=""/>
        <dsp:cNvSpPr/>
      </dsp:nvSpPr>
      <dsp:spPr>
        <a:xfrm>
          <a:off x="4121640" y="185642"/>
          <a:ext cx="1857735" cy="788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GB" sz="1100" b="0" i="0" kern="1200"/>
            <a:t>All cloud systems and services are transitioning to Verisk</a:t>
          </a:r>
          <a:endParaRPr lang="en-US" sz="1100" kern="1200"/>
        </a:p>
      </dsp:txBody>
      <dsp:txXfrm>
        <a:off x="4121640" y="185642"/>
        <a:ext cx="1857735" cy="788130"/>
      </dsp:txXfrm>
    </dsp:sp>
    <dsp:sp modelId="{3384DF57-E1E9-4C77-8246-94A42785FB6A}">
      <dsp:nvSpPr>
        <dsp:cNvPr id="0" name=""/>
        <dsp:cNvSpPr/>
      </dsp:nvSpPr>
      <dsp:spPr>
        <a:xfrm>
          <a:off x="6303071" y="185642"/>
          <a:ext cx="788130" cy="78813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5FAC1F2-382C-4C9B-AC7D-3971BBA35BDD}">
      <dsp:nvSpPr>
        <dsp:cNvPr id="0" name=""/>
        <dsp:cNvSpPr/>
      </dsp:nvSpPr>
      <dsp:spPr>
        <a:xfrm>
          <a:off x="6468578" y="351150"/>
          <a:ext cx="457115" cy="457115"/>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BF0EFA7-A2C7-4BF8-92E1-AC991A5FCA93}">
      <dsp:nvSpPr>
        <dsp:cNvPr id="0" name=""/>
        <dsp:cNvSpPr/>
      </dsp:nvSpPr>
      <dsp:spPr>
        <a:xfrm>
          <a:off x="7260086" y="185642"/>
          <a:ext cx="1857735" cy="788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GB" sz="1100" b="0" i="0" kern="1200"/>
            <a:t>Former NRMC employees are now Verisk employees</a:t>
          </a:r>
          <a:endParaRPr lang="en-US" sz="1100" kern="1200"/>
        </a:p>
      </dsp:txBody>
      <dsp:txXfrm>
        <a:off x="7260086" y="185642"/>
        <a:ext cx="1857735" cy="788130"/>
      </dsp:txXfrm>
    </dsp:sp>
    <dsp:sp modelId="{6EDD600F-9C7C-4084-BDA3-265F7AF1ED6B}">
      <dsp:nvSpPr>
        <dsp:cNvPr id="0" name=""/>
        <dsp:cNvSpPr/>
      </dsp:nvSpPr>
      <dsp:spPr>
        <a:xfrm>
          <a:off x="26178" y="1678416"/>
          <a:ext cx="788130" cy="78813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0FF4E41-1326-4956-9D8C-4461715B669F}">
      <dsp:nvSpPr>
        <dsp:cNvPr id="0" name=""/>
        <dsp:cNvSpPr/>
      </dsp:nvSpPr>
      <dsp:spPr>
        <a:xfrm>
          <a:off x="191686" y="1843923"/>
          <a:ext cx="457115" cy="457115"/>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37A415A-F12F-44EF-AB18-31FE482C9D61}">
      <dsp:nvSpPr>
        <dsp:cNvPr id="0" name=""/>
        <dsp:cNvSpPr/>
      </dsp:nvSpPr>
      <dsp:spPr>
        <a:xfrm>
          <a:off x="983193" y="1678416"/>
          <a:ext cx="1857735" cy="788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GB" sz="1100" b="0" i="0" kern="1200"/>
            <a:t>Oasis Loss Modelling Framework technology is now utilised directly by one of the world’s biggest modelling companies</a:t>
          </a:r>
          <a:endParaRPr lang="en-US" sz="1100" kern="1200"/>
        </a:p>
      </dsp:txBody>
      <dsp:txXfrm>
        <a:off x="983193" y="1678416"/>
        <a:ext cx="1857735" cy="788130"/>
      </dsp:txXfrm>
    </dsp:sp>
    <dsp:sp modelId="{D6875CE5-F080-4BD1-878F-5D6340C99FAA}">
      <dsp:nvSpPr>
        <dsp:cNvPr id="0" name=""/>
        <dsp:cNvSpPr/>
      </dsp:nvSpPr>
      <dsp:spPr>
        <a:xfrm>
          <a:off x="3164625" y="1678416"/>
          <a:ext cx="788130" cy="78813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B28550E-5173-45EC-8366-9FF4B493DAD0}">
      <dsp:nvSpPr>
        <dsp:cNvPr id="0" name=""/>
        <dsp:cNvSpPr/>
      </dsp:nvSpPr>
      <dsp:spPr>
        <a:xfrm>
          <a:off x="3330132" y="1843923"/>
          <a:ext cx="457115" cy="457115"/>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FCA6C8A9-C007-4E11-BD95-3A400E1345C4}">
      <dsp:nvSpPr>
        <dsp:cNvPr id="0" name=""/>
        <dsp:cNvSpPr/>
      </dsp:nvSpPr>
      <dsp:spPr>
        <a:xfrm>
          <a:off x="4121640" y="1678416"/>
          <a:ext cx="1857735" cy="788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GB" sz="1100" b="0" i="0" kern="1200"/>
            <a:t>Model vendors that develop their models in Oasis format have access to a bigger market</a:t>
          </a:r>
          <a:endParaRPr lang="en-US" sz="1100" kern="1200"/>
        </a:p>
      </dsp:txBody>
      <dsp:txXfrm>
        <a:off x="4121640" y="1678416"/>
        <a:ext cx="1857735" cy="788130"/>
      </dsp:txXfrm>
    </dsp:sp>
    <dsp:sp modelId="{BEA562FA-9BB2-4DA1-B4B6-CF41732330BB}">
      <dsp:nvSpPr>
        <dsp:cNvPr id="0" name=""/>
        <dsp:cNvSpPr/>
      </dsp:nvSpPr>
      <dsp:spPr>
        <a:xfrm>
          <a:off x="6303071" y="1678416"/>
          <a:ext cx="788130" cy="78813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406F869-186A-4125-AA1F-2A3962611EF4}">
      <dsp:nvSpPr>
        <dsp:cNvPr id="0" name=""/>
        <dsp:cNvSpPr/>
      </dsp:nvSpPr>
      <dsp:spPr>
        <a:xfrm>
          <a:off x="6468578" y="1843923"/>
          <a:ext cx="457115" cy="457115"/>
        </a:xfrm>
        <a:prstGeom prst="rect">
          <a:avLst/>
        </a:prstGeom>
        <a:blipFill>
          <a:blip xmlns:r="http://schemas.openxmlformats.org/officeDocument/2006/relationships"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0CF84AAE-E685-4A07-BD4E-67F1F3679B52}">
      <dsp:nvSpPr>
        <dsp:cNvPr id="0" name=""/>
        <dsp:cNvSpPr/>
      </dsp:nvSpPr>
      <dsp:spPr>
        <a:xfrm>
          <a:off x="7260086" y="1678416"/>
          <a:ext cx="1857735" cy="788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GB" sz="1100" b="0" i="0" kern="1200"/>
            <a:t>The product, now Model Exchange, is owned by a company whose core business is catastrophe modelling</a:t>
          </a:r>
          <a:endParaRPr lang="en-US" sz="1100" kern="1200"/>
        </a:p>
      </dsp:txBody>
      <dsp:txXfrm>
        <a:off x="7260086" y="1678416"/>
        <a:ext cx="1857735" cy="788130"/>
      </dsp:txXfrm>
    </dsp:sp>
    <dsp:sp modelId="{0E38A3DD-9C95-4022-A60F-57CF7FF9230A}">
      <dsp:nvSpPr>
        <dsp:cNvPr id="0" name=""/>
        <dsp:cNvSpPr/>
      </dsp:nvSpPr>
      <dsp:spPr>
        <a:xfrm>
          <a:off x="26178" y="3171190"/>
          <a:ext cx="788130" cy="788130"/>
        </a:xfrm>
        <a:prstGeom prst="ellipse">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0A4C868-A382-4EEB-9A81-1FE8990FB63E}">
      <dsp:nvSpPr>
        <dsp:cNvPr id="0" name=""/>
        <dsp:cNvSpPr/>
      </dsp:nvSpPr>
      <dsp:spPr>
        <a:xfrm>
          <a:off x="191686" y="3336697"/>
          <a:ext cx="457115" cy="457115"/>
        </a:xfrm>
        <a:prstGeom prst="rect">
          <a:avLst/>
        </a:prstGeom>
        <a:blipFill>
          <a:blip xmlns:r="http://schemas.openxmlformats.org/officeDocument/2006/relationships"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D41A7B2-B3F9-47FC-8A74-B2083A9AFE81}">
      <dsp:nvSpPr>
        <dsp:cNvPr id="0" name=""/>
        <dsp:cNvSpPr/>
      </dsp:nvSpPr>
      <dsp:spPr>
        <a:xfrm>
          <a:off x="983193" y="3171190"/>
          <a:ext cx="1857735" cy="78813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488950">
            <a:lnSpc>
              <a:spcPct val="90000"/>
            </a:lnSpc>
            <a:spcBef>
              <a:spcPct val="0"/>
            </a:spcBef>
            <a:spcAft>
              <a:spcPct val="35000"/>
            </a:spcAft>
            <a:buNone/>
          </a:pPr>
          <a:r>
            <a:rPr lang="en-GB" sz="1100" b="0" i="0" kern="1200"/>
            <a:t>Verisk has made a strategic investment to support and grow the open data and alternative modelling landscape</a:t>
          </a:r>
          <a:endParaRPr lang="en-US" sz="1100" kern="1200"/>
        </a:p>
      </dsp:txBody>
      <dsp:txXfrm>
        <a:off x="983193" y="3171190"/>
        <a:ext cx="1857735" cy="78813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F744D61-3878-4E2B-A356-BBB56012A9AB}">
      <dsp:nvSpPr>
        <dsp:cNvPr id="0" name=""/>
        <dsp:cNvSpPr/>
      </dsp:nvSpPr>
      <dsp:spPr>
        <a:xfrm>
          <a:off x="44" y="7367"/>
          <a:ext cx="4272855" cy="1000928"/>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b="0" i="0" kern="1200"/>
            <a:t>What makes our platform a success will continue to be our focus:</a:t>
          </a:r>
          <a:endParaRPr lang="en-US" sz="2000" kern="1200"/>
        </a:p>
      </dsp:txBody>
      <dsp:txXfrm>
        <a:off x="44" y="7367"/>
        <a:ext cx="4272855" cy="1000928"/>
      </dsp:txXfrm>
    </dsp:sp>
    <dsp:sp modelId="{5E7B9EEC-C210-414D-A46A-AA661A7C5709}">
      <dsp:nvSpPr>
        <dsp:cNvPr id="0" name=""/>
        <dsp:cNvSpPr/>
      </dsp:nvSpPr>
      <dsp:spPr>
        <a:xfrm>
          <a:off x="44" y="1008295"/>
          <a:ext cx="4272855" cy="3129299"/>
        </a:xfrm>
        <a:prstGeom prst="rect">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GB" sz="2000" b="0" i="0" kern="1200"/>
            <a:t>We will continue to work with any model vendors that have a model in Oasis format</a:t>
          </a:r>
          <a:endParaRPr lang="en-US" sz="2000" kern="1200"/>
        </a:p>
        <a:p>
          <a:pPr marL="228600" lvl="1" indent="-228600" algn="l" defTabSz="889000">
            <a:lnSpc>
              <a:spcPct val="90000"/>
            </a:lnSpc>
            <a:spcBef>
              <a:spcPct val="0"/>
            </a:spcBef>
            <a:spcAft>
              <a:spcPct val="15000"/>
            </a:spcAft>
            <a:buChar char="•"/>
          </a:pPr>
          <a:r>
            <a:rPr lang="en-GB" sz="2000" b="0" i="0" kern="1200"/>
            <a:t>The Model Exchange team will continue to promote models on the platform</a:t>
          </a:r>
          <a:endParaRPr lang="en-US" sz="2000" kern="1200"/>
        </a:p>
        <a:p>
          <a:pPr marL="228600" lvl="1" indent="-228600" algn="l" defTabSz="889000">
            <a:lnSpc>
              <a:spcPct val="90000"/>
            </a:lnSpc>
            <a:spcBef>
              <a:spcPct val="0"/>
            </a:spcBef>
            <a:spcAft>
              <a:spcPct val="15000"/>
            </a:spcAft>
            <a:buChar char="•"/>
          </a:pPr>
          <a:r>
            <a:rPr lang="en-GB" sz="2000" b="0" i="0" kern="1200"/>
            <a:t>Wider Verisk teams will have the information they need to help promote the platform with their clients</a:t>
          </a:r>
          <a:endParaRPr lang="en-US" sz="2000" kern="1200"/>
        </a:p>
      </dsp:txBody>
      <dsp:txXfrm>
        <a:off x="44" y="1008295"/>
        <a:ext cx="4272855" cy="3129299"/>
      </dsp:txXfrm>
    </dsp:sp>
    <dsp:sp modelId="{D6F04EC9-B96B-4F86-9E2C-6A68ECCAC516}">
      <dsp:nvSpPr>
        <dsp:cNvPr id="0" name=""/>
        <dsp:cNvSpPr/>
      </dsp:nvSpPr>
      <dsp:spPr>
        <a:xfrm>
          <a:off x="4871099" y="7367"/>
          <a:ext cx="4272855" cy="1000928"/>
        </a:xfrm>
        <a:prstGeom prst="rect">
          <a:avLst/>
        </a:prstGeom>
        <a:solidFill>
          <a:schemeClr val="accent3">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marL="0" lvl="0" indent="0" algn="ctr" defTabSz="889000">
            <a:lnSpc>
              <a:spcPct val="90000"/>
            </a:lnSpc>
            <a:spcBef>
              <a:spcPct val="0"/>
            </a:spcBef>
            <a:spcAft>
              <a:spcPct val="35000"/>
            </a:spcAft>
            <a:buNone/>
          </a:pPr>
          <a:r>
            <a:rPr lang="en-GB" sz="2000" b="0" i="0" kern="1200"/>
            <a:t>Although we are part of Verisk, there will be controls in place regarding model IP:</a:t>
          </a:r>
          <a:endParaRPr lang="en-US" sz="2000" kern="1200"/>
        </a:p>
      </dsp:txBody>
      <dsp:txXfrm>
        <a:off x="4871099" y="7367"/>
        <a:ext cx="4272855" cy="1000928"/>
      </dsp:txXfrm>
    </dsp:sp>
    <dsp:sp modelId="{47117B1D-D9F9-4019-B54F-25B944369D1D}">
      <dsp:nvSpPr>
        <dsp:cNvPr id="0" name=""/>
        <dsp:cNvSpPr/>
      </dsp:nvSpPr>
      <dsp:spPr>
        <a:xfrm>
          <a:off x="4871099" y="1008295"/>
          <a:ext cx="4272855" cy="3129299"/>
        </a:xfrm>
        <a:prstGeom prst="rect">
          <a:avLst/>
        </a:prstGeom>
        <a:solidFill>
          <a:schemeClr val="accent3">
            <a:alpha val="90000"/>
            <a:tint val="40000"/>
            <a:hueOff val="0"/>
            <a:satOff val="0"/>
            <a:lumOff val="0"/>
            <a:alphaOff val="0"/>
          </a:schemeClr>
        </a:solidFill>
        <a:ln w="25400" cap="flat" cmpd="sng" algn="ctr">
          <a:solidFill>
            <a:schemeClr val="accent3">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ct val="15000"/>
            </a:spcAft>
            <a:buChar char="•"/>
          </a:pPr>
          <a:r>
            <a:rPr lang="en-GB" sz="2000" b="0" i="0" kern="1200"/>
            <a:t>Model data is held in separate systems with strict access controls</a:t>
          </a:r>
          <a:endParaRPr lang="en-US" sz="2000" kern="1200"/>
        </a:p>
        <a:p>
          <a:pPr marL="228600" lvl="1" indent="-228600" algn="l" defTabSz="889000">
            <a:lnSpc>
              <a:spcPct val="90000"/>
            </a:lnSpc>
            <a:spcBef>
              <a:spcPct val="0"/>
            </a:spcBef>
            <a:spcAft>
              <a:spcPct val="15000"/>
            </a:spcAft>
            <a:buChar char="•"/>
          </a:pPr>
          <a:r>
            <a:rPr lang="en-GB" sz="2000" b="0" i="0" kern="1200"/>
            <a:t>Processes are in place to protect the commercial IP of model vendors</a:t>
          </a:r>
          <a:endParaRPr lang="en-US" sz="2000" kern="1200"/>
        </a:p>
      </dsp:txBody>
      <dsp:txXfrm>
        <a:off x="4871099" y="1008295"/>
        <a:ext cx="4272855" cy="3129299"/>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AD7174E-E922-4F0F-BF42-1EF82B89A02F}">
      <dsp:nvSpPr>
        <dsp:cNvPr id="0" name=""/>
        <dsp:cNvSpPr/>
      </dsp:nvSpPr>
      <dsp:spPr>
        <a:xfrm>
          <a:off x="0" y="1720"/>
          <a:ext cx="9144000" cy="87189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00D38B7-E4B9-4EBA-8194-B68AE738B98D}">
      <dsp:nvSpPr>
        <dsp:cNvPr id="0" name=""/>
        <dsp:cNvSpPr/>
      </dsp:nvSpPr>
      <dsp:spPr>
        <a:xfrm>
          <a:off x="263749" y="197897"/>
          <a:ext cx="479544" cy="47954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44D57738-CF2E-429E-B505-BC99488FD6FC}">
      <dsp:nvSpPr>
        <dsp:cNvPr id="0" name=""/>
        <dsp:cNvSpPr/>
      </dsp:nvSpPr>
      <dsp:spPr>
        <a:xfrm>
          <a:off x="1007043" y="1720"/>
          <a:ext cx="8136956" cy="871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276" tIns="92276" rIns="92276" bIns="92276" numCol="1" spcCol="1270" anchor="ctr" anchorCtr="0">
          <a:noAutofit/>
        </a:bodyPr>
        <a:lstStyle/>
        <a:p>
          <a:pPr marL="0" lvl="0" indent="0" algn="l" defTabSz="889000">
            <a:lnSpc>
              <a:spcPct val="100000"/>
            </a:lnSpc>
            <a:spcBef>
              <a:spcPct val="0"/>
            </a:spcBef>
            <a:spcAft>
              <a:spcPct val="35000"/>
            </a:spcAft>
            <a:buNone/>
          </a:pPr>
          <a:r>
            <a:rPr lang="en-GB" sz="2000" kern="1200"/>
            <a:t>Model Exchange will continue to be developed as a standalone platform</a:t>
          </a:r>
          <a:endParaRPr lang="en-US" sz="2000" kern="1200"/>
        </a:p>
      </dsp:txBody>
      <dsp:txXfrm>
        <a:off x="1007043" y="1720"/>
        <a:ext cx="8136956" cy="871899"/>
      </dsp:txXfrm>
    </dsp:sp>
    <dsp:sp modelId="{C9A3FD8C-29E0-4EB8-828D-C40146B8A23E}">
      <dsp:nvSpPr>
        <dsp:cNvPr id="0" name=""/>
        <dsp:cNvSpPr/>
      </dsp:nvSpPr>
      <dsp:spPr>
        <a:xfrm>
          <a:off x="0" y="1091594"/>
          <a:ext cx="9144000" cy="87189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95A6FFE-E5E6-4D05-B078-E595266094BC}">
      <dsp:nvSpPr>
        <dsp:cNvPr id="0" name=""/>
        <dsp:cNvSpPr/>
      </dsp:nvSpPr>
      <dsp:spPr>
        <a:xfrm>
          <a:off x="263749" y="1287772"/>
          <a:ext cx="479544" cy="47954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2B268EB-BF5F-41EE-B93E-9783ADC06FAF}">
      <dsp:nvSpPr>
        <dsp:cNvPr id="0" name=""/>
        <dsp:cNvSpPr/>
      </dsp:nvSpPr>
      <dsp:spPr>
        <a:xfrm>
          <a:off x="1007043" y="1091594"/>
          <a:ext cx="8136956" cy="871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276" tIns="92276" rIns="92276" bIns="92276" numCol="1" spcCol="1270" anchor="ctr" anchorCtr="0">
          <a:noAutofit/>
        </a:bodyPr>
        <a:lstStyle/>
        <a:p>
          <a:pPr marL="0" lvl="0" indent="0" algn="l" defTabSz="889000">
            <a:lnSpc>
              <a:spcPct val="100000"/>
            </a:lnSpc>
            <a:spcBef>
              <a:spcPct val="0"/>
            </a:spcBef>
            <a:spcAft>
              <a:spcPct val="35000"/>
            </a:spcAft>
            <a:buNone/>
          </a:pPr>
          <a:r>
            <a:rPr lang="en-GB" sz="2000" kern="1200"/>
            <a:t>We are growing the number of models and model vendors available via the platform</a:t>
          </a:r>
          <a:endParaRPr lang="en-US" sz="2000" kern="1200"/>
        </a:p>
      </dsp:txBody>
      <dsp:txXfrm>
        <a:off x="1007043" y="1091594"/>
        <a:ext cx="8136956" cy="871899"/>
      </dsp:txXfrm>
    </dsp:sp>
    <dsp:sp modelId="{DABA5C11-2D33-496E-8E8E-354A6371B297}">
      <dsp:nvSpPr>
        <dsp:cNvPr id="0" name=""/>
        <dsp:cNvSpPr/>
      </dsp:nvSpPr>
      <dsp:spPr>
        <a:xfrm>
          <a:off x="0" y="2181468"/>
          <a:ext cx="9144000" cy="87189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7BFC1C1-0504-4AAC-BAF4-3B3EB322A1C3}">
      <dsp:nvSpPr>
        <dsp:cNvPr id="0" name=""/>
        <dsp:cNvSpPr/>
      </dsp:nvSpPr>
      <dsp:spPr>
        <a:xfrm>
          <a:off x="263749" y="2377646"/>
          <a:ext cx="479544" cy="47954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86222AFC-8939-4B0D-B6B4-231996DDC603}">
      <dsp:nvSpPr>
        <dsp:cNvPr id="0" name=""/>
        <dsp:cNvSpPr/>
      </dsp:nvSpPr>
      <dsp:spPr>
        <a:xfrm>
          <a:off x="1007043" y="2181468"/>
          <a:ext cx="8136956" cy="871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276" tIns="92276" rIns="92276" bIns="92276" numCol="1" spcCol="1270" anchor="ctr" anchorCtr="0">
          <a:noAutofit/>
        </a:bodyPr>
        <a:lstStyle/>
        <a:p>
          <a:pPr marL="0" lvl="0" indent="0" algn="l" defTabSz="889000">
            <a:lnSpc>
              <a:spcPct val="100000"/>
            </a:lnSpc>
            <a:spcBef>
              <a:spcPct val="0"/>
            </a:spcBef>
            <a:spcAft>
              <a:spcPct val="35000"/>
            </a:spcAft>
            <a:buNone/>
          </a:pPr>
          <a:r>
            <a:rPr lang="en-GB" sz="2000" kern="1200"/>
            <a:t>The Model Exchange team and Verisk team are working on a robust method to convert data between OED and CEDE exposure formats</a:t>
          </a:r>
          <a:endParaRPr lang="en-US" sz="2000" kern="1200"/>
        </a:p>
      </dsp:txBody>
      <dsp:txXfrm>
        <a:off x="1007043" y="2181468"/>
        <a:ext cx="8136956" cy="871899"/>
      </dsp:txXfrm>
    </dsp:sp>
    <dsp:sp modelId="{427C8F7A-88EF-46F8-BE72-6AF6C1C06352}">
      <dsp:nvSpPr>
        <dsp:cNvPr id="0" name=""/>
        <dsp:cNvSpPr/>
      </dsp:nvSpPr>
      <dsp:spPr>
        <a:xfrm>
          <a:off x="0" y="3271343"/>
          <a:ext cx="9144000" cy="871899"/>
        </a:xfrm>
        <a:prstGeom prst="roundRect">
          <a:avLst>
            <a:gd name="adj" fmla="val 10000"/>
          </a:avLst>
        </a:prstGeom>
        <a:solidFill>
          <a:schemeClr val="accent3">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B80AB6B-86BE-45B5-A8D9-8834C0920A8D}">
      <dsp:nvSpPr>
        <dsp:cNvPr id="0" name=""/>
        <dsp:cNvSpPr/>
      </dsp:nvSpPr>
      <dsp:spPr>
        <a:xfrm>
          <a:off x="263749" y="3467520"/>
          <a:ext cx="479544" cy="479544"/>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BF0E6C4C-E2E7-4D47-90B2-40438E060F0A}">
      <dsp:nvSpPr>
        <dsp:cNvPr id="0" name=""/>
        <dsp:cNvSpPr/>
      </dsp:nvSpPr>
      <dsp:spPr>
        <a:xfrm>
          <a:off x="1007043" y="3271343"/>
          <a:ext cx="8136956" cy="8718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2276" tIns="92276" rIns="92276" bIns="92276" numCol="1" spcCol="1270" anchor="ctr" anchorCtr="0">
          <a:noAutofit/>
        </a:bodyPr>
        <a:lstStyle/>
        <a:p>
          <a:pPr marL="0" lvl="0" indent="0" algn="l" defTabSz="889000">
            <a:lnSpc>
              <a:spcPct val="100000"/>
            </a:lnSpc>
            <a:spcBef>
              <a:spcPct val="0"/>
            </a:spcBef>
            <a:spcAft>
              <a:spcPct val="35000"/>
            </a:spcAft>
            <a:buNone/>
          </a:pPr>
          <a:r>
            <a:rPr lang="en-GB" sz="2000" kern="1200"/>
            <a:t>We will look to integrate Model Exchange with Synergy Studio so clients can gain the benefits of a seamless workflow</a:t>
          </a:r>
          <a:endParaRPr lang="en-US" sz="2000" kern="1200"/>
        </a:p>
      </dsp:txBody>
      <dsp:txXfrm>
        <a:off x="1007043" y="3271343"/>
        <a:ext cx="8136956" cy="87189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2.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E594C0B-EC1E-4908-BF33-9B9D0211B3C0}" type="datetimeFigureOut">
              <a:rPr lang="fr-BE" smtClean="0"/>
              <a:t>01-07-25</a:t>
            </a:fld>
            <a:endParaRPr lang="fr-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039B3E-116E-4255-8D2A-F1AFE35AB9E4}" type="slidenum">
              <a:rPr lang="fr-BE" smtClean="0"/>
              <a:t>‹#›</a:t>
            </a:fld>
            <a:endParaRPr lang="fr-BE"/>
          </a:p>
        </p:txBody>
      </p:sp>
    </p:spTree>
    <p:extLst>
      <p:ext uri="{BB962C8B-B14F-4D97-AF65-F5344CB8AC3E}">
        <p14:creationId xmlns:p14="http://schemas.microsoft.com/office/powerpoint/2010/main" val="14107805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1039B3E-116E-4255-8D2A-F1AFE35AB9E4}" type="slidenum">
              <a:rPr lang="fr-BE" smtClean="0"/>
              <a:t>4</a:t>
            </a:fld>
            <a:endParaRPr lang="fr-BE"/>
          </a:p>
        </p:txBody>
      </p:sp>
    </p:spTree>
    <p:extLst>
      <p:ext uri="{BB962C8B-B14F-4D97-AF65-F5344CB8AC3E}">
        <p14:creationId xmlns:p14="http://schemas.microsoft.com/office/powerpoint/2010/main" val="12883695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2625"/>
            <a:ext cx="5486400" cy="3086100"/>
          </a:xfrm>
        </p:spPr>
      </p:sp>
      <p:sp>
        <p:nvSpPr>
          <p:cNvPr id="3" name="Notes Placeholder 2"/>
          <p:cNvSpPr>
            <a:spLocks noGrp="1"/>
          </p:cNvSpPr>
          <p:nvPr>
            <p:ph type="body" idx="1"/>
          </p:nvPr>
        </p:nvSpPr>
        <p:spPr/>
        <p:txBody>
          <a:bodyPr/>
          <a:lstStyle/>
          <a:p>
            <a:endParaRPr lang="cs-CZ"/>
          </a:p>
        </p:txBody>
      </p:sp>
      <p:sp>
        <p:nvSpPr>
          <p:cNvPr id="4" name="Slide Number Placeholder 3"/>
          <p:cNvSpPr>
            <a:spLocks noGrp="1"/>
          </p:cNvSpPr>
          <p:nvPr>
            <p:ph type="sldNum" sz="quarter" idx="5"/>
          </p:nvPr>
        </p:nvSpPr>
        <p:spPr/>
        <p:txBody>
          <a:bodyPr/>
          <a:lstStyle/>
          <a:p>
            <a:pPr marL="0" marR="0" lvl="0" indent="0" algn="r" defTabSz="914537" rtl="0" eaLnBrk="1" fontAlgn="auto" latinLnBrk="0" hangingPunct="1">
              <a:lnSpc>
                <a:spcPct val="100000"/>
              </a:lnSpc>
              <a:spcBef>
                <a:spcPts val="0"/>
              </a:spcBef>
              <a:spcAft>
                <a:spcPts val="0"/>
              </a:spcAft>
              <a:buClrTx/>
              <a:buSzTx/>
              <a:buFontTx/>
              <a:buNone/>
              <a:tabLst/>
              <a:defRPr/>
            </a:pPr>
            <a:fld id="{C6AF102A-BCD4-D14F-9CE7-7BB6C2F4C31B}" type="slidenum">
              <a:rPr kumimoji="0" lang="en-GB" sz="1000" b="0" i="0" u="none" strike="noStrike" kern="1200" cap="none" spc="0" normalizeH="0" baseline="0" noProof="0" smtClean="0">
                <a:ln>
                  <a:noFill/>
                </a:ln>
                <a:solidFill>
                  <a:srgbClr val="000000"/>
                </a:solidFill>
                <a:effectLst/>
                <a:uLnTx/>
                <a:uFillTx/>
                <a:latin typeface="Helvetica Now Text"/>
                <a:ea typeface="+mn-ea"/>
                <a:cs typeface="+mn-cs"/>
              </a:rPr>
              <a:pPr marL="0" marR="0" lvl="0" indent="0" algn="r" defTabSz="914537" rtl="0" eaLnBrk="1" fontAlgn="auto" latinLnBrk="0" hangingPunct="1">
                <a:lnSpc>
                  <a:spcPct val="100000"/>
                </a:lnSpc>
                <a:spcBef>
                  <a:spcPts val="0"/>
                </a:spcBef>
                <a:spcAft>
                  <a:spcPts val="0"/>
                </a:spcAft>
                <a:buClrTx/>
                <a:buSzTx/>
                <a:buFontTx/>
                <a:buNone/>
                <a:tabLst/>
                <a:defRPr/>
              </a:pPr>
              <a:t>5</a:t>
            </a:fld>
            <a:endParaRPr kumimoji="0" lang="en-GB" sz="1000" b="0" i="0" u="none" strike="noStrike" kern="1200" cap="none" spc="0" normalizeH="0" baseline="0" noProof="0">
              <a:ln>
                <a:noFill/>
              </a:ln>
              <a:solidFill>
                <a:srgbClr val="000000"/>
              </a:solidFill>
              <a:effectLst/>
              <a:uLnTx/>
              <a:uFillTx/>
              <a:latin typeface="Helvetica Now Text"/>
              <a:ea typeface="+mn-ea"/>
              <a:cs typeface="+mn-cs"/>
            </a:endParaRPr>
          </a:p>
        </p:txBody>
      </p:sp>
    </p:spTree>
    <p:extLst>
      <p:ext uri="{BB962C8B-B14F-4D97-AF65-F5344CB8AC3E}">
        <p14:creationId xmlns:p14="http://schemas.microsoft.com/office/powerpoint/2010/main" val="33550740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2625"/>
            <a:ext cx="5486400" cy="3086100"/>
          </a:xfrm>
        </p:spPr>
      </p:sp>
      <p:sp>
        <p:nvSpPr>
          <p:cNvPr id="3" name="Notes Placeholder 2"/>
          <p:cNvSpPr>
            <a:spLocks noGrp="1"/>
          </p:cNvSpPr>
          <p:nvPr>
            <p:ph type="body" idx="1"/>
          </p:nvPr>
        </p:nvSpPr>
        <p:spPr/>
        <p:txBody>
          <a:bodyPr/>
          <a:lstStyle/>
          <a:p>
            <a:endParaRPr lang="cs-CZ"/>
          </a:p>
        </p:txBody>
      </p:sp>
      <p:sp>
        <p:nvSpPr>
          <p:cNvPr id="4" name="Slide Number Placeholder 3"/>
          <p:cNvSpPr>
            <a:spLocks noGrp="1"/>
          </p:cNvSpPr>
          <p:nvPr>
            <p:ph type="sldNum" sz="quarter" idx="5"/>
          </p:nvPr>
        </p:nvSpPr>
        <p:spPr/>
        <p:txBody>
          <a:bodyPr/>
          <a:lstStyle/>
          <a:p>
            <a:pPr marL="0" marR="0" lvl="0" indent="0" algn="r" defTabSz="914537" rtl="0" eaLnBrk="1" fontAlgn="auto" latinLnBrk="0" hangingPunct="1">
              <a:lnSpc>
                <a:spcPct val="100000"/>
              </a:lnSpc>
              <a:spcBef>
                <a:spcPts val="0"/>
              </a:spcBef>
              <a:spcAft>
                <a:spcPts val="0"/>
              </a:spcAft>
              <a:buClrTx/>
              <a:buSzTx/>
              <a:buFontTx/>
              <a:buNone/>
              <a:tabLst/>
              <a:defRPr/>
            </a:pPr>
            <a:fld id="{C6AF102A-BCD4-D14F-9CE7-7BB6C2F4C31B}" type="slidenum">
              <a:rPr kumimoji="0" lang="en-GB" sz="1000" b="0" i="0" u="none" strike="noStrike" kern="1200" cap="none" spc="0" normalizeH="0" baseline="0" noProof="0" smtClean="0">
                <a:ln>
                  <a:noFill/>
                </a:ln>
                <a:solidFill>
                  <a:srgbClr val="000000"/>
                </a:solidFill>
                <a:effectLst/>
                <a:uLnTx/>
                <a:uFillTx/>
                <a:latin typeface="Helvetica Now Text"/>
                <a:ea typeface="+mn-ea"/>
                <a:cs typeface="+mn-cs"/>
              </a:rPr>
              <a:pPr marL="0" marR="0" lvl="0" indent="0" algn="r" defTabSz="914537" rtl="0" eaLnBrk="1" fontAlgn="auto" latinLnBrk="0" hangingPunct="1">
                <a:lnSpc>
                  <a:spcPct val="100000"/>
                </a:lnSpc>
                <a:spcBef>
                  <a:spcPts val="0"/>
                </a:spcBef>
                <a:spcAft>
                  <a:spcPts val="0"/>
                </a:spcAft>
                <a:buClrTx/>
                <a:buSzTx/>
                <a:buFontTx/>
                <a:buNone/>
                <a:tabLst/>
                <a:defRPr/>
              </a:pPr>
              <a:t>6</a:t>
            </a:fld>
            <a:endParaRPr kumimoji="0" lang="en-GB" sz="1000" b="0" i="0" u="none" strike="noStrike" kern="1200" cap="none" spc="0" normalizeH="0" baseline="0" noProof="0">
              <a:ln>
                <a:noFill/>
              </a:ln>
              <a:solidFill>
                <a:srgbClr val="000000"/>
              </a:solidFill>
              <a:effectLst/>
              <a:uLnTx/>
              <a:uFillTx/>
              <a:latin typeface="Helvetica Now Text"/>
              <a:ea typeface="+mn-ea"/>
              <a:cs typeface="+mn-cs"/>
            </a:endParaRPr>
          </a:p>
        </p:txBody>
      </p:sp>
    </p:spTree>
    <p:extLst>
      <p:ext uri="{BB962C8B-B14F-4D97-AF65-F5344CB8AC3E}">
        <p14:creationId xmlns:p14="http://schemas.microsoft.com/office/powerpoint/2010/main" val="294090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2625"/>
            <a:ext cx="5486400" cy="3086100"/>
          </a:xfrm>
        </p:spPr>
      </p:sp>
      <p:sp>
        <p:nvSpPr>
          <p:cNvPr id="3" name="Notes Placeholder 2"/>
          <p:cNvSpPr>
            <a:spLocks noGrp="1"/>
          </p:cNvSpPr>
          <p:nvPr>
            <p:ph type="body" idx="1"/>
          </p:nvPr>
        </p:nvSpPr>
        <p:spPr/>
        <p:txBody>
          <a:bodyPr/>
          <a:lstStyle/>
          <a:p>
            <a:pPr marL="0" marR="0" lvl="0" indent="0" algn="l" defTabSz="457291" rtl="0" eaLnBrk="1" fontAlgn="auto" latinLnBrk="0" hangingPunct="1">
              <a:lnSpc>
                <a:spcPct val="100000"/>
              </a:lnSpc>
              <a:spcBef>
                <a:spcPts val="0"/>
              </a:spcBef>
              <a:spcAft>
                <a:spcPts val="600"/>
              </a:spcAft>
              <a:buClrTx/>
              <a:buSzTx/>
              <a:buFontTx/>
              <a:buNone/>
              <a:tabLst/>
              <a:defRPr/>
            </a:pPr>
            <a:r>
              <a:rPr lang="en-US" sz="1100" b="1"/>
              <a:t>(IF, ERN, other 3</a:t>
            </a:r>
            <a:r>
              <a:rPr lang="en-US" sz="1100" b="1" baseline="30000"/>
              <a:t>rd</a:t>
            </a:r>
            <a:r>
              <a:rPr lang="en-US" sz="1100" b="1"/>
              <a:t> party model)</a:t>
            </a:r>
            <a:endParaRPr lang="cs-CZ"/>
          </a:p>
          <a:p>
            <a:endParaRPr lang="cs-CZ"/>
          </a:p>
        </p:txBody>
      </p:sp>
      <p:sp>
        <p:nvSpPr>
          <p:cNvPr id="4" name="Slide Number Placeholder 3"/>
          <p:cNvSpPr>
            <a:spLocks noGrp="1"/>
          </p:cNvSpPr>
          <p:nvPr>
            <p:ph type="sldNum" sz="quarter" idx="5"/>
          </p:nvPr>
        </p:nvSpPr>
        <p:spPr/>
        <p:txBody>
          <a:bodyPr/>
          <a:lstStyle/>
          <a:p>
            <a:pPr marL="0" marR="0" lvl="0" indent="0" algn="r" defTabSz="914537" rtl="0" eaLnBrk="1" fontAlgn="auto" latinLnBrk="0" hangingPunct="1">
              <a:lnSpc>
                <a:spcPct val="100000"/>
              </a:lnSpc>
              <a:spcBef>
                <a:spcPts val="0"/>
              </a:spcBef>
              <a:spcAft>
                <a:spcPts val="0"/>
              </a:spcAft>
              <a:buClrTx/>
              <a:buSzTx/>
              <a:buFontTx/>
              <a:buNone/>
              <a:tabLst/>
              <a:defRPr/>
            </a:pPr>
            <a:fld id="{C6AF102A-BCD4-D14F-9CE7-7BB6C2F4C31B}" type="slidenum">
              <a:rPr kumimoji="0" lang="en-GB" sz="1000" b="0" i="0" u="none" strike="noStrike" kern="1200" cap="none" spc="0" normalizeH="0" baseline="0" noProof="0" smtClean="0">
                <a:ln>
                  <a:noFill/>
                </a:ln>
                <a:solidFill>
                  <a:srgbClr val="000000"/>
                </a:solidFill>
                <a:effectLst/>
                <a:uLnTx/>
                <a:uFillTx/>
                <a:latin typeface="Helvetica Now Text"/>
                <a:ea typeface="+mn-ea"/>
                <a:cs typeface="+mn-cs"/>
              </a:rPr>
              <a:pPr marL="0" marR="0" lvl="0" indent="0" algn="r" defTabSz="914537" rtl="0" eaLnBrk="1" fontAlgn="auto" latinLnBrk="0" hangingPunct="1">
                <a:lnSpc>
                  <a:spcPct val="100000"/>
                </a:lnSpc>
                <a:spcBef>
                  <a:spcPts val="0"/>
                </a:spcBef>
                <a:spcAft>
                  <a:spcPts val="0"/>
                </a:spcAft>
                <a:buClrTx/>
                <a:buSzTx/>
                <a:buFontTx/>
                <a:buNone/>
                <a:tabLst/>
                <a:defRPr/>
              </a:pPr>
              <a:t>7</a:t>
            </a:fld>
            <a:endParaRPr kumimoji="0" lang="en-GB" sz="1000" b="0" i="0" u="none" strike="noStrike" kern="1200" cap="none" spc="0" normalizeH="0" baseline="0" noProof="0">
              <a:ln>
                <a:noFill/>
              </a:ln>
              <a:solidFill>
                <a:srgbClr val="000000"/>
              </a:solidFill>
              <a:effectLst/>
              <a:uLnTx/>
              <a:uFillTx/>
              <a:latin typeface="Helvetica Now Text"/>
              <a:ea typeface="+mn-ea"/>
              <a:cs typeface="+mn-cs"/>
            </a:endParaRPr>
          </a:p>
        </p:txBody>
      </p:sp>
    </p:spTree>
    <p:extLst>
      <p:ext uri="{BB962C8B-B14F-4D97-AF65-F5344CB8AC3E}">
        <p14:creationId xmlns:p14="http://schemas.microsoft.com/office/powerpoint/2010/main" val="589792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2625"/>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537" rtl="0" eaLnBrk="1" fontAlgn="auto" latinLnBrk="0" hangingPunct="1">
              <a:lnSpc>
                <a:spcPct val="100000"/>
              </a:lnSpc>
              <a:spcBef>
                <a:spcPts val="0"/>
              </a:spcBef>
              <a:spcAft>
                <a:spcPts val="0"/>
              </a:spcAft>
              <a:buClrTx/>
              <a:buSzTx/>
              <a:buFontTx/>
              <a:buNone/>
              <a:tabLst/>
              <a:defRPr/>
            </a:pPr>
            <a:fld id="{D1C7FB31-0C7B-4DF9-A9BC-6BD9C278B254}" type="slidenum">
              <a:rPr kumimoji="0" lang="en-GB" sz="1000" b="0" i="0" u="none" strike="noStrike" kern="1200" cap="none" spc="0" normalizeH="0" baseline="0" noProof="0" smtClean="0">
                <a:ln>
                  <a:noFill/>
                </a:ln>
                <a:solidFill>
                  <a:srgbClr val="000000"/>
                </a:solidFill>
                <a:effectLst/>
                <a:uLnTx/>
                <a:uFillTx/>
                <a:latin typeface="Helvetica Now Text"/>
                <a:ea typeface="+mn-ea"/>
                <a:cs typeface="+mn-cs"/>
              </a:rPr>
              <a:pPr marL="0" marR="0" lvl="0" indent="0" algn="r" defTabSz="914537" rtl="0" eaLnBrk="1" fontAlgn="auto" latinLnBrk="0" hangingPunct="1">
                <a:lnSpc>
                  <a:spcPct val="100000"/>
                </a:lnSpc>
                <a:spcBef>
                  <a:spcPts val="0"/>
                </a:spcBef>
                <a:spcAft>
                  <a:spcPts val="0"/>
                </a:spcAft>
                <a:buClrTx/>
                <a:buSzTx/>
                <a:buFontTx/>
                <a:buNone/>
                <a:tabLst/>
                <a:defRPr/>
              </a:pPr>
              <a:t>8</a:t>
            </a:fld>
            <a:endParaRPr kumimoji="0" lang="en-GB" sz="1000" b="0" i="0" u="none" strike="noStrike" kern="1200" cap="none" spc="0" normalizeH="0" baseline="0" noProof="0">
              <a:ln>
                <a:noFill/>
              </a:ln>
              <a:solidFill>
                <a:srgbClr val="000000"/>
              </a:solidFill>
              <a:effectLst/>
              <a:uLnTx/>
              <a:uFillTx/>
              <a:latin typeface="Helvetica Now Text"/>
              <a:ea typeface="+mn-ea"/>
              <a:cs typeface="+mn-cs"/>
            </a:endParaRPr>
          </a:p>
        </p:txBody>
      </p:sp>
    </p:spTree>
    <p:extLst>
      <p:ext uri="{BB962C8B-B14F-4D97-AF65-F5344CB8AC3E}">
        <p14:creationId xmlns:p14="http://schemas.microsoft.com/office/powerpoint/2010/main" val="259764796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682625"/>
            <a:ext cx="5486400" cy="3086100"/>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537" rtl="0" eaLnBrk="1" fontAlgn="auto" latinLnBrk="0" hangingPunct="1">
              <a:lnSpc>
                <a:spcPct val="100000"/>
              </a:lnSpc>
              <a:spcBef>
                <a:spcPts val="0"/>
              </a:spcBef>
              <a:spcAft>
                <a:spcPts val="0"/>
              </a:spcAft>
              <a:buClrTx/>
              <a:buSzTx/>
              <a:buFontTx/>
              <a:buNone/>
              <a:tabLst/>
              <a:defRPr/>
            </a:pPr>
            <a:fld id="{C6AF102A-BCD4-D14F-9CE7-7BB6C2F4C31B}" type="slidenum">
              <a:rPr kumimoji="0" lang="en-GB" sz="1000" b="0" i="0" u="none" strike="noStrike" kern="1200" cap="none" spc="0" normalizeH="0" baseline="0" noProof="0" smtClean="0">
                <a:ln>
                  <a:noFill/>
                </a:ln>
                <a:solidFill>
                  <a:srgbClr val="000000"/>
                </a:solidFill>
                <a:effectLst/>
                <a:uLnTx/>
                <a:uFillTx/>
                <a:latin typeface="Helvetica Now Text"/>
                <a:ea typeface="+mn-ea"/>
                <a:cs typeface="+mn-cs"/>
              </a:rPr>
              <a:pPr marL="0" marR="0" lvl="0" indent="0" algn="r" defTabSz="914537" rtl="0" eaLnBrk="1" fontAlgn="auto" latinLnBrk="0" hangingPunct="1">
                <a:lnSpc>
                  <a:spcPct val="100000"/>
                </a:lnSpc>
                <a:spcBef>
                  <a:spcPts val="0"/>
                </a:spcBef>
                <a:spcAft>
                  <a:spcPts val="0"/>
                </a:spcAft>
                <a:buClrTx/>
                <a:buSzTx/>
                <a:buFontTx/>
                <a:buNone/>
                <a:tabLst/>
                <a:defRPr/>
              </a:pPr>
              <a:t>9</a:t>
            </a:fld>
            <a:endParaRPr kumimoji="0" lang="en-GB" sz="1000" b="0" i="0" u="none" strike="noStrike" kern="1200" cap="none" spc="0" normalizeH="0" baseline="0" noProof="0">
              <a:ln>
                <a:noFill/>
              </a:ln>
              <a:solidFill>
                <a:srgbClr val="000000"/>
              </a:solidFill>
              <a:effectLst/>
              <a:uLnTx/>
              <a:uFillTx/>
              <a:latin typeface="Helvetica Now Text"/>
              <a:ea typeface="+mn-ea"/>
              <a:cs typeface="+mn-cs"/>
            </a:endParaRPr>
          </a:p>
        </p:txBody>
      </p:sp>
    </p:spTree>
    <p:extLst>
      <p:ext uri="{BB962C8B-B14F-4D97-AF65-F5344CB8AC3E}">
        <p14:creationId xmlns:p14="http://schemas.microsoft.com/office/powerpoint/2010/main" val="179041211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7435F94-B76E-4C4F-9CC1-16C116738A31}" type="slidenum">
              <a:rPr lang="en-US" smtClean="0"/>
              <a:pPr/>
              <a:t>10</a:t>
            </a:fld>
            <a:endParaRPr lang="en-US"/>
          </a:p>
        </p:txBody>
      </p:sp>
    </p:spTree>
    <p:extLst>
      <p:ext uri="{BB962C8B-B14F-4D97-AF65-F5344CB8AC3E}">
        <p14:creationId xmlns:p14="http://schemas.microsoft.com/office/powerpoint/2010/main" val="367906824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2.svg"/><Relationship Id="rId2" Type="http://schemas.openxmlformats.org/officeDocument/2006/relationships/slideMaster" Target="../slideMasters/slideMaster2.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11.jpeg"/><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12.svg"/><Relationship Id="rId2" Type="http://schemas.openxmlformats.org/officeDocument/2006/relationships/slideMaster" Target="../slideMasters/slideMaster2.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1.jpeg"/><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3.png"/><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14.emf"/><Relationship Id="rId4" Type="http://schemas.openxmlformats.org/officeDocument/2006/relationships/oleObject" Target="../embeddings/oleObject3.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 V1">
    <p:bg>
      <p:bgPr>
        <a:solidFill>
          <a:schemeClr val="bg2"/>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0D0CC93-23EA-4BD0-A0BD-433E4D1229ED}"/>
              </a:ext>
            </a:extLst>
          </p:cNvPr>
          <p:cNvSpPr/>
          <p:nvPr userDrawn="1"/>
        </p:nvSpPr>
        <p:spPr>
          <a:xfrm>
            <a:off x="0" y="0"/>
            <a:ext cx="12192000" cy="6858000"/>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reeform: Shape 3">
            <a:extLst>
              <a:ext uri="{FF2B5EF4-FFF2-40B4-BE49-F238E27FC236}">
                <a16:creationId xmlns:a16="http://schemas.microsoft.com/office/drawing/2014/main" id="{8681D24C-ADC9-4F96-9A7F-95456DA79B7B}"/>
              </a:ext>
            </a:extLst>
          </p:cNvPr>
          <p:cNvSpPr/>
          <p:nvPr userDrawn="1"/>
        </p:nvSpPr>
        <p:spPr>
          <a:xfrm>
            <a:off x="0" y="0"/>
            <a:ext cx="12192000" cy="6858000"/>
          </a:xfrm>
          <a:custGeom>
            <a:avLst/>
            <a:gdLst>
              <a:gd name="connsiteX0" fmla="*/ 640633 w 12192000"/>
              <a:gd name="connsiteY0" fmla="*/ 368300 h 6858000"/>
              <a:gd name="connsiteX1" fmla="*/ 371475 w 12192000"/>
              <a:gd name="connsiteY1" fmla="*/ 637458 h 6858000"/>
              <a:gd name="connsiteX2" fmla="*/ 371475 w 12192000"/>
              <a:gd name="connsiteY2" fmla="*/ 6220542 h 6858000"/>
              <a:gd name="connsiteX3" fmla="*/ 640633 w 12192000"/>
              <a:gd name="connsiteY3" fmla="*/ 6489700 h 6858000"/>
              <a:gd name="connsiteX4" fmla="*/ 11551367 w 12192000"/>
              <a:gd name="connsiteY4" fmla="*/ 6489700 h 6858000"/>
              <a:gd name="connsiteX5" fmla="*/ 11820525 w 12192000"/>
              <a:gd name="connsiteY5" fmla="*/ 6220542 h 6858000"/>
              <a:gd name="connsiteX6" fmla="*/ 11820525 w 12192000"/>
              <a:gd name="connsiteY6" fmla="*/ 637458 h 6858000"/>
              <a:gd name="connsiteX7" fmla="*/ 11551367 w 12192000"/>
              <a:gd name="connsiteY7" fmla="*/ 3683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40633" y="368300"/>
                </a:moveTo>
                <a:cubicBezTo>
                  <a:pt x="491981" y="368300"/>
                  <a:pt x="371475" y="488806"/>
                  <a:pt x="371475" y="637458"/>
                </a:cubicBezTo>
                <a:lnTo>
                  <a:pt x="371475" y="6220542"/>
                </a:lnTo>
                <a:cubicBezTo>
                  <a:pt x="371475" y="6369194"/>
                  <a:pt x="491981" y="6489700"/>
                  <a:pt x="640633" y="6489700"/>
                </a:cubicBezTo>
                <a:lnTo>
                  <a:pt x="11551367" y="6489700"/>
                </a:lnTo>
                <a:cubicBezTo>
                  <a:pt x="11700019" y="6489700"/>
                  <a:pt x="11820525" y="6369194"/>
                  <a:pt x="11820525" y="6220542"/>
                </a:cubicBezTo>
                <a:lnTo>
                  <a:pt x="11820525" y="637458"/>
                </a:lnTo>
                <a:cubicBezTo>
                  <a:pt x="11820525" y="488806"/>
                  <a:pt x="11700019" y="368300"/>
                  <a:pt x="11551367" y="368300"/>
                </a:cubicBezTo>
                <a:close/>
                <a:moveTo>
                  <a:pt x="0" y="0"/>
                </a:moveTo>
                <a:lnTo>
                  <a:pt x="12192000" y="0"/>
                </a:lnTo>
                <a:lnTo>
                  <a:pt x="1219200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BE"/>
          </a:p>
        </p:txBody>
      </p:sp>
      <p:grpSp>
        <p:nvGrpSpPr>
          <p:cNvPr id="5" name="Groupe 22">
            <a:extLst>
              <a:ext uri="{FF2B5EF4-FFF2-40B4-BE49-F238E27FC236}">
                <a16:creationId xmlns:a16="http://schemas.microsoft.com/office/drawing/2014/main" id="{2B32DBD4-A425-4C9E-AB3F-50820ABE35E2}"/>
              </a:ext>
            </a:extLst>
          </p:cNvPr>
          <p:cNvGrpSpPr/>
          <p:nvPr userDrawn="1"/>
        </p:nvGrpSpPr>
        <p:grpSpPr>
          <a:xfrm>
            <a:off x="4341018" y="2930841"/>
            <a:ext cx="3509961" cy="997017"/>
            <a:chOff x="-838200" y="8253511"/>
            <a:chExt cx="12192000" cy="3463176"/>
          </a:xfrm>
          <a:solidFill>
            <a:schemeClr val="bg1"/>
          </a:solidFill>
        </p:grpSpPr>
        <p:sp>
          <p:nvSpPr>
            <p:cNvPr id="6" name="Forme libre : forme 23">
              <a:extLst>
                <a:ext uri="{FF2B5EF4-FFF2-40B4-BE49-F238E27FC236}">
                  <a16:creationId xmlns:a16="http://schemas.microsoft.com/office/drawing/2014/main" id="{02DB79CB-4FD3-4EEA-BEAE-F9E90E8A8DC1}"/>
                </a:ext>
              </a:extLst>
            </p:cNvPr>
            <p:cNvSpPr/>
            <p:nvPr/>
          </p:nvSpPr>
          <p:spPr>
            <a:xfrm>
              <a:off x="-838200" y="10819488"/>
              <a:ext cx="12192000" cy="897199"/>
            </a:xfrm>
            <a:custGeom>
              <a:avLst/>
              <a:gdLst>
                <a:gd name="connsiteX0" fmla="*/ 12198649 w 12192000"/>
                <a:gd name="connsiteY0" fmla="*/ 885124 h 897199"/>
                <a:gd name="connsiteX1" fmla="*/ 12097839 w 12192000"/>
                <a:gd name="connsiteY1" fmla="*/ 885124 h 897199"/>
                <a:gd name="connsiteX2" fmla="*/ 11805730 w 12192000"/>
                <a:gd name="connsiteY2" fmla="*/ 581421 h 897199"/>
                <a:gd name="connsiteX3" fmla="*/ 11805730 w 12192000"/>
                <a:gd name="connsiteY3" fmla="*/ 885124 h 897199"/>
                <a:gd name="connsiteX4" fmla="*/ 11732688 w 12192000"/>
                <a:gd name="connsiteY4" fmla="*/ 885124 h 897199"/>
                <a:gd name="connsiteX5" fmla="*/ 11732688 w 12192000"/>
                <a:gd name="connsiteY5" fmla="*/ 15789 h 897199"/>
                <a:gd name="connsiteX6" fmla="*/ 11805730 w 12192000"/>
                <a:gd name="connsiteY6" fmla="*/ 15789 h 897199"/>
                <a:gd name="connsiteX7" fmla="*/ 11805730 w 12192000"/>
                <a:gd name="connsiteY7" fmla="*/ 536236 h 897199"/>
                <a:gd name="connsiteX8" fmla="*/ 12070007 w 12192000"/>
                <a:gd name="connsiteY8" fmla="*/ 293982 h 897199"/>
                <a:gd name="connsiteX9" fmla="*/ 12163887 w 12192000"/>
                <a:gd name="connsiteY9" fmla="*/ 293982 h 897199"/>
                <a:gd name="connsiteX10" fmla="*/ 11875270 w 12192000"/>
                <a:gd name="connsiteY10" fmla="*/ 555961 h 897199"/>
                <a:gd name="connsiteX11" fmla="*/ 12198649 w 12192000"/>
                <a:gd name="connsiteY11" fmla="*/ 885124 h 897199"/>
                <a:gd name="connsiteX12" fmla="*/ 11444120 w 12192000"/>
                <a:gd name="connsiteY12" fmla="*/ 342661 h 897199"/>
                <a:gd name="connsiteX13" fmla="*/ 11316608 w 12192000"/>
                <a:gd name="connsiteY13" fmla="*/ 441203 h 897199"/>
                <a:gd name="connsiteX14" fmla="*/ 11607548 w 12192000"/>
                <a:gd name="connsiteY14" fmla="*/ 730989 h 897199"/>
                <a:gd name="connsiteX15" fmla="*/ 11401218 w 12192000"/>
                <a:gd name="connsiteY15" fmla="*/ 899088 h 897199"/>
                <a:gd name="connsiteX16" fmla="*/ 11235475 w 12192000"/>
                <a:gd name="connsiteY16" fmla="*/ 871248 h 897199"/>
                <a:gd name="connsiteX17" fmla="*/ 11242445 w 12192000"/>
                <a:gd name="connsiteY17" fmla="*/ 799384 h 897199"/>
                <a:gd name="connsiteX18" fmla="*/ 11396595 w 12192000"/>
                <a:gd name="connsiteY18" fmla="*/ 836485 h 897199"/>
                <a:gd name="connsiteX19" fmla="*/ 11527584 w 12192000"/>
                <a:gd name="connsiteY19" fmla="*/ 730989 h 897199"/>
                <a:gd name="connsiteX20" fmla="*/ 11243590 w 12192000"/>
                <a:gd name="connsiteY20" fmla="*/ 441203 h 897199"/>
                <a:gd name="connsiteX21" fmla="*/ 11436004 w 12192000"/>
                <a:gd name="connsiteY21" fmla="*/ 280106 h 897199"/>
                <a:gd name="connsiteX22" fmla="*/ 11582055 w 12192000"/>
                <a:gd name="connsiteY22" fmla="*/ 306761 h 897199"/>
                <a:gd name="connsiteX23" fmla="*/ 11575085 w 12192000"/>
                <a:gd name="connsiteY23" fmla="*/ 370533 h 897199"/>
                <a:gd name="connsiteX24" fmla="*/ 11444120 w 12192000"/>
                <a:gd name="connsiteY24" fmla="*/ 342701 h 897199"/>
                <a:gd name="connsiteX25" fmla="*/ 11036115 w 12192000"/>
                <a:gd name="connsiteY25" fmla="*/ 38950 h 897199"/>
                <a:gd name="connsiteX26" fmla="*/ 11109148 w 12192000"/>
                <a:gd name="connsiteY26" fmla="*/ 38950 h 897199"/>
                <a:gd name="connsiteX27" fmla="*/ 11109148 w 12192000"/>
                <a:gd name="connsiteY27" fmla="*/ 136339 h 897199"/>
                <a:gd name="connsiteX28" fmla="*/ 11036115 w 12192000"/>
                <a:gd name="connsiteY28" fmla="*/ 136339 h 897199"/>
                <a:gd name="connsiteX29" fmla="*/ 11036115 w 12192000"/>
                <a:gd name="connsiteY29" fmla="*/ 38950 h 897199"/>
                <a:gd name="connsiteX30" fmla="*/ 11036115 w 12192000"/>
                <a:gd name="connsiteY30" fmla="*/ 885124 h 897199"/>
                <a:gd name="connsiteX31" fmla="*/ 11036115 w 12192000"/>
                <a:gd name="connsiteY31" fmla="*/ 293982 h 897199"/>
                <a:gd name="connsiteX32" fmla="*/ 11109148 w 12192000"/>
                <a:gd name="connsiteY32" fmla="*/ 293982 h 897199"/>
                <a:gd name="connsiteX33" fmla="*/ 11109148 w 12192000"/>
                <a:gd name="connsiteY33" fmla="*/ 885124 h 897199"/>
                <a:gd name="connsiteX34" fmla="*/ 10570226 w 12192000"/>
                <a:gd name="connsiteY34" fmla="*/ 145600 h 897199"/>
                <a:gd name="connsiteX35" fmla="*/ 10487892 w 12192000"/>
                <a:gd name="connsiteY35" fmla="*/ 145600 h 897199"/>
                <a:gd name="connsiteX36" fmla="*/ 10487892 w 12192000"/>
                <a:gd name="connsiteY36" fmla="*/ 434217 h 897199"/>
                <a:gd name="connsiteX37" fmla="*/ 10572525 w 12192000"/>
                <a:gd name="connsiteY37" fmla="*/ 434217 h 897199"/>
                <a:gd name="connsiteX38" fmla="*/ 10774209 w 12192000"/>
                <a:gd name="connsiteY38" fmla="*/ 285859 h 897199"/>
                <a:gd name="connsiteX39" fmla="*/ 10570226 w 12192000"/>
                <a:gd name="connsiteY39" fmla="*/ 145600 h 897199"/>
                <a:gd name="connsiteX40" fmla="*/ 10674529 w 12192000"/>
                <a:gd name="connsiteY40" fmla="*/ 472472 h 897199"/>
                <a:gd name="connsiteX41" fmla="*/ 10674529 w 12192000"/>
                <a:gd name="connsiteY41" fmla="*/ 474795 h 897199"/>
                <a:gd name="connsiteX42" fmla="*/ 10778855 w 12192000"/>
                <a:gd name="connsiteY42" fmla="*/ 572176 h 897199"/>
                <a:gd name="connsiteX43" fmla="*/ 10916799 w 12192000"/>
                <a:gd name="connsiteY43" fmla="*/ 885124 h 897199"/>
                <a:gd name="connsiteX44" fmla="*/ 10828671 w 12192000"/>
                <a:gd name="connsiteY44" fmla="*/ 885124 h 897199"/>
                <a:gd name="connsiteX45" fmla="*/ 10711598 w 12192000"/>
                <a:gd name="connsiteY45" fmla="*/ 611561 h 897199"/>
                <a:gd name="connsiteX46" fmla="*/ 10553987 w 12192000"/>
                <a:gd name="connsiteY46" fmla="*/ 503757 h 897199"/>
                <a:gd name="connsiteX47" fmla="*/ 10487892 w 12192000"/>
                <a:gd name="connsiteY47" fmla="*/ 503757 h 897199"/>
                <a:gd name="connsiteX48" fmla="*/ 10487892 w 12192000"/>
                <a:gd name="connsiteY48" fmla="*/ 885108 h 897199"/>
                <a:gd name="connsiteX49" fmla="*/ 10407928 w 12192000"/>
                <a:gd name="connsiteY49" fmla="*/ 885108 h 897199"/>
                <a:gd name="connsiteX50" fmla="*/ 10407928 w 12192000"/>
                <a:gd name="connsiteY50" fmla="*/ 76060 h 897199"/>
                <a:gd name="connsiteX51" fmla="*/ 10616581 w 12192000"/>
                <a:gd name="connsiteY51" fmla="*/ 76060 h 897199"/>
                <a:gd name="connsiteX52" fmla="*/ 10854188 w 12192000"/>
                <a:gd name="connsiteY52" fmla="*/ 285859 h 897199"/>
                <a:gd name="connsiteX53" fmla="*/ 10674529 w 12192000"/>
                <a:gd name="connsiteY53" fmla="*/ 472472 h 897199"/>
                <a:gd name="connsiteX54" fmla="*/ 9970977 w 12192000"/>
                <a:gd name="connsiteY54" fmla="*/ 77229 h 897199"/>
                <a:gd name="connsiteX55" fmla="*/ 9913053 w 12192000"/>
                <a:gd name="connsiteY55" fmla="*/ 64483 h 897199"/>
                <a:gd name="connsiteX56" fmla="*/ 9823773 w 12192000"/>
                <a:gd name="connsiteY56" fmla="*/ 242981 h 897199"/>
                <a:gd name="connsiteX57" fmla="*/ 9823773 w 12192000"/>
                <a:gd name="connsiteY57" fmla="*/ 293982 h 897199"/>
                <a:gd name="connsiteX58" fmla="*/ 9957061 w 12192000"/>
                <a:gd name="connsiteY58" fmla="*/ 293982 h 897199"/>
                <a:gd name="connsiteX59" fmla="*/ 9957061 w 12192000"/>
                <a:gd name="connsiteY59" fmla="*/ 356577 h 897199"/>
                <a:gd name="connsiteX60" fmla="*/ 9823773 w 12192000"/>
                <a:gd name="connsiteY60" fmla="*/ 356577 h 897199"/>
                <a:gd name="connsiteX61" fmla="*/ 9823773 w 12192000"/>
                <a:gd name="connsiteY61" fmla="*/ 885124 h 897199"/>
                <a:gd name="connsiteX62" fmla="*/ 9750755 w 12192000"/>
                <a:gd name="connsiteY62" fmla="*/ 885124 h 897199"/>
                <a:gd name="connsiteX63" fmla="*/ 9750755 w 12192000"/>
                <a:gd name="connsiteY63" fmla="*/ 356577 h 897199"/>
                <a:gd name="connsiteX64" fmla="*/ 9631383 w 12192000"/>
                <a:gd name="connsiteY64" fmla="*/ 356577 h 897199"/>
                <a:gd name="connsiteX65" fmla="*/ 9631383 w 12192000"/>
                <a:gd name="connsiteY65" fmla="*/ 293982 h 897199"/>
                <a:gd name="connsiteX66" fmla="*/ 9750755 w 12192000"/>
                <a:gd name="connsiteY66" fmla="*/ 293982 h 897199"/>
                <a:gd name="connsiteX67" fmla="*/ 9750755 w 12192000"/>
                <a:gd name="connsiteY67" fmla="*/ 251096 h 897199"/>
                <a:gd name="connsiteX68" fmla="*/ 9907229 w 12192000"/>
                <a:gd name="connsiteY68" fmla="*/ 1889 h 897199"/>
                <a:gd name="connsiteX69" fmla="*/ 9975624 w 12192000"/>
                <a:gd name="connsiteY69" fmla="*/ 13465 h 897199"/>
                <a:gd name="connsiteX70" fmla="*/ 9970977 w 12192000"/>
                <a:gd name="connsiteY70" fmla="*/ 77229 h 897199"/>
                <a:gd name="connsiteX71" fmla="*/ 9292942 w 12192000"/>
                <a:gd name="connsiteY71" fmla="*/ 342661 h 897199"/>
                <a:gd name="connsiteX72" fmla="*/ 9097060 w 12192000"/>
                <a:gd name="connsiteY72" fmla="*/ 589545 h 897199"/>
                <a:gd name="connsiteX73" fmla="*/ 9292942 w 12192000"/>
                <a:gd name="connsiteY73" fmla="*/ 836446 h 897199"/>
                <a:gd name="connsiteX74" fmla="*/ 9488825 w 12192000"/>
                <a:gd name="connsiteY74" fmla="*/ 589545 h 897199"/>
                <a:gd name="connsiteX75" fmla="*/ 9292942 w 12192000"/>
                <a:gd name="connsiteY75" fmla="*/ 342661 h 897199"/>
                <a:gd name="connsiteX76" fmla="*/ 9292942 w 12192000"/>
                <a:gd name="connsiteY76" fmla="*/ 899048 h 897199"/>
                <a:gd name="connsiteX77" fmla="*/ 9017048 w 12192000"/>
                <a:gd name="connsiteY77" fmla="*/ 589545 h 897199"/>
                <a:gd name="connsiteX78" fmla="*/ 9292942 w 12192000"/>
                <a:gd name="connsiteY78" fmla="*/ 280066 h 897199"/>
                <a:gd name="connsiteX79" fmla="*/ 9568813 w 12192000"/>
                <a:gd name="connsiteY79" fmla="*/ 589545 h 897199"/>
                <a:gd name="connsiteX80" fmla="*/ 9292942 w 12192000"/>
                <a:gd name="connsiteY80" fmla="*/ 899040 h 897199"/>
                <a:gd name="connsiteX81" fmla="*/ 8381940 w 12192000"/>
                <a:gd name="connsiteY81" fmla="*/ 342661 h 897199"/>
                <a:gd name="connsiteX82" fmla="*/ 8208089 w 12192000"/>
                <a:gd name="connsiteY82" fmla="*/ 547813 h 897199"/>
                <a:gd name="connsiteX83" fmla="*/ 8532661 w 12192000"/>
                <a:gd name="connsiteY83" fmla="*/ 547813 h 897199"/>
                <a:gd name="connsiteX84" fmla="*/ 8381956 w 12192000"/>
                <a:gd name="connsiteY84" fmla="*/ 342661 h 897199"/>
                <a:gd name="connsiteX85" fmla="*/ 8208089 w 12192000"/>
                <a:gd name="connsiteY85" fmla="*/ 610407 h 897199"/>
                <a:gd name="connsiteX86" fmla="*/ 8402826 w 12192000"/>
                <a:gd name="connsiteY86" fmla="*/ 836446 h 897199"/>
                <a:gd name="connsiteX87" fmla="*/ 8568569 w 12192000"/>
                <a:gd name="connsiteY87" fmla="*/ 792382 h 897199"/>
                <a:gd name="connsiteX88" fmla="*/ 8568569 w 12192000"/>
                <a:gd name="connsiteY88" fmla="*/ 866545 h 897199"/>
                <a:gd name="connsiteX89" fmla="*/ 8397025 w 12192000"/>
                <a:gd name="connsiteY89" fmla="*/ 899032 h 897199"/>
                <a:gd name="connsiteX90" fmla="*/ 8128125 w 12192000"/>
                <a:gd name="connsiteY90" fmla="*/ 589529 h 897199"/>
                <a:gd name="connsiteX91" fmla="*/ 8377333 w 12192000"/>
                <a:gd name="connsiteY91" fmla="*/ 280050 h 897199"/>
                <a:gd name="connsiteX92" fmla="*/ 8612624 w 12192000"/>
                <a:gd name="connsiteY92" fmla="*/ 573274 h 897199"/>
                <a:gd name="connsiteX93" fmla="*/ 8612624 w 12192000"/>
                <a:gd name="connsiteY93" fmla="*/ 610383 h 897199"/>
                <a:gd name="connsiteX94" fmla="*/ 7921843 w 12192000"/>
                <a:gd name="connsiteY94" fmla="*/ 342661 h 897199"/>
                <a:gd name="connsiteX95" fmla="*/ 7699274 w 12192000"/>
                <a:gd name="connsiteY95" fmla="*/ 589545 h 897199"/>
                <a:gd name="connsiteX96" fmla="*/ 7913720 w 12192000"/>
                <a:gd name="connsiteY96" fmla="*/ 836446 h 897199"/>
                <a:gd name="connsiteX97" fmla="*/ 8047008 w 12192000"/>
                <a:gd name="connsiteY97" fmla="*/ 809767 h 897199"/>
                <a:gd name="connsiteX98" fmla="*/ 8053978 w 12192000"/>
                <a:gd name="connsiteY98" fmla="*/ 878178 h 897199"/>
                <a:gd name="connsiteX99" fmla="*/ 7902127 w 12192000"/>
                <a:gd name="connsiteY99" fmla="*/ 899048 h 897199"/>
                <a:gd name="connsiteX100" fmla="*/ 7619319 w 12192000"/>
                <a:gd name="connsiteY100" fmla="*/ 589545 h 897199"/>
                <a:gd name="connsiteX101" fmla="*/ 7911428 w 12192000"/>
                <a:gd name="connsiteY101" fmla="*/ 280066 h 897199"/>
                <a:gd name="connsiteX102" fmla="*/ 8054034 w 12192000"/>
                <a:gd name="connsiteY102" fmla="*/ 303228 h 897199"/>
                <a:gd name="connsiteX103" fmla="*/ 8048242 w 12192000"/>
                <a:gd name="connsiteY103" fmla="*/ 372768 h 897199"/>
                <a:gd name="connsiteX104" fmla="*/ 7921899 w 12192000"/>
                <a:gd name="connsiteY104" fmla="*/ 342661 h 897199"/>
                <a:gd name="connsiteX105" fmla="*/ 7413005 w 12192000"/>
                <a:gd name="connsiteY105" fmla="*/ 885124 h 897199"/>
                <a:gd name="connsiteX106" fmla="*/ 7413005 w 12192000"/>
                <a:gd name="connsiteY106" fmla="*/ 525773 h 897199"/>
                <a:gd name="connsiteX107" fmla="*/ 7272746 w 12192000"/>
                <a:gd name="connsiteY107" fmla="*/ 342661 h 897199"/>
                <a:gd name="connsiteX108" fmla="*/ 7097726 w 12192000"/>
                <a:gd name="connsiteY108" fmla="*/ 558252 h 897199"/>
                <a:gd name="connsiteX109" fmla="*/ 7097726 w 12192000"/>
                <a:gd name="connsiteY109" fmla="*/ 885124 h 897199"/>
                <a:gd name="connsiteX110" fmla="*/ 7024708 w 12192000"/>
                <a:gd name="connsiteY110" fmla="*/ 885124 h 897199"/>
                <a:gd name="connsiteX111" fmla="*/ 7024708 w 12192000"/>
                <a:gd name="connsiteY111" fmla="*/ 433063 h 897199"/>
                <a:gd name="connsiteX112" fmla="*/ 7020062 w 12192000"/>
                <a:gd name="connsiteY112" fmla="*/ 293982 h 897199"/>
                <a:gd name="connsiteX113" fmla="*/ 7090756 w 12192000"/>
                <a:gd name="connsiteY113" fmla="*/ 293982 h 897199"/>
                <a:gd name="connsiteX114" fmla="*/ 7090756 w 12192000"/>
                <a:gd name="connsiteY114" fmla="*/ 399431 h 897199"/>
                <a:gd name="connsiteX115" fmla="*/ 7093103 w 12192000"/>
                <a:gd name="connsiteY115" fmla="*/ 399431 h 897199"/>
                <a:gd name="connsiteX116" fmla="*/ 7284363 w 12192000"/>
                <a:gd name="connsiteY116" fmla="*/ 280058 h 897199"/>
                <a:gd name="connsiteX117" fmla="*/ 7486046 w 12192000"/>
                <a:gd name="connsiteY117" fmla="*/ 507250 h 897199"/>
                <a:gd name="connsiteX118" fmla="*/ 7486046 w 12192000"/>
                <a:gd name="connsiteY118" fmla="*/ 885116 h 897199"/>
                <a:gd name="connsiteX119" fmla="*/ 6660783 w 12192000"/>
                <a:gd name="connsiteY119" fmla="*/ 342661 h 897199"/>
                <a:gd name="connsiteX120" fmla="*/ 6486932 w 12192000"/>
                <a:gd name="connsiteY120" fmla="*/ 547813 h 897199"/>
                <a:gd name="connsiteX121" fmla="*/ 6811464 w 12192000"/>
                <a:gd name="connsiteY121" fmla="*/ 547813 h 897199"/>
                <a:gd name="connsiteX122" fmla="*/ 6660807 w 12192000"/>
                <a:gd name="connsiteY122" fmla="*/ 342661 h 897199"/>
                <a:gd name="connsiteX123" fmla="*/ 6486932 w 12192000"/>
                <a:gd name="connsiteY123" fmla="*/ 610407 h 897199"/>
                <a:gd name="connsiteX124" fmla="*/ 6681669 w 12192000"/>
                <a:gd name="connsiteY124" fmla="*/ 836446 h 897199"/>
                <a:gd name="connsiteX125" fmla="*/ 6847412 w 12192000"/>
                <a:gd name="connsiteY125" fmla="*/ 792382 h 897199"/>
                <a:gd name="connsiteX126" fmla="*/ 6847412 w 12192000"/>
                <a:gd name="connsiteY126" fmla="*/ 866545 h 897199"/>
                <a:gd name="connsiteX127" fmla="*/ 6675869 w 12192000"/>
                <a:gd name="connsiteY127" fmla="*/ 899032 h 897199"/>
                <a:gd name="connsiteX128" fmla="*/ 6406969 w 12192000"/>
                <a:gd name="connsiteY128" fmla="*/ 589529 h 897199"/>
                <a:gd name="connsiteX129" fmla="*/ 6656128 w 12192000"/>
                <a:gd name="connsiteY129" fmla="*/ 280050 h 897199"/>
                <a:gd name="connsiteX130" fmla="*/ 6891436 w 12192000"/>
                <a:gd name="connsiteY130" fmla="*/ 573274 h 897199"/>
                <a:gd name="connsiteX131" fmla="*/ 6891436 w 12192000"/>
                <a:gd name="connsiteY131" fmla="*/ 610383 h 897199"/>
                <a:gd name="connsiteX132" fmla="*/ 6199429 w 12192000"/>
                <a:gd name="connsiteY132" fmla="*/ 38950 h 897199"/>
                <a:gd name="connsiteX133" fmla="*/ 6272494 w 12192000"/>
                <a:gd name="connsiteY133" fmla="*/ 38950 h 897199"/>
                <a:gd name="connsiteX134" fmla="*/ 6272494 w 12192000"/>
                <a:gd name="connsiteY134" fmla="*/ 136339 h 897199"/>
                <a:gd name="connsiteX135" fmla="*/ 6199429 w 12192000"/>
                <a:gd name="connsiteY135" fmla="*/ 136339 h 897199"/>
                <a:gd name="connsiteX136" fmla="*/ 6199429 w 12192000"/>
                <a:gd name="connsiteY136" fmla="*/ 38950 h 897199"/>
                <a:gd name="connsiteX137" fmla="*/ 6199429 w 12192000"/>
                <a:gd name="connsiteY137" fmla="*/ 885124 h 897199"/>
                <a:gd name="connsiteX138" fmla="*/ 6199429 w 12192000"/>
                <a:gd name="connsiteY138" fmla="*/ 293982 h 897199"/>
                <a:gd name="connsiteX139" fmla="*/ 6272494 w 12192000"/>
                <a:gd name="connsiteY139" fmla="*/ 293982 h 897199"/>
                <a:gd name="connsiteX140" fmla="*/ 6272494 w 12192000"/>
                <a:gd name="connsiteY140" fmla="*/ 885124 h 897199"/>
                <a:gd name="connsiteX141" fmla="*/ 5949116 w 12192000"/>
                <a:gd name="connsiteY141" fmla="*/ 342661 h 897199"/>
                <a:gd name="connsiteX142" fmla="*/ 5726570 w 12192000"/>
                <a:gd name="connsiteY142" fmla="*/ 589545 h 897199"/>
                <a:gd name="connsiteX143" fmla="*/ 5940992 w 12192000"/>
                <a:gd name="connsiteY143" fmla="*/ 836446 h 897199"/>
                <a:gd name="connsiteX144" fmla="*/ 6074280 w 12192000"/>
                <a:gd name="connsiteY144" fmla="*/ 809767 h 897199"/>
                <a:gd name="connsiteX145" fmla="*/ 6081250 w 12192000"/>
                <a:gd name="connsiteY145" fmla="*/ 878178 h 897199"/>
                <a:gd name="connsiteX146" fmla="*/ 5929399 w 12192000"/>
                <a:gd name="connsiteY146" fmla="*/ 899040 h 897199"/>
                <a:gd name="connsiteX147" fmla="*/ 5646591 w 12192000"/>
                <a:gd name="connsiteY147" fmla="*/ 589537 h 897199"/>
                <a:gd name="connsiteX148" fmla="*/ 5938701 w 12192000"/>
                <a:gd name="connsiteY148" fmla="*/ 280058 h 897199"/>
                <a:gd name="connsiteX149" fmla="*/ 6081306 w 12192000"/>
                <a:gd name="connsiteY149" fmla="*/ 303220 h 897199"/>
                <a:gd name="connsiteX150" fmla="*/ 6075514 w 12192000"/>
                <a:gd name="connsiteY150" fmla="*/ 372760 h 897199"/>
                <a:gd name="connsiteX151" fmla="*/ 5949172 w 12192000"/>
                <a:gd name="connsiteY151" fmla="*/ 342653 h 897199"/>
                <a:gd name="connsiteX152" fmla="*/ 5347551 w 12192000"/>
                <a:gd name="connsiteY152" fmla="*/ 131708 h 897199"/>
                <a:gd name="connsiteX153" fmla="*/ 5172555 w 12192000"/>
                <a:gd name="connsiteY153" fmla="*/ 270789 h 897199"/>
                <a:gd name="connsiteX154" fmla="*/ 5543434 w 12192000"/>
                <a:gd name="connsiteY154" fmla="*/ 670678 h 897199"/>
                <a:gd name="connsiteX155" fmla="*/ 5278003 w 12192000"/>
                <a:gd name="connsiteY155" fmla="*/ 899040 h 897199"/>
                <a:gd name="connsiteX156" fmla="*/ 5094890 w 12192000"/>
                <a:gd name="connsiteY156" fmla="*/ 864254 h 897199"/>
                <a:gd name="connsiteX157" fmla="*/ 5103006 w 12192000"/>
                <a:gd name="connsiteY157" fmla="*/ 781943 h 897199"/>
                <a:gd name="connsiteX158" fmla="*/ 5281504 w 12192000"/>
                <a:gd name="connsiteY158" fmla="*/ 829467 h 897199"/>
                <a:gd name="connsiteX159" fmla="*/ 5463463 w 12192000"/>
                <a:gd name="connsiteY159" fmla="*/ 663700 h 897199"/>
                <a:gd name="connsiteX160" fmla="*/ 5092567 w 12192000"/>
                <a:gd name="connsiteY160" fmla="*/ 273104 h 897199"/>
                <a:gd name="connsiteX161" fmla="*/ 5348721 w 12192000"/>
                <a:gd name="connsiteY161" fmla="*/ 62136 h 897199"/>
                <a:gd name="connsiteX162" fmla="*/ 5507494 w 12192000"/>
                <a:gd name="connsiteY162" fmla="*/ 88798 h 897199"/>
                <a:gd name="connsiteX163" fmla="*/ 5494756 w 12192000"/>
                <a:gd name="connsiteY163" fmla="*/ 161831 h 897199"/>
                <a:gd name="connsiteX164" fmla="*/ 5347551 w 12192000"/>
                <a:gd name="connsiteY164" fmla="*/ 131700 h 897199"/>
                <a:gd name="connsiteX165" fmla="*/ 4231388 w 12192000"/>
                <a:gd name="connsiteY165" fmla="*/ 482895 h 897199"/>
                <a:gd name="connsiteX166" fmla="*/ 4079561 w 12192000"/>
                <a:gd name="connsiteY166" fmla="*/ 669565 h 897199"/>
                <a:gd name="connsiteX167" fmla="*/ 4267320 w 12192000"/>
                <a:gd name="connsiteY167" fmla="*/ 836477 h 897199"/>
                <a:gd name="connsiteX168" fmla="*/ 4466680 w 12192000"/>
                <a:gd name="connsiteY168" fmla="*/ 742574 h 897199"/>
                <a:gd name="connsiteX169" fmla="*/ 4231388 w 12192000"/>
                <a:gd name="connsiteY169" fmla="*/ 482927 h 897199"/>
                <a:gd name="connsiteX170" fmla="*/ 4413379 w 12192000"/>
                <a:gd name="connsiteY170" fmla="*/ 241803 h 897199"/>
                <a:gd name="connsiteX171" fmla="*/ 4298605 w 12192000"/>
                <a:gd name="connsiteY171" fmla="*/ 124738 h 897199"/>
                <a:gd name="connsiteX172" fmla="*/ 4165316 w 12192000"/>
                <a:gd name="connsiteY172" fmla="*/ 242981 h 897199"/>
                <a:gd name="connsiteX173" fmla="*/ 4256881 w 12192000"/>
                <a:gd name="connsiteY173" fmla="*/ 407554 h 897199"/>
                <a:gd name="connsiteX174" fmla="*/ 4413379 w 12192000"/>
                <a:gd name="connsiteY174" fmla="*/ 241803 h 897199"/>
                <a:gd name="connsiteX175" fmla="*/ 4698518 w 12192000"/>
                <a:gd name="connsiteY175" fmla="*/ 882800 h 897199"/>
                <a:gd name="connsiteX176" fmla="*/ 4596539 w 12192000"/>
                <a:gd name="connsiteY176" fmla="*/ 882800 h 897199"/>
                <a:gd name="connsiteX177" fmla="*/ 4510751 w 12192000"/>
                <a:gd name="connsiteY177" fmla="*/ 792398 h 897199"/>
                <a:gd name="connsiteX178" fmla="*/ 4264996 w 12192000"/>
                <a:gd name="connsiteY178" fmla="*/ 899048 h 897199"/>
                <a:gd name="connsiteX179" fmla="*/ 3999573 w 12192000"/>
                <a:gd name="connsiteY179" fmla="*/ 673002 h 897199"/>
                <a:gd name="connsiteX180" fmla="*/ 4190833 w 12192000"/>
                <a:gd name="connsiteY180" fmla="*/ 437710 h 897199"/>
                <a:gd name="connsiteX181" fmla="*/ 4085353 w 12192000"/>
                <a:gd name="connsiteY181" fmla="*/ 238334 h 897199"/>
                <a:gd name="connsiteX182" fmla="*/ 4303268 w 12192000"/>
                <a:gd name="connsiteY182" fmla="*/ 62144 h 897199"/>
                <a:gd name="connsiteX183" fmla="*/ 4493334 w 12192000"/>
                <a:gd name="connsiteY183" fmla="*/ 229065 h 897199"/>
                <a:gd name="connsiteX184" fmla="*/ 4298597 w 12192000"/>
                <a:gd name="connsiteY184" fmla="*/ 449286 h 897199"/>
                <a:gd name="connsiteX185" fmla="*/ 4511897 w 12192000"/>
                <a:gd name="connsiteY185" fmla="*/ 686902 h 897199"/>
                <a:gd name="connsiteX186" fmla="*/ 4581437 w 12192000"/>
                <a:gd name="connsiteY186" fmla="*/ 441163 h 897199"/>
                <a:gd name="connsiteX187" fmla="*/ 4650986 w 12192000"/>
                <a:gd name="connsiteY187" fmla="*/ 441163 h 897199"/>
                <a:gd name="connsiteX188" fmla="*/ 4560575 w 12192000"/>
                <a:gd name="connsiteY188" fmla="*/ 733249 h 897199"/>
                <a:gd name="connsiteX189" fmla="*/ 4698510 w 12192000"/>
                <a:gd name="connsiteY189" fmla="*/ 882800 h 897199"/>
                <a:gd name="connsiteX190" fmla="*/ 3535960 w 12192000"/>
                <a:gd name="connsiteY190" fmla="*/ 836446 h 897199"/>
                <a:gd name="connsiteX191" fmla="*/ 3603201 w 12192000"/>
                <a:gd name="connsiteY191" fmla="*/ 822529 h 897199"/>
                <a:gd name="connsiteX192" fmla="*/ 3607824 w 12192000"/>
                <a:gd name="connsiteY192" fmla="*/ 882800 h 897199"/>
                <a:gd name="connsiteX193" fmla="*/ 3518591 w 12192000"/>
                <a:gd name="connsiteY193" fmla="*/ 899048 h 897199"/>
                <a:gd name="connsiteX194" fmla="*/ 3384109 w 12192000"/>
                <a:gd name="connsiteY194" fmla="*/ 701963 h 897199"/>
                <a:gd name="connsiteX195" fmla="*/ 3384109 w 12192000"/>
                <a:gd name="connsiteY195" fmla="*/ 356577 h 897199"/>
                <a:gd name="connsiteX196" fmla="*/ 3268213 w 12192000"/>
                <a:gd name="connsiteY196" fmla="*/ 356577 h 897199"/>
                <a:gd name="connsiteX197" fmla="*/ 3268213 w 12192000"/>
                <a:gd name="connsiteY197" fmla="*/ 293982 h 897199"/>
                <a:gd name="connsiteX198" fmla="*/ 3384109 w 12192000"/>
                <a:gd name="connsiteY198" fmla="*/ 293982 h 897199"/>
                <a:gd name="connsiteX199" fmla="*/ 3384109 w 12192000"/>
                <a:gd name="connsiteY199" fmla="*/ 151376 h 897199"/>
                <a:gd name="connsiteX200" fmla="*/ 3457150 w 12192000"/>
                <a:gd name="connsiteY200" fmla="*/ 125884 h 897199"/>
                <a:gd name="connsiteX201" fmla="*/ 3457150 w 12192000"/>
                <a:gd name="connsiteY201" fmla="*/ 293958 h 897199"/>
                <a:gd name="connsiteX202" fmla="*/ 3591584 w 12192000"/>
                <a:gd name="connsiteY202" fmla="*/ 293958 h 897199"/>
                <a:gd name="connsiteX203" fmla="*/ 3591584 w 12192000"/>
                <a:gd name="connsiteY203" fmla="*/ 356553 h 897199"/>
                <a:gd name="connsiteX204" fmla="*/ 3457150 w 12192000"/>
                <a:gd name="connsiteY204" fmla="*/ 356553 h 897199"/>
                <a:gd name="connsiteX205" fmla="*/ 3457150 w 12192000"/>
                <a:gd name="connsiteY205" fmla="*/ 739049 h 897199"/>
                <a:gd name="connsiteX206" fmla="*/ 3535960 w 12192000"/>
                <a:gd name="connsiteY206" fmla="*/ 836421 h 897199"/>
                <a:gd name="connsiteX207" fmla="*/ 3176673 w 12192000"/>
                <a:gd name="connsiteY207" fmla="*/ 356553 h 897199"/>
                <a:gd name="connsiteX208" fmla="*/ 3029469 w 12192000"/>
                <a:gd name="connsiteY208" fmla="*/ 593014 h 897199"/>
                <a:gd name="connsiteX209" fmla="*/ 3029469 w 12192000"/>
                <a:gd name="connsiteY209" fmla="*/ 885100 h 897199"/>
                <a:gd name="connsiteX210" fmla="*/ 2956451 w 12192000"/>
                <a:gd name="connsiteY210" fmla="*/ 885100 h 897199"/>
                <a:gd name="connsiteX211" fmla="*/ 2956451 w 12192000"/>
                <a:gd name="connsiteY211" fmla="*/ 426117 h 897199"/>
                <a:gd name="connsiteX212" fmla="*/ 2951789 w 12192000"/>
                <a:gd name="connsiteY212" fmla="*/ 293982 h 897199"/>
                <a:gd name="connsiteX213" fmla="*/ 3024822 w 12192000"/>
                <a:gd name="connsiteY213" fmla="*/ 293982 h 897199"/>
                <a:gd name="connsiteX214" fmla="*/ 3024822 w 12192000"/>
                <a:gd name="connsiteY214" fmla="*/ 407554 h 897199"/>
                <a:gd name="connsiteX215" fmla="*/ 3027169 w 12192000"/>
                <a:gd name="connsiteY215" fmla="*/ 407554 h 897199"/>
                <a:gd name="connsiteX216" fmla="*/ 3178997 w 12192000"/>
                <a:gd name="connsiteY216" fmla="*/ 280066 h 897199"/>
                <a:gd name="connsiteX217" fmla="*/ 3229974 w 12192000"/>
                <a:gd name="connsiteY217" fmla="*/ 287036 h 897199"/>
                <a:gd name="connsiteX218" fmla="*/ 3229974 w 12192000"/>
                <a:gd name="connsiteY218" fmla="*/ 363523 h 897199"/>
                <a:gd name="connsiteX219" fmla="*/ 3176673 w 12192000"/>
                <a:gd name="connsiteY219" fmla="*/ 356577 h 897199"/>
                <a:gd name="connsiteX220" fmla="*/ 2483569 w 12192000"/>
                <a:gd name="connsiteY220" fmla="*/ 152546 h 897199"/>
                <a:gd name="connsiteX221" fmla="*/ 2307402 w 12192000"/>
                <a:gd name="connsiteY221" fmla="*/ 598790 h 897199"/>
                <a:gd name="connsiteX222" fmla="*/ 2658589 w 12192000"/>
                <a:gd name="connsiteY222" fmla="*/ 598790 h 897199"/>
                <a:gd name="connsiteX223" fmla="*/ 2483569 w 12192000"/>
                <a:gd name="connsiteY223" fmla="*/ 152546 h 897199"/>
                <a:gd name="connsiteX224" fmla="*/ 2772185 w 12192000"/>
                <a:gd name="connsiteY224" fmla="*/ 885100 h 897199"/>
                <a:gd name="connsiteX225" fmla="*/ 2685252 w 12192000"/>
                <a:gd name="connsiteY225" fmla="*/ 668355 h 897199"/>
                <a:gd name="connsiteX226" fmla="*/ 2277247 w 12192000"/>
                <a:gd name="connsiteY226" fmla="*/ 668355 h 897199"/>
                <a:gd name="connsiteX227" fmla="*/ 2190297 w 12192000"/>
                <a:gd name="connsiteY227" fmla="*/ 885100 h 897199"/>
                <a:gd name="connsiteX228" fmla="*/ 2112665 w 12192000"/>
                <a:gd name="connsiteY228" fmla="*/ 885100 h 897199"/>
                <a:gd name="connsiteX229" fmla="*/ 2444168 w 12192000"/>
                <a:gd name="connsiteY229" fmla="*/ 76036 h 897199"/>
                <a:gd name="connsiteX230" fmla="*/ 2534570 w 12192000"/>
                <a:gd name="connsiteY230" fmla="*/ 76036 h 897199"/>
                <a:gd name="connsiteX231" fmla="*/ 2855650 w 12192000"/>
                <a:gd name="connsiteY231" fmla="*/ 885100 h 897199"/>
                <a:gd name="connsiteX232" fmla="*/ 1508762 w 12192000"/>
                <a:gd name="connsiteY232" fmla="*/ 342637 h 897199"/>
                <a:gd name="connsiteX233" fmla="*/ 1334911 w 12192000"/>
                <a:gd name="connsiteY233" fmla="*/ 547789 h 897199"/>
                <a:gd name="connsiteX234" fmla="*/ 1659451 w 12192000"/>
                <a:gd name="connsiteY234" fmla="*/ 547789 h 897199"/>
                <a:gd name="connsiteX235" fmla="*/ 1508778 w 12192000"/>
                <a:gd name="connsiteY235" fmla="*/ 342637 h 897199"/>
                <a:gd name="connsiteX236" fmla="*/ 1334911 w 12192000"/>
                <a:gd name="connsiteY236" fmla="*/ 610383 h 897199"/>
                <a:gd name="connsiteX237" fmla="*/ 1529640 w 12192000"/>
                <a:gd name="connsiteY237" fmla="*/ 836421 h 897199"/>
                <a:gd name="connsiteX238" fmla="*/ 1695391 w 12192000"/>
                <a:gd name="connsiteY238" fmla="*/ 792358 h 897199"/>
                <a:gd name="connsiteX239" fmla="*/ 1695391 w 12192000"/>
                <a:gd name="connsiteY239" fmla="*/ 866521 h 897199"/>
                <a:gd name="connsiteX240" fmla="*/ 1523847 w 12192000"/>
                <a:gd name="connsiteY240" fmla="*/ 899008 h 897199"/>
                <a:gd name="connsiteX241" fmla="*/ 1254915 w 12192000"/>
                <a:gd name="connsiteY241" fmla="*/ 589505 h 897199"/>
                <a:gd name="connsiteX242" fmla="*/ 1504147 w 12192000"/>
                <a:gd name="connsiteY242" fmla="*/ 280026 h 897199"/>
                <a:gd name="connsiteX243" fmla="*/ 1739447 w 12192000"/>
                <a:gd name="connsiteY243" fmla="*/ 573249 h 897199"/>
                <a:gd name="connsiteX244" fmla="*/ 1739447 w 12192000"/>
                <a:gd name="connsiteY244" fmla="*/ 610359 h 897199"/>
                <a:gd name="connsiteX245" fmla="*/ 1048633 w 12192000"/>
                <a:gd name="connsiteY245" fmla="*/ 885100 h 897199"/>
                <a:gd name="connsiteX246" fmla="*/ 1048633 w 12192000"/>
                <a:gd name="connsiteY246" fmla="*/ 532743 h 897199"/>
                <a:gd name="connsiteX247" fmla="*/ 908375 w 12192000"/>
                <a:gd name="connsiteY247" fmla="*/ 342661 h 897199"/>
                <a:gd name="connsiteX248" fmla="*/ 733346 w 12192000"/>
                <a:gd name="connsiteY248" fmla="*/ 568675 h 897199"/>
                <a:gd name="connsiteX249" fmla="*/ 733346 w 12192000"/>
                <a:gd name="connsiteY249" fmla="*/ 885132 h 897199"/>
                <a:gd name="connsiteX250" fmla="*/ 660393 w 12192000"/>
                <a:gd name="connsiteY250" fmla="*/ 885132 h 897199"/>
                <a:gd name="connsiteX251" fmla="*/ 660393 w 12192000"/>
                <a:gd name="connsiteY251" fmla="*/ 15789 h 897199"/>
                <a:gd name="connsiteX252" fmla="*/ 733402 w 12192000"/>
                <a:gd name="connsiteY252" fmla="*/ 15789 h 897199"/>
                <a:gd name="connsiteX253" fmla="*/ 733402 w 12192000"/>
                <a:gd name="connsiteY253" fmla="*/ 393638 h 897199"/>
                <a:gd name="connsiteX254" fmla="*/ 735734 w 12192000"/>
                <a:gd name="connsiteY254" fmla="*/ 393638 h 897199"/>
                <a:gd name="connsiteX255" fmla="*/ 920039 w 12192000"/>
                <a:gd name="connsiteY255" fmla="*/ 280066 h 897199"/>
                <a:gd name="connsiteX256" fmla="*/ 1121731 w 12192000"/>
                <a:gd name="connsiteY256" fmla="*/ 531573 h 897199"/>
                <a:gd name="connsiteX257" fmla="*/ 1121731 w 12192000"/>
                <a:gd name="connsiteY257" fmla="*/ 885124 h 897199"/>
                <a:gd name="connsiteX258" fmla="*/ 325373 w 12192000"/>
                <a:gd name="connsiteY258" fmla="*/ 145576 h 897199"/>
                <a:gd name="connsiteX259" fmla="*/ 325373 w 12192000"/>
                <a:gd name="connsiteY259" fmla="*/ 885100 h 897199"/>
                <a:gd name="connsiteX260" fmla="*/ 245410 w 12192000"/>
                <a:gd name="connsiteY260" fmla="*/ 885100 h 897199"/>
                <a:gd name="connsiteX261" fmla="*/ 245410 w 12192000"/>
                <a:gd name="connsiteY261" fmla="*/ 145600 h 897199"/>
                <a:gd name="connsiteX262" fmla="*/ 6649 w 12192000"/>
                <a:gd name="connsiteY262" fmla="*/ 145600 h 897199"/>
                <a:gd name="connsiteX263" fmla="*/ 6649 w 12192000"/>
                <a:gd name="connsiteY263" fmla="*/ 76060 h 897199"/>
                <a:gd name="connsiteX264" fmla="*/ 564190 w 12192000"/>
                <a:gd name="connsiteY264" fmla="*/ 76060 h 897199"/>
                <a:gd name="connsiteX265" fmla="*/ 564190 w 12192000"/>
                <a:gd name="connsiteY265" fmla="*/ 145600 h 89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2192000" h="897199">
                  <a:moveTo>
                    <a:pt x="12198649" y="885124"/>
                  </a:moveTo>
                  <a:lnTo>
                    <a:pt x="12097839" y="885124"/>
                  </a:lnTo>
                  <a:lnTo>
                    <a:pt x="11805730" y="581421"/>
                  </a:lnTo>
                  <a:lnTo>
                    <a:pt x="11805730" y="885124"/>
                  </a:lnTo>
                  <a:lnTo>
                    <a:pt x="11732688" y="885124"/>
                  </a:lnTo>
                  <a:lnTo>
                    <a:pt x="11732688" y="15789"/>
                  </a:lnTo>
                  <a:lnTo>
                    <a:pt x="11805730" y="15789"/>
                  </a:lnTo>
                  <a:lnTo>
                    <a:pt x="11805730" y="536236"/>
                  </a:lnTo>
                  <a:lnTo>
                    <a:pt x="12070007" y="293982"/>
                  </a:lnTo>
                  <a:lnTo>
                    <a:pt x="12163887" y="293982"/>
                  </a:lnTo>
                  <a:lnTo>
                    <a:pt x="11875270" y="555961"/>
                  </a:lnTo>
                  <a:lnTo>
                    <a:pt x="12198649" y="885124"/>
                  </a:lnTo>
                  <a:close/>
                  <a:moveTo>
                    <a:pt x="11444120" y="342661"/>
                  </a:moveTo>
                  <a:cubicBezTo>
                    <a:pt x="11368811" y="342661"/>
                    <a:pt x="11316608" y="365822"/>
                    <a:pt x="11316608" y="441203"/>
                  </a:cubicBezTo>
                  <a:cubicBezTo>
                    <a:pt x="11316608" y="551346"/>
                    <a:pt x="11607548" y="537430"/>
                    <a:pt x="11607548" y="730989"/>
                  </a:cubicBezTo>
                  <a:cubicBezTo>
                    <a:pt x="11607548" y="856178"/>
                    <a:pt x="11490475" y="899088"/>
                    <a:pt x="11401218" y="899088"/>
                  </a:cubicBezTo>
                  <a:cubicBezTo>
                    <a:pt x="11344424" y="899088"/>
                    <a:pt x="11287622" y="892118"/>
                    <a:pt x="11235475" y="871248"/>
                  </a:cubicBezTo>
                  <a:lnTo>
                    <a:pt x="11242445" y="799384"/>
                  </a:lnTo>
                  <a:cubicBezTo>
                    <a:pt x="11286468" y="821424"/>
                    <a:pt x="11339793" y="836485"/>
                    <a:pt x="11396595" y="836485"/>
                  </a:cubicBezTo>
                  <a:cubicBezTo>
                    <a:pt x="11466136" y="836485"/>
                    <a:pt x="11527584" y="798214"/>
                    <a:pt x="11527584" y="730989"/>
                  </a:cubicBezTo>
                  <a:cubicBezTo>
                    <a:pt x="11527584" y="590731"/>
                    <a:pt x="11243590" y="612770"/>
                    <a:pt x="11243590" y="441203"/>
                  </a:cubicBezTo>
                  <a:cubicBezTo>
                    <a:pt x="11243590" y="324130"/>
                    <a:pt x="11338647" y="280106"/>
                    <a:pt x="11436004" y="280106"/>
                  </a:cubicBezTo>
                  <a:cubicBezTo>
                    <a:pt x="11467289" y="280106"/>
                    <a:pt x="11529884" y="287076"/>
                    <a:pt x="11582055" y="306761"/>
                  </a:cubicBezTo>
                  <a:lnTo>
                    <a:pt x="11575085" y="370533"/>
                  </a:lnTo>
                  <a:cubicBezTo>
                    <a:pt x="11536830" y="353116"/>
                    <a:pt x="11484682" y="342701"/>
                    <a:pt x="11444120" y="342701"/>
                  </a:cubicBezTo>
                  <a:close/>
                  <a:moveTo>
                    <a:pt x="11036115" y="38950"/>
                  </a:moveTo>
                  <a:lnTo>
                    <a:pt x="11109148" y="38950"/>
                  </a:lnTo>
                  <a:lnTo>
                    <a:pt x="11109148" y="136339"/>
                  </a:lnTo>
                  <a:lnTo>
                    <a:pt x="11036115" y="136339"/>
                  </a:lnTo>
                  <a:lnTo>
                    <a:pt x="11036115" y="38950"/>
                  </a:lnTo>
                  <a:close/>
                  <a:moveTo>
                    <a:pt x="11036115" y="885124"/>
                  </a:moveTo>
                  <a:lnTo>
                    <a:pt x="11036115" y="293982"/>
                  </a:lnTo>
                  <a:lnTo>
                    <a:pt x="11109148" y="293982"/>
                  </a:lnTo>
                  <a:lnTo>
                    <a:pt x="11109148" y="885124"/>
                  </a:lnTo>
                  <a:close/>
                  <a:moveTo>
                    <a:pt x="10570226" y="145600"/>
                  </a:moveTo>
                  <a:lnTo>
                    <a:pt x="10487892" y="145600"/>
                  </a:lnTo>
                  <a:lnTo>
                    <a:pt x="10487892" y="434217"/>
                  </a:lnTo>
                  <a:lnTo>
                    <a:pt x="10572525" y="434217"/>
                  </a:lnTo>
                  <a:cubicBezTo>
                    <a:pt x="10666405" y="434217"/>
                    <a:pt x="10774209" y="398309"/>
                    <a:pt x="10774209" y="285859"/>
                  </a:cubicBezTo>
                  <a:cubicBezTo>
                    <a:pt x="10774209" y="153724"/>
                    <a:pt x="10680321" y="145600"/>
                    <a:pt x="10570226" y="145600"/>
                  </a:cubicBezTo>
                  <a:close/>
                  <a:moveTo>
                    <a:pt x="10674529" y="472472"/>
                  </a:moveTo>
                  <a:lnTo>
                    <a:pt x="10674529" y="474795"/>
                  </a:lnTo>
                  <a:cubicBezTo>
                    <a:pt x="10739423" y="482895"/>
                    <a:pt x="10753339" y="517673"/>
                    <a:pt x="10778855" y="572176"/>
                  </a:cubicBezTo>
                  <a:lnTo>
                    <a:pt x="10916799" y="885124"/>
                  </a:lnTo>
                  <a:lnTo>
                    <a:pt x="10828671" y="885124"/>
                  </a:lnTo>
                  <a:lnTo>
                    <a:pt x="10711598" y="611561"/>
                  </a:lnTo>
                  <a:cubicBezTo>
                    <a:pt x="10665235" y="507274"/>
                    <a:pt x="10630473" y="503757"/>
                    <a:pt x="10553987" y="503757"/>
                  </a:cubicBezTo>
                  <a:lnTo>
                    <a:pt x="10487892" y="503757"/>
                  </a:lnTo>
                  <a:lnTo>
                    <a:pt x="10487892" y="885108"/>
                  </a:lnTo>
                  <a:lnTo>
                    <a:pt x="10407928" y="885108"/>
                  </a:lnTo>
                  <a:lnTo>
                    <a:pt x="10407928" y="76060"/>
                  </a:lnTo>
                  <a:lnTo>
                    <a:pt x="10616581" y="76060"/>
                  </a:lnTo>
                  <a:cubicBezTo>
                    <a:pt x="10760285" y="76060"/>
                    <a:pt x="10854188" y="137484"/>
                    <a:pt x="10854188" y="285859"/>
                  </a:cubicBezTo>
                  <a:cubicBezTo>
                    <a:pt x="10854188" y="390185"/>
                    <a:pt x="10774209" y="459710"/>
                    <a:pt x="10674529" y="472472"/>
                  </a:cubicBezTo>
                  <a:close/>
                  <a:moveTo>
                    <a:pt x="9970977" y="77229"/>
                  </a:moveTo>
                  <a:cubicBezTo>
                    <a:pt x="9955908" y="69114"/>
                    <a:pt x="9933916" y="64483"/>
                    <a:pt x="9913053" y="64483"/>
                  </a:cubicBezTo>
                  <a:cubicBezTo>
                    <a:pt x="9813350" y="64483"/>
                    <a:pt x="9823773" y="172263"/>
                    <a:pt x="9823773" y="242981"/>
                  </a:cubicBezTo>
                  <a:lnTo>
                    <a:pt x="9823773" y="293982"/>
                  </a:lnTo>
                  <a:lnTo>
                    <a:pt x="9957061" y="293982"/>
                  </a:lnTo>
                  <a:lnTo>
                    <a:pt x="9957061" y="356577"/>
                  </a:lnTo>
                  <a:lnTo>
                    <a:pt x="9823773" y="356577"/>
                  </a:lnTo>
                  <a:lnTo>
                    <a:pt x="9823773" y="885124"/>
                  </a:lnTo>
                  <a:lnTo>
                    <a:pt x="9750755" y="885124"/>
                  </a:lnTo>
                  <a:lnTo>
                    <a:pt x="9750755" y="356577"/>
                  </a:lnTo>
                  <a:lnTo>
                    <a:pt x="9631383" y="356577"/>
                  </a:lnTo>
                  <a:lnTo>
                    <a:pt x="9631383" y="293982"/>
                  </a:lnTo>
                  <a:lnTo>
                    <a:pt x="9750755" y="293982"/>
                  </a:lnTo>
                  <a:lnTo>
                    <a:pt x="9750755" y="251096"/>
                  </a:lnTo>
                  <a:cubicBezTo>
                    <a:pt x="9750755" y="127061"/>
                    <a:pt x="9755378" y="1889"/>
                    <a:pt x="9907229" y="1889"/>
                  </a:cubicBezTo>
                  <a:cubicBezTo>
                    <a:pt x="9930463" y="1889"/>
                    <a:pt x="9961708" y="5342"/>
                    <a:pt x="9975624" y="13465"/>
                  </a:cubicBezTo>
                  <a:lnTo>
                    <a:pt x="9970977" y="77229"/>
                  </a:lnTo>
                  <a:close/>
                  <a:moveTo>
                    <a:pt x="9292942" y="342661"/>
                  </a:moveTo>
                  <a:cubicBezTo>
                    <a:pt x="9165430" y="342661"/>
                    <a:pt x="9097060" y="452780"/>
                    <a:pt x="9097060" y="589545"/>
                  </a:cubicBezTo>
                  <a:cubicBezTo>
                    <a:pt x="9097060" y="726310"/>
                    <a:pt x="9165430" y="836446"/>
                    <a:pt x="9292942" y="836446"/>
                  </a:cubicBezTo>
                  <a:cubicBezTo>
                    <a:pt x="9420454" y="836446"/>
                    <a:pt x="9488825" y="726302"/>
                    <a:pt x="9488825" y="589545"/>
                  </a:cubicBezTo>
                  <a:cubicBezTo>
                    <a:pt x="9488825" y="452788"/>
                    <a:pt x="9420431" y="342661"/>
                    <a:pt x="9292942" y="342661"/>
                  </a:cubicBezTo>
                  <a:close/>
                  <a:moveTo>
                    <a:pt x="9292942" y="899048"/>
                  </a:moveTo>
                  <a:cubicBezTo>
                    <a:pt x="9101682" y="899048"/>
                    <a:pt x="9017048" y="750666"/>
                    <a:pt x="9017048" y="589545"/>
                  </a:cubicBezTo>
                  <a:cubicBezTo>
                    <a:pt x="9017048" y="428424"/>
                    <a:pt x="9101682" y="280066"/>
                    <a:pt x="9292942" y="280066"/>
                  </a:cubicBezTo>
                  <a:cubicBezTo>
                    <a:pt x="9484202" y="280066"/>
                    <a:pt x="9568813" y="428416"/>
                    <a:pt x="9568813" y="589545"/>
                  </a:cubicBezTo>
                  <a:cubicBezTo>
                    <a:pt x="9568813" y="750674"/>
                    <a:pt x="9484179" y="899040"/>
                    <a:pt x="9292942" y="899040"/>
                  </a:cubicBezTo>
                  <a:close/>
                  <a:moveTo>
                    <a:pt x="8381940" y="342661"/>
                  </a:moveTo>
                  <a:cubicBezTo>
                    <a:pt x="8274144" y="342661"/>
                    <a:pt x="8208089" y="450432"/>
                    <a:pt x="8208089" y="547813"/>
                  </a:cubicBezTo>
                  <a:lnTo>
                    <a:pt x="8532661" y="547813"/>
                  </a:lnTo>
                  <a:cubicBezTo>
                    <a:pt x="8532661" y="444656"/>
                    <a:pt x="8490929" y="342661"/>
                    <a:pt x="8381956" y="342661"/>
                  </a:cubicBezTo>
                  <a:close/>
                  <a:moveTo>
                    <a:pt x="8208089" y="610407"/>
                  </a:moveTo>
                  <a:cubicBezTo>
                    <a:pt x="8208089" y="735596"/>
                    <a:pt x="8275306" y="836446"/>
                    <a:pt x="8402826" y="836446"/>
                  </a:cubicBezTo>
                  <a:cubicBezTo>
                    <a:pt x="8456143" y="836446"/>
                    <a:pt x="8533791" y="814414"/>
                    <a:pt x="8568569" y="792382"/>
                  </a:cubicBezTo>
                  <a:lnTo>
                    <a:pt x="8568569" y="866545"/>
                  </a:lnTo>
                  <a:cubicBezTo>
                    <a:pt x="8517591" y="887415"/>
                    <a:pt x="8451496" y="899032"/>
                    <a:pt x="8397025" y="899032"/>
                  </a:cubicBezTo>
                  <a:cubicBezTo>
                    <a:pt x="8201119" y="899032"/>
                    <a:pt x="8128125" y="766889"/>
                    <a:pt x="8128125" y="589529"/>
                  </a:cubicBezTo>
                  <a:cubicBezTo>
                    <a:pt x="8128125" y="408708"/>
                    <a:pt x="8227781" y="280050"/>
                    <a:pt x="8377333" y="280050"/>
                  </a:cubicBezTo>
                  <a:cubicBezTo>
                    <a:pt x="8544230" y="280050"/>
                    <a:pt x="8612624" y="414484"/>
                    <a:pt x="8612624" y="573274"/>
                  </a:cubicBezTo>
                  <a:lnTo>
                    <a:pt x="8612624" y="610383"/>
                  </a:lnTo>
                  <a:close/>
                  <a:moveTo>
                    <a:pt x="7921843" y="342661"/>
                  </a:moveTo>
                  <a:cubicBezTo>
                    <a:pt x="7779237" y="342661"/>
                    <a:pt x="7699274" y="445810"/>
                    <a:pt x="7699274" y="589545"/>
                  </a:cubicBezTo>
                  <a:cubicBezTo>
                    <a:pt x="7699274" y="724003"/>
                    <a:pt x="7780415" y="836446"/>
                    <a:pt x="7913720" y="836446"/>
                  </a:cubicBezTo>
                  <a:cubicBezTo>
                    <a:pt x="7960075" y="836446"/>
                    <a:pt x="8002960" y="826030"/>
                    <a:pt x="8047008" y="809767"/>
                  </a:cubicBezTo>
                  <a:lnTo>
                    <a:pt x="8053978" y="878178"/>
                  </a:lnTo>
                  <a:cubicBezTo>
                    <a:pt x="8004130" y="895547"/>
                    <a:pt x="7957775" y="899048"/>
                    <a:pt x="7902127" y="899048"/>
                  </a:cubicBezTo>
                  <a:cubicBezTo>
                    <a:pt x="7712045" y="899048"/>
                    <a:pt x="7619319" y="754119"/>
                    <a:pt x="7619319" y="589545"/>
                  </a:cubicBezTo>
                  <a:cubicBezTo>
                    <a:pt x="7619319" y="407554"/>
                    <a:pt x="7736392" y="280066"/>
                    <a:pt x="7911428" y="280066"/>
                  </a:cubicBezTo>
                  <a:cubicBezTo>
                    <a:pt x="7982122" y="280066"/>
                    <a:pt x="8033148" y="296282"/>
                    <a:pt x="8054034" y="303228"/>
                  </a:cubicBezTo>
                  <a:lnTo>
                    <a:pt x="8048242" y="372768"/>
                  </a:lnTo>
                  <a:cubicBezTo>
                    <a:pt x="8008809" y="355399"/>
                    <a:pt x="7961284" y="342661"/>
                    <a:pt x="7921899" y="342661"/>
                  </a:cubicBezTo>
                  <a:close/>
                  <a:moveTo>
                    <a:pt x="7413005" y="885124"/>
                  </a:moveTo>
                  <a:lnTo>
                    <a:pt x="7413005" y="525773"/>
                  </a:lnTo>
                  <a:cubicBezTo>
                    <a:pt x="7413005" y="414500"/>
                    <a:pt x="7373596" y="342661"/>
                    <a:pt x="7272746" y="342661"/>
                  </a:cubicBezTo>
                  <a:cubicBezTo>
                    <a:pt x="7139458" y="342661"/>
                    <a:pt x="7097726" y="459726"/>
                    <a:pt x="7097726" y="558252"/>
                  </a:cubicBezTo>
                  <a:lnTo>
                    <a:pt x="7097726" y="885124"/>
                  </a:lnTo>
                  <a:lnTo>
                    <a:pt x="7024708" y="885124"/>
                  </a:lnTo>
                  <a:lnTo>
                    <a:pt x="7024708" y="433063"/>
                  </a:lnTo>
                  <a:cubicBezTo>
                    <a:pt x="7024708" y="387862"/>
                    <a:pt x="7024708" y="341507"/>
                    <a:pt x="7020062" y="293982"/>
                  </a:cubicBezTo>
                  <a:lnTo>
                    <a:pt x="7090756" y="293982"/>
                  </a:lnTo>
                  <a:lnTo>
                    <a:pt x="7090756" y="399431"/>
                  </a:lnTo>
                  <a:lnTo>
                    <a:pt x="7093103" y="399431"/>
                  </a:lnTo>
                  <a:cubicBezTo>
                    <a:pt x="7117418" y="346130"/>
                    <a:pt x="7161474" y="280058"/>
                    <a:pt x="7284363" y="280058"/>
                  </a:cubicBezTo>
                  <a:cubicBezTo>
                    <a:pt x="7430422" y="280058"/>
                    <a:pt x="7486046" y="377431"/>
                    <a:pt x="7486046" y="507250"/>
                  </a:cubicBezTo>
                  <a:lnTo>
                    <a:pt x="7486046" y="885116"/>
                  </a:lnTo>
                  <a:close/>
                  <a:moveTo>
                    <a:pt x="6660783" y="342661"/>
                  </a:moveTo>
                  <a:cubicBezTo>
                    <a:pt x="6552979" y="342661"/>
                    <a:pt x="6486932" y="450432"/>
                    <a:pt x="6486932" y="547813"/>
                  </a:cubicBezTo>
                  <a:lnTo>
                    <a:pt x="6811464" y="547813"/>
                  </a:lnTo>
                  <a:cubicBezTo>
                    <a:pt x="6811464" y="444656"/>
                    <a:pt x="6769732" y="342661"/>
                    <a:pt x="6660807" y="342661"/>
                  </a:cubicBezTo>
                  <a:close/>
                  <a:moveTo>
                    <a:pt x="6486932" y="610407"/>
                  </a:moveTo>
                  <a:cubicBezTo>
                    <a:pt x="6486932" y="735596"/>
                    <a:pt x="6554157" y="836446"/>
                    <a:pt x="6681669" y="836446"/>
                  </a:cubicBezTo>
                  <a:cubicBezTo>
                    <a:pt x="6734970" y="836446"/>
                    <a:pt x="6812634" y="814414"/>
                    <a:pt x="6847412" y="792382"/>
                  </a:cubicBezTo>
                  <a:lnTo>
                    <a:pt x="6847412" y="866545"/>
                  </a:lnTo>
                  <a:cubicBezTo>
                    <a:pt x="6796419" y="887415"/>
                    <a:pt x="6730347" y="899032"/>
                    <a:pt x="6675869" y="899032"/>
                  </a:cubicBezTo>
                  <a:cubicBezTo>
                    <a:pt x="6479970" y="899032"/>
                    <a:pt x="6406969" y="766889"/>
                    <a:pt x="6406969" y="589529"/>
                  </a:cubicBezTo>
                  <a:cubicBezTo>
                    <a:pt x="6406969" y="408708"/>
                    <a:pt x="6506624" y="280050"/>
                    <a:pt x="6656128" y="280050"/>
                  </a:cubicBezTo>
                  <a:cubicBezTo>
                    <a:pt x="6823041" y="280050"/>
                    <a:pt x="6891436" y="414484"/>
                    <a:pt x="6891436" y="573274"/>
                  </a:cubicBezTo>
                  <a:lnTo>
                    <a:pt x="6891436" y="610383"/>
                  </a:lnTo>
                  <a:close/>
                  <a:moveTo>
                    <a:pt x="6199429" y="38950"/>
                  </a:moveTo>
                  <a:lnTo>
                    <a:pt x="6272494" y="38950"/>
                  </a:lnTo>
                  <a:lnTo>
                    <a:pt x="6272494" y="136339"/>
                  </a:lnTo>
                  <a:lnTo>
                    <a:pt x="6199429" y="136339"/>
                  </a:lnTo>
                  <a:lnTo>
                    <a:pt x="6199429" y="38950"/>
                  </a:lnTo>
                  <a:close/>
                  <a:moveTo>
                    <a:pt x="6199429" y="885124"/>
                  </a:moveTo>
                  <a:lnTo>
                    <a:pt x="6199429" y="293982"/>
                  </a:lnTo>
                  <a:lnTo>
                    <a:pt x="6272494" y="293982"/>
                  </a:lnTo>
                  <a:lnTo>
                    <a:pt x="6272494" y="885124"/>
                  </a:lnTo>
                  <a:close/>
                  <a:moveTo>
                    <a:pt x="5949116" y="342661"/>
                  </a:moveTo>
                  <a:cubicBezTo>
                    <a:pt x="5806510" y="342661"/>
                    <a:pt x="5726570" y="445810"/>
                    <a:pt x="5726570" y="589545"/>
                  </a:cubicBezTo>
                  <a:cubicBezTo>
                    <a:pt x="5726570" y="724003"/>
                    <a:pt x="5807687" y="836446"/>
                    <a:pt x="5940992" y="836446"/>
                  </a:cubicBezTo>
                  <a:cubicBezTo>
                    <a:pt x="5987347" y="836446"/>
                    <a:pt x="6030233" y="826030"/>
                    <a:pt x="6074280" y="809767"/>
                  </a:cubicBezTo>
                  <a:lnTo>
                    <a:pt x="6081250" y="878178"/>
                  </a:lnTo>
                  <a:cubicBezTo>
                    <a:pt x="6031402" y="895547"/>
                    <a:pt x="5985048" y="899040"/>
                    <a:pt x="5929399" y="899040"/>
                  </a:cubicBezTo>
                  <a:cubicBezTo>
                    <a:pt x="5739317" y="899040"/>
                    <a:pt x="5646591" y="754111"/>
                    <a:pt x="5646591" y="589537"/>
                  </a:cubicBezTo>
                  <a:cubicBezTo>
                    <a:pt x="5646591" y="407546"/>
                    <a:pt x="5763688" y="280058"/>
                    <a:pt x="5938701" y="280058"/>
                  </a:cubicBezTo>
                  <a:cubicBezTo>
                    <a:pt x="6009419" y="280058"/>
                    <a:pt x="6060420" y="296274"/>
                    <a:pt x="6081306" y="303220"/>
                  </a:cubicBezTo>
                  <a:lnTo>
                    <a:pt x="6075514" y="372760"/>
                  </a:lnTo>
                  <a:cubicBezTo>
                    <a:pt x="6036081" y="355391"/>
                    <a:pt x="5988581" y="342653"/>
                    <a:pt x="5949172" y="342653"/>
                  </a:cubicBezTo>
                  <a:close/>
                  <a:moveTo>
                    <a:pt x="5347551" y="131708"/>
                  </a:moveTo>
                  <a:cubicBezTo>
                    <a:pt x="5264087" y="131708"/>
                    <a:pt x="5172555" y="166470"/>
                    <a:pt x="5172555" y="270789"/>
                  </a:cubicBezTo>
                  <a:cubicBezTo>
                    <a:pt x="5172555" y="433063"/>
                    <a:pt x="5543434" y="434225"/>
                    <a:pt x="5543434" y="670678"/>
                  </a:cubicBezTo>
                  <a:cubicBezTo>
                    <a:pt x="5543442" y="834146"/>
                    <a:pt x="5403192" y="899040"/>
                    <a:pt x="5278003" y="899040"/>
                  </a:cubicBezTo>
                  <a:cubicBezTo>
                    <a:pt x="5199193" y="899040"/>
                    <a:pt x="5137800" y="882792"/>
                    <a:pt x="5094890" y="864254"/>
                  </a:cubicBezTo>
                  <a:lnTo>
                    <a:pt x="5103006" y="781943"/>
                  </a:lnTo>
                  <a:cubicBezTo>
                    <a:pt x="5150515" y="812082"/>
                    <a:pt x="5206163" y="829467"/>
                    <a:pt x="5281504" y="829467"/>
                  </a:cubicBezTo>
                  <a:cubicBezTo>
                    <a:pt x="5381176" y="829467"/>
                    <a:pt x="5463463" y="778474"/>
                    <a:pt x="5463463" y="663700"/>
                  </a:cubicBezTo>
                  <a:cubicBezTo>
                    <a:pt x="5463463" y="504927"/>
                    <a:pt x="5092567" y="485210"/>
                    <a:pt x="5092567" y="273104"/>
                  </a:cubicBezTo>
                  <a:cubicBezTo>
                    <a:pt x="5092567" y="143269"/>
                    <a:pt x="5206163" y="62136"/>
                    <a:pt x="5348721" y="62136"/>
                  </a:cubicBezTo>
                  <a:cubicBezTo>
                    <a:pt x="5388146" y="62136"/>
                    <a:pt x="5451870" y="67928"/>
                    <a:pt x="5507494" y="88798"/>
                  </a:cubicBezTo>
                  <a:lnTo>
                    <a:pt x="5494756" y="161831"/>
                  </a:lnTo>
                  <a:cubicBezTo>
                    <a:pt x="5458824" y="142099"/>
                    <a:pt x="5402046" y="131700"/>
                    <a:pt x="5347551" y="131700"/>
                  </a:cubicBezTo>
                  <a:close/>
                  <a:moveTo>
                    <a:pt x="4231388" y="482895"/>
                  </a:moveTo>
                  <a:cubicBezTo>
                    <a:pt x="4154901" y="513027"/>
                    <a:pt x="4079561" y="580252"/>
                    <a:pt x="4079561" y="669565"/>
                  </a:cubicBezTo>
                  <a:cubicBezTo>
                    <a:pt x="4079561" y="779684"/>
                    <a:pt x="4169963" y="836477"/>
                    <a:pt x="4267320" y="836477"/>
                  </a:cubicBezTo>
                  <a:cubicBezTo>
                    <a:pt x="4340337" y="836477"/>
                    <a:pt x="4420341" y="799376"/>
                    <a:pt x="4466680" y="742574"/>
                  </a:cubicBezTo>
                  <a:lnTo>
                    <a:pt x="4231388" y="482927"/>
                  </a:lnTo>
                  <a:close/>
                  <a:moveTo>
                    <a:pt x="4413379" y="241803"/>
                  </a:moveTo>
                  <a:cubicBezTo>
                    <a:pt x="4413379" y="165293"/>
                    <a:pt x="4367024" y="124738"/>
                    <a:pt x="4298605" y="124738"/>
                  </a:cubicBezTo>
                  <a:cubicBezTo>
                    <a:pt x="4230186" y="124738"/>
                    <a:pt x="4165316" y="164147"/>
                    <a:pt x="4165316" y="242981"/>
                  </a:cubicBezTo>
                  <a:cubicBezTo>
                    <a:pt x="4165316" y="306721"/>
                    <a:pt x="4212873" y="358876"/>
                    <a:pt x="4256881" y="407554"/>
                  </a:cubicBezTo>
                  <a:cubicBezTo>
                    <a:pt x="4327591" y="373906"/>
                    <a:pt x="4413379" y="336836"/>
                    <a:pt x="4413379" y="241803"/>
                  </a:cubicBezTo>
                  <a:close/>
                  <a:moveTo>
                    <a:pt x="4698518" y="882800"/>
                  </a:moveTo>
                  <a:lnTo>
                    <a:pt x="4596539" y="882800"/>
                  </a:lnTo>
                  <a:lnTo>
                    <a:pt x="4510751" y="792398"/>
                  </a:lnTo>
                  <a:cubicBezTo>
                    <a:pt x="4444664" y="866561"/>
                    <a:pt x="4360078" y="899048"/>
                    <a:pt x="4264996" y="899048"/>
                  </a:cubicBezTo>
                  <a:cubicBezTo>
                    <a:pt x="4128239" y="899048"/>
                    <a:pt x="3999573" y="829475"/>
                    <a:pt x="3999573" y="673002"/>
                  </a:cubicBezTo>
                  <a:cubicBezTo>
                    <a:pt x="3999573" y="548982"/>
                    <a:pt x="4083014" y="479418"/>
                    <a:pt x="4190833" y="437710"/>
                  </a:cubicBezTo>
                  <a:cubicBezTo>
                    <a:pt x="4140977" y="380892"/>
                    <a:pt x="4085353" y="319467"/>
                    <a:pt x="4085353" y="238334"/>
                  </a:cubicBezTo>
                  <a:cubicBezTo>
                    <a:pt x="4085353" y="122415"/>
                    <a:pt x="4196626" y="62144"/>
                    <a:pt x="4303268" y="62144"/>
                  </a:cubicBezTo>
                  <a:cubicBezTo>
                    <a:pt x="4399455" y="62144"/>
                    <a:pt x="4493334" y="115469"/>
                    <a:pt x="4493334" y="229065"/>
                  </a:cubicBezTo>
                  <a:cubicBezTo>
                    <a:pt x="4493334" y="355399"/>
                    <a:pt x="4395978" y="400608"/>
                    <a:pt x="4298597" y="449286"/>
                  </a:cubicBezTo>
                  <a:lnTo>
                    <a:pt x="4511897" y="686902"/>
                  </a:lnTo>
                  <a:cubicBezTo>
                    <a:pt x="4562874" y="613900"/>
                    <a:pt x="4581437" y="528120"/>
                    <a:pt x="4581437" y="441163"/>
                  </a:cubicBezTo>
                  <a:lnTo>
                    <a:pt x="4650986" y="441163"/>
                  </a:lnTo>
                  <a:cubicBezTo>
                    <a:pt x="4650986" y="545489"/>
                    <a:pt x="4620846" y="652139"/>
                    <a:pt x="4560575" y="733249"/>
                  </a:cubicBezTo>
                  <a:lnTo>
                    <a:pt x="4698510" y="882800"/>
                  </a:lnTo>
                  <a:close/>
                  <a:moveTo>
                    <a:pt x="3535960" y="836446"/>
                  </a:moveTo>
                  <a:cubicBezTo>
                    <a:pt x="3563776" y="836446"/>
                    <a:pt x="3582339" y="830653"/>
                    <a:pt x="3603201" y="822529"/>
                  </a:cubicBezTo>
                  <a:lnTo>
                    <a:pt x="3607824" y="882800"/>
                  </a:lnTo>
                  <a:cubicBezTo>
                    <a:pt x="3590455" y="889754"/>
                    <a:pt x="3554523" y="899048"/>
                    <a:pt x="3518591" y="899048"/>
                  </a:cubicBezTo>
                  <a:cubicBezTo>
                    <a:pt x="3388804" y="899048"/>
                    <a:pt x="3384109" y="809767"/>
                    <a:pt x="3384109" y="701963"/>
                  </a:cubicBezTo>
                  <a:lnTo>
                    <a:pt x="3384109" y="356577"/>
                  </a:lnTo>
                  <a:lnTo>
                    <a:pt x="3268213" y="356577"/>
                  </a:lnTo>
                  <a:lnTo>
                    <a:pt x="3268213" y="293982"/>
                  </a:lnTo>
                  <a:lnTo>
                    <a:pt x="3384109" y="293982"/>
                  </a:lnTo>
                  <a:lnTo>
                    <a:pt x="3384109" y="151376"/>
                  </a:lnTo>
                  <a:lnTo>
                    <a:pt x="3457150" y="125884"/>
                  </a:lnTo>
                  <a:lnTo>
                    <a:pt x="3457150" y="293958"/>
                  </a:lnTo>
                  <a:lnTo>
                    <a:pt x="3591584" y="293958"/>
                  </a:lnTo>
                  <a:lnTo>
                    <a:pt x="3591584" y="356553"/>
                  </a:lnTo>
                  <a:lnTo>
                    <a:pt x="3457150" y="356553"/>
                  </a:lnTo>
                  <a:lnTo>
                    <a:pt x="3457150" y="739049"/>
                  </a:lnTo>
                  <a:cubicBezTo>
                    <a:pt x="3457150" y="792374"/>
                    <a:pt x="3476859" y="836421"/>
                    <a:pt x="3535960" y="836421"/>
                  </a:cubicBezTo>
                  <a:close/>
                  <a:moveTo>
                    <a:pt x="3176673" y="356553"/>
                  </a:moveTo>
                  <a:cubicBezTo>
                    <a:pt x="3060778" y="356553"/>
                    <a:pt x="3029469" y="486340"/>
                    <a:pt x="3029469" y="593014"/>
                  </a:cubicBezTo>
                  <a:lnTo>
                    <a:pt x="3029469" y="885100"/>
                  </a:lnTo>
                  <a:lnTo>
                    <a:pt x="2956451" y="885100"/>
                  </a:lnTo>
                  <a:lnTo>
                    <a:pt x="2956451" y="426117"/>
                  </a:lnTo>
                  <a:cubicBezTo>
                    <a:pt x="2956451" y="361223"/>
                    <a:pt x="2956451" y="336836"/>
                    <a:pt x="2951789" y="293982"/>
                  </a:cubicBezTo>
                  <a:lnTo>
                    <a:pt x="3024822" y="293982"/>
                  </a:lnTo>
                  <a:lnTo>
                    <a:pt x="3024822" y="407554"/>
                  </a:lnTo>
                  <a:lnTo>
                    <a:pt x="3027169" y="407554"/>
                  </a:lnTo>
                  <a:cubicBezTo>
                    <a:pt x="3053808" y="341507"/>
                    <a:pt x="3103656" y="280066"/>
                    <a:pt x="3178997" y="280066"/>
                  </a:cubicBezTo>
                  <a:cubicBezTo>
                    <a:pt x="3196366" y="280066"/>
                    <a:pt x="3217236" y="283535"/>
                    <a:pt x="3229974" y="287036"/>
                  </a:cubicBezTo>
                  <a:lnTo>
                    <a:pt x="3229974" y="363523"/>
                  </a:lnTo>
                  <a:cubicBezTo>
                    <a:pt x="3214929" y="358876"/>
                    <a:pt x="3195220" y="356577"/>
                    <a:pt x="3176673" y="356577"/>
                  </a:cubicBezTo>
                  <a:close/>
                  <a:moveTo>
                    <a:pt x="2483569" y="152546"/>
                  </a:moveTo>
                  <a:lnTo>
                    <a:pt x="2307402" y="598790"/>
                  </a:lnTo>
                  <a:lnTo>
                    <a:pt x="2658589" y="598790"/>
                  </a:lnTo>
                  <a:lnTo>
                    <a:pt x="2483569" y="152546"/>
                  </a:lnTo>
                  <a:close/>
                  <a:moveTo>
                    <a:pt x="2772185" y="885100"/>
                  </a:moveTo>
                  <a:lnTo>
                    <a:pt x="2685252" y="668355"/>
                  </a:lnTo>
                  <a:lnTo>
                    <a:pt x="2277247" y="668355"/>
                  </a:lnTo>
                  <a:lnTo>
                    <a:pt x="2190297" y="885100"/>
                  </a:lnTo>
                  <a:lnTo>
                    <a:pt x="2112665" y="885100"/>
                  </a:lnTo>
                  <a:lnTo>
                    <a:pt x="2444168" y="76036"/>
                  </a:lnTo>
                  <a:lnTo>
                    <a:pt x="2534570" y="76036"/>
                  </a:lnTo>
                  <a:lnTo>
                    <a:pt x="2855650" y="885100"/>
                  </a:lnTo>
                  <a:close/>
                  <a:moveTo>
                    <a:pt x="1508762" y="342637"/>
                  </a:moveTo>
                  <a:cubicBezTo>
                    <a:pt x="1400950" y="342637"/>
                    <a:pt x="1334911" y="450408"/>
                    <a:pt x="1334911" y="547789"/>
                  </a:cubicBezTo>
                  <a:lnTo>
                    <a:pt x="1659451" y="547789"/>
                  </a:lnTo>
                  <a:cubicBezTo>
                    <a:pt x="1659451" y="444632"/>
                    <a:pt x="1617727" y="342637"/>
                    <a:pt x="1508778" y="342637"/>
                  </a:cubicBezTo>
                  <a:close/>
                  <a:moveTo>
                    <a:pt x="1334911" y="610383"/>
                  </a:moveTo>
                  <a:cubicBezTo>
                    <a:pt x="1334911" y="735572"/>
                    <a:pt x="1402128" y="836421"/>
                    <a:pt x="1529640" y="836421"/>
                  </a:cubicBezTo>
                  <a:cubicBezTo>
                    <a:pt x="1582948" y="836421"/>
                    <a:pt x="1660613" y="814390"/>
                    <a:pt x="1695391" y="792358"/>
                  </a:cubicBezTo>
                  <a:lnTo>
                    <a:pt x="1695391" y="866521"/>
                  </a:lnTo>
                  <a:cubicBezTo>
                    <a:pt x="1644381" y="887391"/>
                    <a:pt x="1578318" y="899008"/>
                    <a:pt x="1523847" y="899008"/>
                  </a:cubicBezTo>
                  <a:cubicBezTo>
                    <a:pt x="1327956" y="899008"/>
                    <a:pt x="1254915" y="766865"/>
                    <a:pt x="1254915" y="589505"/>
                  </a:cubicBezTo>
                  <a:cubicBezTo>
                    <a:pt x="1254915" y="408684"/>
                    <a:pt x="1354611" y="280026"/>
                    <a:pt x="1504147" y="280026"/>
                  </a:cubicBezTo>
                  <a:cubicBezTo>
                    <a:pt x="1671060" y="280026"/>
                    <a:pt x="1739447" y="414460"/>
                    <a:pt x="1739447" y="573249"/>
                  </a:cubicBezTo>
                  <a:lnTo>
                    <a:pt x="1739447" y="610359"/>
                  </a:lnTo>
                  <a:close/>
                  <a:moveTo>
                    <a:pt x="1048633" y="885100"/>
                  </a:moveTo>
                  <a:lnTo>
                    <a:pt x="1048633" y="532743"/>
                  </a:lnTo>
                  <a:cubicBezTo>
                    <a:pt x="1048633" y="430740"/>
                    <a:pt x="1028933" y="342661"/>
                    <a:pt x="908375" y="342661"/>
                  </a:cubicBezTo>
                  <a:cubicBezTo>
                    <a:pt x="778587" y="342661"/>
                    <a:pt x="733346" y="465526"/>
                    <a:pt x="733346" y="568675"/>
                  </a:cubicBezTo>
                  <a:lnTo>
                    <a:pt x="733346" y="885132"/>
                  </a:lnTo>
                  <a:lnTo>
                    <a:pt x="660393" y="885132"/>
                  </a:lnTo>
                  <a:lnTo>
                    <a:pt x="660393" y="15789"/>
                  </a:lnTo>
                  <a:lnTo>
                    <a:pt x="733402" y="15789"/>
                  </a:lnTo>
                  <a:lnTo>
                    <a:pt x="733402" y="393638"/>
                  </a:lnTo>
                  <a:lnTo>
                    <a:pt x="735734" y="393638"/>
                  </a:lnTo>
                  <a:cubicBezTo>
                    <a:pt x="767043" y="328745"/>
                    <a:pt x="833098" y="280066"/>
                    <a:pt x="920039" y="280066"/>
                  </a:cubicBezTo>
                  <a:cubicBezTo>
                    <a:pt x="1078837" y="280066"/>
                    <a:pt x="1121731" y="385539"/>
                    <a:pt x="1121731" y="531573"/>
                  </a:cubicBezTo>
                  <a:lnTo>
                    <a:pt x="1121731" y="885124"/>
                  </a:lnTo>
                  <a:close/>
                  <a:moveTo>
                    <a:pt x="325373" y="145576"/>
                  </a:moveTo>
                  <a:lnTo>
                    <a:pt x="325373" y="885100"/>
                  </a:lnTo>
                  <a:lnTo>
                    <a:pt x="245410" y="885100"/>
                  </a:lnTo>
                  <a:lnTo>
                    <a:pt x="245410" y="145600"/>
                  </a:lnTo>
                  <a:lnTo>
                    <a:pt x="6649" y="145600"/>
                  </a:lnTo>
                  <a:lnTo>
                    <a:pt x="6649" y="76060"/>
                  </a:lnTo>
                  <a:lnTo>
                    <a:pt x="564190" y="76060"/>
                  </a:lnTo>
                  <a:lnTo>
                    <a:pt x="564190" y="145600"/>
                  </a:lnTo>
                  <a:close/>
                </a:path>
              </a:pathLst>
            </a:custGeom>
            <a:grpFill/>
            <a:ln w="801" cap="flat">
              <a:noFill/>
              <a:prstDash val="solid"/>
              <a:miter/>
            </a:ln>
          </p:spPr>
          <p:txBody>
            <a:bodyPr rtlCol="0" anchor="ctr"/>
            <a:lstStyle/>
            <a:p>
              <a:endParaRPr lang="fr-BE"/>
            </a:p>
          </p:txBody>
        </p:sp>
        <p:sp>
          <p:nvSpPr>
            <p:cNvPr id="7" name="Forme libre : forme 24">
              <a:extLst>
                <a:ext uri="{FF2B5EF4-FFF2-40B4-BE49-F238E27FC236}">
                  <a16:creationId xmlns:a16="http://schemas.microsoft.com/office/drawing/2014/main" id="{97546D95-3040-429A-8252-7B1A28ACC9A3}"/>
                </a:ext>
              </a:extLst>
            </p:cNvPr>
            <p:cNvSpPr/>
            <p:nvPr/>
          </p:nvSpPr>
          <p:spPr>
            <a:xfrm>
              <a:off x="-786557" y="8253511"/>
              <a:ext cx="12106540" cy="2183968"/>
            </a:xfrm>
            <a:custGeom>
              <a:avLst/>
              <a:gdLst>
                <a:gd name="connsiteX0" fmla="*/ 1817527 w 12106540"/>
                <a:gd name="connsiteY0" fmla="*/ 17639 h 2183968"/>
                <a:gd name="connsiteX1" fmla="*/ 2709919 w 12106540"/>
                <a:gd name="connsiteY1" fmla="*/ 219996 h 2183968"/>
                <a:gd name="connsiteX2" fmla="*/ 2399495 w 12106540"/>
                <a:gd name="connsiteY2" fmla="*/ 553709 h 2183968"/>
                <a:gd name="connsiteX3" fmla="*/ 1554275 w 12106540"/>
                <a:gd name="connsiteY3" fmla="*/ 421102 h 2183968"/>
                <a:gd name="connsiteX4" fmla="*/ 1093835 w 12106540"/>
                <a:gd name="connsiteY4" fmla="*/ 615663 h 2183968"/>
                <a:gd name="connsiteX5" fmla="*/ 2590034 w 12106540"/>
                <a:gd name="connsiteY5" fmla="*/ 1477163 h 2183968"/>
                <a:gd name="connsiteX6" fmla="*/ 1357920 w 12106540"/>
                <a:gd name="connsiteY6" fmla="*/ 2178888 h 2183968"/>
                <a:gd name="connsiteX7" fmla="*/ 6649 w 12106540"/>
                <a:gd name="connsiteY7" fmla="*/ 1870266 h 2183968"/>
                <a:gd name="connsiteX8" fmla="*/ 177127 w 12106540"/>
                <a:gd name="connsiteY8" fmla="*/ 1601366 h 2183968"/>
                <a:gd name="connsiteX9" fmla="*/ 315383 w 12106540"/>
                <a:gd name="connsiteY9" fmla="*/ 1540622 h 2183968"/>
                <a:gd name="connsiteX10" fmla="*/ 1266003 w 12106540"/>
                <a:gd name="connsiteY10" fmla="*/ 1757896 h 2183968"/>
                <a:gd name="connsiteX11" fmla="*/ 1878047 w 12106540"/>
                <a:gd name="connsiteY11" fmla="*/ 1547704 h 2183968"/>
                <a:gd name="connsiteX12" fmla="*/ 435781 w 12106540"/>
                <a:gd name="connsiteY12" fmla="*/ 659750 h 2183968"/>
                <a:gd name="connsiteX13" fmla="*/ 1817559 w 12106540"/>
                <a:gd name="connsiteY13" fmla="*/ 17639 h 2183968"/>
                <a:gd name="connsiteX14" fmla="*/ 5541880 w 12106540"/>
                <a:gd name="connsiteY14" fmla="*/ 339584 h 2183968"/>
                <a:gd name="connsiteX15" fmla="*/ 5124069 w 12106540"/>
                <a:gd name="connsiteY15" fmla="*/ 641084 h 2183968"/>
                <a:gd name="connsiteX16" fmla="*/ 4293630 w 12106540"/>
                <a:gd name="connsiteY16" fmla="*/ 471959 h 2183968"/>
                <a:gd name="connsiteX17" fmla="*/ 3500028 w 12106540"/>
                <a:gd name="connsiteY17" fmla="*/ 1112949 h 2183968"/>
                <a:gd name="connsiteX18" fmla="*/ 4294295 w 12106540"/>
                <a:gd name="connsiteY18" fmla="*/ 1709266 h 2183968"/>
                <a:gd name="connsiteX19" fmla="*/ 6285970 w 12106540"/>
                <a:gd name="connsiteY19" fmla="*/ 463467 h 2183968"/>
                <a:gd name="connsiteX20" fmla="*/ 7656116 w 12106540"/>
                <a:gd name="connsiteY20" fmla="*/ 1889 h 2183968"/>
                <a:gd name="connsiteX21" fmla="*/ 9088663 w 12106540"/>
                <a:gd name="connsiteY21" fmla="*/ 1112925 h 2183968"/>
                <a:gd name="connsiteX22" fmla="*/ 7660522 w 12106540"/>
                <a:gd name="connsiteY22" fmla="*/ 2185858 h 2183968"/>
                <a:gd name="connsiteX23" fmla="*/ 6096064 w 12106540"/>
                <a:gd name="connsiteY23" fmla="*/ 1561236 h 2183968"/>
                <a:gd name="connsiteX24" fmla="*/ 6461199 w 12106540"/>
                <a:gd name="connsiteY24" fmla="*/ 1232329 h 2183968"/>
                <a:gd name="connsiteX25" fmla="*/ 7621963 w 12106540"/>
                <a:gd name="connsiteY25" fmla="*/ 1709266 h 2183968"/>
                <a:gd name="connsiteX26" fmla="*/ 8449349 w 12106540"/>
                <a:gd name="connsiteY26" fmla="*/ 1112949 h 2183968"/>
                <a:gd name="connsiteX27" fmla="*/ 7656436 w 12106540"/>
                <a:gd name="connsiteY27" fmla="*/ 471959 h 2183968"/>
                <a:gd name="connsiteX28" fmla="*/ 4297451 w 12106540"/>
                <a:gd name="connsiteY28" fmla="*/ 2178872 h 2183968"/>
                <a:gd name="connsiteX29" fmla="*/ 2858141 w 12106540"/>
                <a:gd name="connsiteY29" fmla="*/ 1209152 h 2183968"/>
                <a:gd name="connsiteX30" fmla="*/ 2858141 w 12106540"/>
                <a:gd name="connsiteY30" fmla="*/ 1027145 h 2183968"/>
                <a:gd name="connsiteX31" fmla="*/ 4317048 w 12106540"/>
                <a:gd name="connsiteY31" fmla="*/ 1913 h 2183968"/>
                <a:gd name="connsiteX32" fmla="*/ 5541912 w 12106540"/>
                <a:gd name="connsiteY32" fmla="*/ 339584 h 2183968"/>
                <a:gd name="connsiteX33" fmla="*/ 11334842 w 12106540"/>
                <a:gd name="connsiteY33" fmla="*/ 2127766 h 2183968"/>
                <a:gd name="connsiteX34" fmla="*/ 11045520 w 12106540"/>
                <a:gd name="connsiteY34" fmla="*/ 1920675 h 2183968"/>
                <a:gd name="connsiteX35" fmla="*/ 10375930 w 12106540"/>
                <a:gd name="connsiteY35" fmla="*/ 1108086 h 2183968"/>
                <a:gd name="connsiteX36" fmla="*/ 11480516 w 12106540"/>
                <a:gd name="connsiteY36" fmla="*/ 670702 h 2183968"/>
                <a:gd name="connsiteX37" fmla="*/ 10929641 w 12106540"/>
                <a:gd name="connsiteY37" fmla="*/ 419059 h 2183968"/>
                <a:gd name="connsiteX38" fmla="*/ 10098626 w 12106540"/>
                <a:gd name="connsiteY38" fmla="*/ 1123011 h 2183968"/>
                <a:gd name="connsiteX39" fmla="*/ 9779148 w 12106540"/>
                <a:gd name="connsiteY39" fmla="*/ 2142018 h 2183968"/>
                <a:gd name="connsiteX40" fmla="*/ 9150385 w 12106540"/>
                <a:gd name="connsiteY40" fmla="*/ 2142018 h 2183968"/>
                <a:gd name="connsiteX41" fmla="*/ 9474348 w 12106540"/>
                <a:gd name="connsiteY41" fmla="*/ 1112380 h 2183968"/>
                <a:gd name="connsiteX42" fmla="*/ 10977422 w 12106540"/>
                <a:gd name="connsiteY42" fmla="*/ 1913 h 2183968"/>
                <a:gd name="connsiteX43" fmla="*/ 12113190 w 12106540"/>
                <a:gd name="connsiteY43" fmla="*/ 602988 h 2183968"/>
                <a:gd name="connsiteX44" fmla="*/ 11137950 w 12106540"/>
                <a:gd name="connsiteY44" fmla="*/ 1304105 h 2183968"/>
                <a:gd name="connsiteX45" fmla="*/ 11974357 w 12106540"/>
                <a:gd name="connsiteY45" fmla="*/ 2142018 h 2183968"/>
                <a:gd name="connsiteX46" fmla="*/ 11447725 w 12106540"/>
                <a:gd name="connsiteY46" fmla="*/ 2142018 h 2183968"/>
                <a:gd name="connsiteX47" fmla="*/ 11334842 w 12106540"/>
                <a:gd name="connsiteY47" fmla="*/ 2127774 h 218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106540" h="2183968">
                  <a:moveTo>
                    <a:pt x="1817527" y="17639"/>
                  </a:moveTo>
                  <a:cubicBezTo>
                    <a:pt x="2181084" y="56095"/>
                    <a:pt x="2662459" y="205110"/>
                    <a:pt x="2709919" y="219996"/>
                  </a:cubicBezTo>
                  <a:cubicBezTo>
                    <a:pt x="2630797" y="359493"/>
                    <a:pt x="2565463" y="553709"/>
                    <a:pt x="2399495" y="553709"/>
                  </a:cubicBezTo>
                  <a:cubicBezTo>
                    <a:pt x="2276846" y="553709"/>
                    <a:pt x="1935209" y="421102"/>
                    <a:pt x="1554275" y="421102"/>
                  </a:cubicBezTo>
                  <a:cubicBezTo>
                    <a:pt x="1397593" y="421102"/>
                    <a:pt x="1093835" y="445185"/>
                    <a:pt x="1093835" y="615663"/>
                  </a:cubicBezTo>
                  <a:cubicBezTo>
                    <a:pt x="1093153" y="909687"/>
                    <a:pt x="2652981" y="818476"/>
                    <a:pt x="2590034" y="1477163"/>
                  </a:cubicBezTo>
                  <a:cubicBezTo>
                    <a:pt x="2552701" y="1872982"/>
                    <a:pt x="2043541" y="2178888"/>
                    <a:pt x="1357920" y="2178888"/>
                  </a:cubicBezTo>
                  <a:cubicBezTo>
                    <a:pt x="782273" y="2178888"/>
                    <a:pt x="216808" y="1980601"/>
                    <a:pt x="6649" y="1870266"/>
                  </a:cubicBezTo>
                  <a:cubicBezTo>
                    <a:pt x="66680" y="1775153"/>
                    <a:pt x="88832" y="1742081"/>
                    <a:pt x="177127" y="1601366"/>
                  </a:cubicBezTo>
                  <a:cubicBezTo>
                    <a:pt x="203237" y="1558905"/>
                    <a:pt x="252748" y="1534069"/>
                    <a:pt x="315383" y="1540622"/>
                  </a:cubicBezTo>
                  <a:cubicBezTo>
                    <a:pt x="402549" y="1549435"/>
                    <a:pt x="885373" y="1747497"/>
                    <a:pt x="1266003" y="1757896"/>
                  </a:cubicBezTo>
                  <a:cubicBezTo>
                    <a:pt x="1501703" y="1764601"/>
                    <a:pt x="1853403" y="1759178"/>
                    <a:pt x="1878047" y="1547704"/>
                  </a:cubicBezTo>
                  <a:cubicBezTo>
                    <a:pt x="1915805" y="1221377"/>
                    <a:pt x="435781" y="1302430"/>
                    <a:pt x="435781" y="659750"/>
                  </a:cubicBezTo>
                  <a:cubicBezTo>
                    <a:pt x="435781" y="328296"/>
                    <a:pt x="862533" y="-83651"/>
                    <a:pt x="1817559" y="17639"/>
                  </a:cubicBezTo>
                  <a:close/>
                  <a:moveTo>
                    <a:pt x="5541880" y="339584"/>
                  </a:moveTo>
                  <a:cubicBezTo>
                    <a:pt x="5376842" y="528144"/>
                    <a:pt x="5312413" y="641084"/>
                    <a:pt x="5124069" y="641084"/>
                  </a:cubicBezTo>
                  <a:cubicBezTo>
                    <a:pt x="4930870" y="641084"/>
                    <a:pt x="4776775" y="471959"/>
                    <a:pt x="4293630" y="471959"/>
                  </a:cubicBezTo>
                  <a:cubicBezTo>
                    <a:pt x="3804003" y="471959"/>
                    <a:pt x="3500028" y="757972"/>
                    <a:pt x="3500028" y="1112949"/>
                  </a:cubicBezTo>
                  <a:cubicBezTo>
                    <a:pt x="3500028" y="1600525"/>
                    <a:pt x="4056904" y="1709266"/>
                    <a:pt x="4294295" y="1709266"/>
                  </a:cubicBezTo>
                  <a:cubicBezTo>
                    <a:pt x="5033762" y="1709266"/>
                    <a:pt x="5737923" y="837335"/>
                    <a:pt x="6285970" y="463467"/>
                  </a:cubicBezTo>
                  <a:cubicBezTo>
                    <a:pt x="6654975" y="201753"/>
                    <a:pt x="7039105" y="1889"/>
                    <a:pt x="7656116" y="1889"/>
                  </a:cubicBezTo>
                  <a:cubicBezTo>
                    <a:pt x="8550110" y="1889"/>
                    <a:pt x="9088663" y="511841"/>
                    <a:pt x="9088663" y="1112925"/>
                  </a:cubicBezTo>
                  <a:cubicBezTo>
                    <a:pt x="9088663" y="1697336"/>
                    <a:pt x="8519922" y="2185858"/>
                    <a:pt x="7660522" y="2185858"/>
                  </a:cubicBezTo>
                  <a:cubicBezTo>
                    <a:pt x="6960760" y="2185858"/>
                    <a:pt x="6536043" y="1989158"/>
                    <a:pt x="6096064" y="1561236"/>
                  </a:cubicBezTo>
                  <a:lnTo>
                    <a:pt x="6461199" y="1232329"/>
                  </a:lnTo>
                  <a:cubicBezTo>
                    <a:pt x="6648669" y="1436151"/>
                    <a:pt x="7079091" y="1709266"/>
                    <a:pt x="7621963" y="1709266"/>
                  </a:cubicBezTo>
                  <a:cubicBezTo>
                    <a:pt x="8032667" y="1709266"/>
                    <a:pt x="8449349" y="1472997"/>
                    <a:pt x="8449349" y="1112949"/>
                  </a:cubicBezTo>
                  <a:cubicBezTo>
                    <a:pt x="8449349" y="746019"/>
                    <a:pt x="8141865" y="471959"/>
                    <a:pt x="7656436" y="471959"/>
                  </a:cubicBezTo>
                  <a:cubicBezTo>
                    <a:pt x="6427054" y="471959"/>
                    <a:pt x="5839413" y="2178872"/>
                    <a:pt x="4297451" y="2178872"/>
                  </a:cubicBezTo>
                  <a:cubicBezTo>
                    <a:pt x="3724865" y="2178872"/>
                    <a:pt x="2942239" y="1957520"/>
                    <a:pt x="2858141" y="1209152"/>
                  </a:cubicBezTo>
                  <a:cubicBezTo>
                    <a:pt x="2858141" y="1200443"/>
                    <a:pt x="2857228" y="1046132"/>
                    <a:pt x="2858141" y="1027145"/>
                  </a:cubicBezTo>
                  <a:cubicBezTo>
                    <a:pt x="2903231" y="432174"/>
                    <a:pt x="3572148" y="1913"/>
                    <a:pt x="4317048" y="1913"/>
                  </a:cubicBezTo>
                  <a:cubicBezTo>
                    <a:pt x="4766985" y="1913"/>
                    <a:pt x="5233987" y="181772"/>
                    <a:pt x="5541912" y="339584"/>
                  </a:cubicBezTo>
                  <a:close/>
                  <a:moveTo>
                    <a:pt x="11334842" y="2127766"/>
                  </a:moveTo>
                  <a:cubicBezTo>
                    <a:pt x="11226157" y="2098836"/>
                    <a:pt x="11134137" y="2026940"/>
                    <a:pt x="11045520" y="1920675"/>
                  </a:cubicBezTo>
                  <a:cubicBezTo>
                    <a:pt x="10795912" y="1620185"/>
                    <a:pt x="10464217" y="1219102"/>
                    <a:pt x="10375930" y="1108086"/>
                  </a:cubicBezTo>
                  <a:cubicBezTo>
                    <a:pt x="10657937" y="1064335"/>
                    <a:pt x="11480516" y="1037880"/>
                    <a:pt x="11480516" y="670702"/>
                  </a:cubicBezTo>
                  <a:cubicBezTo>
                    <a:pt x="11480516" y="462017"/>
                    <a:pt x="11163915" y="419059"/>
                    <a:pt x="10929641" y="419059"/>
                  </a:cubicBezTo>
                  <a:cubicBezTo>
                    <a:pt x="10276450" y="419059"/>
                    <a:pt x="10188259" y="864238"/>
                    <a:pt x="10098626" y="1123011"/>
                  </a:cubicBezTo>
                  <a:cubicBezTo>
                    <a:pt x="10098626" y="1123011"/>
                    <a:pt x="9826408" y="1990760"/>
                    <a:pt x="9779148" y="2142018"/>
                  </a:cubicBezTo>
                  <a:lnTo>
                    <a:pt x="9150385" y="2142018"/>
                  </a:lnTo>
                  <a:lnTo>
                    <a:pt x="9474348" y="1112380"/>
                  </a:lnTo>
                  <a:cubicBezTo>
                    <a:pt x="9670143" y="436132"/>
                    <a:pt x="10036087" y="1913"/>
                    <a:pt x="10977422" y="1913"/>
                  </a:cubicBezTo>
                  <a:cubicBezTo>
                    <a:pt x="11551114" y="1913"/>
                    <a:pt x="12113190" y="181772"/>
                    <a:pt x="12113190" y="602988"/>
                  </a:cubicBezTo>
                  <a:cubicBezTo>
                    <a:pt x="12113190" y="1094514"/>
                    <a:pt x="11492462" y="1260017"/>
                    <a:pt x="11137950" y="1304105"/>
                  </a:cubicBezTo>
                  <a:lnTo>
                    <a:pt x="11974357" y="2142018"/>
                  </a:lnTo>
                  <a:lnTo>
                    <a:pt x="11447725" y="2142018"/>
                  </a:lnTo>
                  <a:cubicBezTo>
                    <a:pt x="11407947" y="2142018"/>
                    <a:pt x="11370421" y="2137268"/>
                    <a:pt x="11334842" y="2127774"/>
                  </a:cubicBezTo>
                </a:path>
              </a:pathLst>
            </a:custGeom>
            <a:grpFill/>
            <a:ln w="801" cap="flat">
              <a:noFill/>
              <a:prstDash val="solid"/>
              <a:miter/>
            </a:ln>
          </p:spPr>
          <p:txBody>
            <a:bodyPr rtlCol="0" anchor="ctr"/>
            <a:lstStyle/>
            <a:p>
              <a:endParaRPr lang="fr-BE"/>
            </a:p>
          </p:txBody>
        </p:sp>
      </p:grpSp>
      <p:grpSp>
        <p:nvGrpSpPr>
          <p:cNvPr id="14" name="Groupe 13">
            <a:extLst>
              <a:ext uri="{FF2B5EF4-FFF2-40B4-BE49-F238E27FC236}">
                <a16:creationId xmlns:a16="http://schemas.microsoft.com/office/drawing/2014/main" id="{444E3295-BDE2-4220-B664-38FC010EAB91}"/>
              </a:ext>
            </a:extLst>
          </p:cNvPr>
          <p:cNvGrpSpPr/>
          <p:nvPr userDrawn="1"/>
        </p:nvGrpSpPr>
        <p:grpSpPr>
          <a:xfrm>
            <a:off x="12360696" y="-13072"/>
            <a:ext cx="1885826" cy="1528108"/>
            <a:chOff x="4867566" y="1651754"/>
            <a:chExt cx="1885826" cy="1528108"/>
          </a:xfrm>
        </p:grpSpPr>
        <p:sp>
          <p:nvSpPr>
            <p:cNvPr id="15" name="Freeform 5">
              <a:extLst>
                <a:ext uri="{FF2B5EF4-FFF2-40B4-BE49-F238E27FC236}">
                  <a16:creationId xmlns:a16="http://schemas.microsoft.com/office/drawing/2014/main" id="{4048BA1D-B872-44ED-99D4-EA0C7E18B244}"/>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6" name="Rectangle 15">
              <a:extLst>
                <a:ext uri="{FF2B5EF4-FFF2-40B4-BE49-F238E27FC236}">
                  <a16:creationId xmlns:a16="http://schemas.microsoft.com/office/drawing/2014/main" id="{E913C65C-EDC7-46D4-A3BF-35B52160601B}"/>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a:solidFill>
                    <a:schemeClr val="accent1"/>
                  </a:solidFill>
                  <a:latin typeface="+mj-lt"/>
                </a:rPr>
                <a:t>To change the </a:t>
              </a:r>
              <a:r>
                <a:rPr lang="fr-FR" sz="1000" b="1" err="1">
                  <a:solidFill>
                    <a:schemeClr val="accent1"/>
                  </a:solidFill>
                  <a:latin typeface="+mj-lt"/>
                </a:rPr>
                <a:t>visual</a:t>
              </a:r>
              <a:r>
                <a:rPr lang="fr-FR" sz="1000" b="1">
                  <a:solidFill>
                    <a:schemeClr val="accent1"/>
                  </a:solidFill>
                  <a:latin typeface="+mj-lt"/>
                </a:rPr>
                <a:t>:</a:t>
              </a:r>
            </a:p>
            <a:p>
              <a:pPr marL="171450" lvl="0" indent="-171450">
                <a:buFont typeface="Arial" panose="020B0604020202020204" pitchFamily="34" charset="0"/>
                <a:buChar char="•"/>
              </a:pPr>
              <a:r>
                <a:rPr lang="en-US" sz="1000">
                  <a:solidFill>
                    <a:schemeClr val="tx1"/>
                  </a:solidFill>
                </a:rPr>
                <a:t>Right click on the slide</a:t>
              </a:r>
            </a:p>
            <a:p>
              <a:pPr marL="171450" lvl="0" indent="-171450">
                <a:buFont typeface="Arial" panose="020B0604020202020204" pitchFamily="34" charset="0"/>
                <a:buChar char="•"/>
              </a:pPr>
              <a:r>
                <a:rPr lang="en-US" sz="1000">
                  <a:solidFill>
                    <a:schemeClr val="tx1"/>
                  </a:solidFill>
                </a:rPr>
                <a:t>Click on “Format Background”</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 (1920x1080px)</a:t>
              </a:r>
            </a:p>
          </p:txBody>
        </p:sp>
      </p:grpSp>
    </p:spTree>
    <p:extLst>
      <p:ext uri="{BB962C8B-B14F-4D97-AF65-F5344CB8AC3E}">
        <p14:creationId xmlns:p14="http://schemas.microsoft.com/office/powerpoint/2010/main" val="267736807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le of contents - 3 Chapt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0BE56-AFAF-4CD1-8444-B79DDCE8BC73}"/>
              </a:ext>
            </a:extLst>
          </p:cNvPr>
          <p:cNvSpPr>
            <a:spLocks noGrp="1"/>
          </p:cNvSpPr>
          <p:nvPr>
            <p:ph type="title"/>
          </p:nvPr>
        </p:nvSpPr>
        <p:spPr/>
        <p:txBody>
          <a:bodyPr anchor="b"/>
          <a:lstStyle/>
          <a:p>
            <a:r>
              <a:rPr lang="en-US"/>
              <a:t>Click to edit Master title style</a:t>
            </a:r>
            <a:endParaRPr lang="fr-BE"/>
          </a:p>
        </p:txBody>
      </p:sp>
      <p:sp>
        <p:nvSpPr>
          <p:cNvPr id="5" name="Footer Placeholder 4">
            <a:extLst>
              <a:ext uri="{FF2B5EF4-FFF2-40B4-BE49-F238E27FC236}">
                <a16:creationId xmlns:a16="http://schemas.microsoft.com/office/drawing/2014/main" id="{7D5DA016-2634-427D-87D9-40B8ADD1E4DA}"/>
              </a:ext>
            </a:extLst>
          </p:cNvPr>
          <p:cNvSpPr>
            <a:spLocks noGrp="1"/>
          </p:cNvSpPr>
          <p:nvPr>
            <p:ph type="ftr" sz="quarter" idx="11"/>
          </p:nvPr>
        </p:nvSpPr>
        <p:spPr>
          <a:xfrm>
            <a:off x="839416" y="6349531"/>
            <a:ext cx="3401588" cy="153888"/>
          </a:xfrm>
        </p:spPr>
        <p:txBody>
          <a:bodyPr/>
          <a:lstStyle/>
          <a:p>
            <a:r>
              <a:rPr lang="fr-BE"/>
              <a:t>Title of the presentation</a:t>
            </a:r>
          </a:p>
        </p:txBody>
      </p:sp>
      <p:sp>
        <p:nvSpPr>
          <p:cNvPr id="6" name="Slide Number Placeholder 5">
            <a:extLst>
              <a:ext uri="{FF2B5EF4-FFF2-40B4-BE49-F238E27FC236}">
                <a16:creationId xmlns:a16="http://schemas.microsoft.com/office/drawing/2014/main" id="{5ABCE68F-B38C-4691-92D9-EBF2E4A29960}"/>
              </a:ext>
            </a:extLst>
          </p:cNvPr>
          <p:cNvSpPr>
            <a:spLocks noGrp="1"/>
          </p:cNvSpPr>
          <p:nvPr>
            <p:ph type="sldNum" sz="quarter" idx="12"/>
          </p:nvPr>
        </p:nvSpPr>
        <p:spPr/>
        <p:txBody>
          <a:bodyPr/>
          <a:lstStyle/>
          <a:p>
            <a:fld id="{820150FD-603F-44AF-ADBB-D2D9D0B3C68D}" type="slidenum">
              <a:rPr lang="fr-BE" smtClean="0"/>
              <a:t>‹#›</a:t>
            </a:fld>
            <a:endParaRPr lang="fr-BE"/>
          </a:p>
        </p:txBody>
      </p:sp>
      <p:sp>
        <p:nvSpPr>
          <p:cNvPr id="9" name="Text Placeholder 8">
            <a:extLst>
              <a:ext uri="{FF2B5EF4-FFF2-40B4-BE49-F238E27FC236}">
                <a16:creationId xmlns:a16="http://schemas.microsoft.com/office/drawing/2014/main" id="{96DF4BB3-4BBE-459F-9A3D-6902F3A2F80C}"/>
              </a:ext>
            </a:extLst>
          </p:cNvPr>
          <p:cNvSpPr>
            <a:spLocks noGrp="1"/>
          </p:cNvSpPr>
          <p:nvPr>
            <p:ph type="body" sz="quarter" idx="13"/>
          </p:nvPr>
        </p:nvSpPr>
        <p:spPr>
          <a:xfrm>
            <a:off x="371475" y="945479"/>
            <a:ext cx="11449050" cy="360099"/>
          </a:xfrm>
        </p:spPr>
        <p:txBody>
          <a:bodyPr rIns="0">
            <a:spAutoFit/>
          </a:bodyPr>
          <a:lstStyle>
            <a:lvl1pPr marL="0" indent="0">
              <a:buNone/>
              <a:defRPr sz="2600" b="0">
                <a:solidFill>
                  <a:schemeClr val="accent1"/>
                </a:solidFill>
              </a:defRPr>
            </a:lvl1pPr>
          </a:lstStyle>
          <a:p>
            <a:pPr lvl="0"/>
            <a:r>
              <a:rPr lang="en-US"/>
              <a:t>Click to edit Master text styles</a:t>
            </a:r>
          </a:p>
        </p:txBody>
      </p:sp>
      <p:sp>
        <p:nvSpPr>
          <p:cNvPr id="13" name="Text Placeholder 8">
            <a:extLst>
              <a:ext uri="{FF2B5EF4-FFF2-40B4-BE49-F238E27FC236}">
                <a16:creationId xmlns:a16="http://schemas.microsoft.com/office/drawing/2014/main" id="{2B2907A2-432F-42D2-96E3-CC564DEAAD46}"/>
              </a:ext>
            </a:extLst>
          </p:cNvPr>
          <p:cNvSpPr>
            <a:spLocks noGrp="1"/>
          </p:cNvSpPr>
          <p:nvPr>
            <p:ph type="body" sz="quarter" idx="15"/>
          </p:nvPr>
        </p:nvSpPr>
        <p:spPr>
          <a:xfrm>
            <a:off x="1330772" y="2591871"/>
            <a:ext cx="10486406"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14" name="Text Placeholder 8">
            <a:extLst>
              <a:ext uri="{FF2B5EF4-FFF2-40B4-BE49-F238E27FC236}">
                <a16:creationId xmlns:a16="http://schemas.microsoft.com/office/drawing/2014/main" id="{76924CEC-C8B2-4028-A9D6-A30951AFD283}"/>
              </a:ext>
            </a:extLst>
          </p:cNvPr>
          <p:cNvSpPr>
            <a:spLocks noGrp="1"/>
          </p:cNvSpPr>
          <p:nvPr>
            <p:ph type="body" sz="quarter" idx="16" hasCustomPrompt="1"/>
          </p:nvPr>
        </p:nvSpPr>
        <p:spPr>
          <a:xfrm>
            <a:off x="374822" y="2240838"/>
            <a:ext cx="740587" cy="720197"/>
          </a:xfrm>
        </p:spPr>
        <p:txBody>
          <a:bodyPr wrap="none" rIns="0" anchor="b">
            <a:spAutoFit/>
          </a:bodyPr>
          <a:lstStyle>
            <a:lvl1pPr marL="0" indent="0" algn="l">
              <a:buNone/>
              <a:defRPr sz="5200" b="1">
                <a:solidFill>
                  <a:schemeClr val="accent1"/>
                </a:solidFill>
              </a:defRPr>
            </a:lvl1pPr>
          </a:lstStyle>
          <a:p>
            <a:pPr lvl="0"/>
            <a:r>
              <a:rPr lang="en-US"/>
              <a:t>##</a:t>
            </a:r>
            <a:endParaRPr lang="fr-BE"/>
          </a:p>
        </p:txBody>
      </p:sp>
      <p:sp>
        <p:nvSpPr>
          <p:cNvPr id="20" name="Text Placeholder 8">
            <a:extLst>
              <a:ext uri="{FF2B5EF4-FFF2-40B4-BE49-F238E27FC236}">
                <a16:creationId xmlns:a16="http://schemas.microsoft.com/office/drawing/2014/main" id="{61BD2841-28A9-483D-B724-6F7200EA54E1}"/>
              </a:ext>
            </a:extLst>
          </p:cNvPr>
          <p:cNvSpPr>
            <a:spLocks noGrp="1"/>
          </p:cNvSpPr>
          <p:nvPr>
            <p:ph type="body" sz="quarter" idx="19"/>
          </p:nvPr>
        </p:nvSpPr>
        <p:spPr>
          <a:xfrm>
            <a:off x="1330772" y="3629121"/>
            <a:ext cx="10486406"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1" name="Text Placeholder 8">
            <a:extLst>
              <a:ext uri="{FF2B5EF4-FFF2-40B4-BE49-F238E27FC236}">
                <a16:creationId xmlns:a16="http://schemas.microsoft.com/office/drawing/2014/main" id="{6E3F7BD7-968B-4062-B124-EEF487AD0EBB}"/>
              </a:ext>
            </a:extLst>
          </p:cNvPr>
          <p:cNvSpPr>
            <a:spLocks noGrp="1"/>
          </p:cNvSpPr>
          <p:nvPr>
            <p:ph type="body" sz="quarter" idx="20" hasCustomPrompt="1"/>
          </p:nvPr>
        </p:nvSpPr>
        <p:spPr>
          <a:xfrm>
            <a:off x="374822" y="3278088"/>
            <a:ext cx="740587" cy="720197"/>
          </a:xfrm>
        </p:spPr>
        <p:txBody>
          <a:bodyPr wrap="none" rIns="0" anchor="b">
            <a:spAutoFit/>
          </a:bodyPr>
          <a:lstStyle>
            <a:lvl1pPr marL="0" indent="0" algn="l">
              <a:buNone/>
              <a:defRPr sz="5200" b="1">
                <a:solidFill>
                  <a:schemeClr val="accent1">
                    <a:alpha val="60000"/>
                  </a:schemeClr>
                </a:solidFill>
              </a:defRPr>
            </a:lvl1pPr>
          </a:lstStyle>
          <a:p>
            <a:pPr lvl="0"/>
            <a:r>
              <a:rPr lang="en-US"/>
              <a:t>##</a:t>
            </a:r>
            <a:endParaRPr lang="fr-BE"/>
          </a:p>
        </p:txBody>
      </p:sp>
      <p:sp>
        <p:nvSpPr>
          <p:cNvPr id="24" name="Text Placeholder 8">
            <a:extLst>
              <a:ext uri="{FF2B5EF4-FFF2-40B4-BE49-F238E27FC236}">
                <a16:creationId xmlns:a16="http://schemas.microsoft.com/office/drawing/2014/main" id="{A68A9C2E-3BD8-4F8B-8271-9B331090E4EA}"/>
              </a:ext>
            </a:extLst>
          </p:cNvPr>
          <p:cNvSpPr>
            <a:spLocks noGrp="1"/>
          </p:cNvSpPr>
          <p:nvPr>
            <p:ph type="body" sz="quarter" idx="23"/>
          </p:nvPr>
        </p:nvSpPr>
        <p:spPr>
          <a:xfrm>
            <a:off x="1330772" y="4666371"/>
            <a:ext cx="10486406"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5" name="Text Placeholder 8">
            <a:extLst>
              <a:ext uri="{FF2B5EF4-FFF2-40B4-BE49-F238E27FC236}">
                <a16:creationId xmlns:a16="http://schemas.microsoft.com/office/drawing/2014/main" id="{B4A55B30-2834-4D57-B8EC-543B9220F353}"/>
              </a:ext>
            </a:extLst>
          </p:cNvPr>
          <p:cNvSpPr>
            <a:spLocks noGrp="1"/>
          </p:cNvSpPr>
          <p:nvPr>
            <p:ph type="body" sz="quarter" idx="24" hasCustomPrompt="1"/>
          </p:nvPr>
        </p:nvSpPr>
        <p:spPr>
          <a:xfrm>
            <a:off x="374822" y="4315338"/>
            <a:ext cx="740587" cy="720197"/>
          </a:xfrm>
        </p:spPr>
        <p:txBody>
          <a:bodyPr wrap="none" rIns="0" anchor="b">
            <a:spAutoFit/>
          </a:bodyPr>
          <a:lstStyle>
            <a:lvl1pPr marL="0" indent="0" algn="l">
              <a:buNone/>
              <a:defRPr sz="5200" b="1">
                <a:solidFill>
                  <a:schemeClr val="accent1">
                    <a:alpha val="40000"/>
                  </a:schemeClr>
                </a:solidFill>
              </a:defRPr>
            </a:lvl1pPr>
          </a:lstStyle>
          <a:p>
            <a:pPr lvl="0"/>
            <a:r>
              <a:rPr lang="en-US"/>
              <a:t>##</a:t>
            </a:r>
            <a:endParaRPr lang="fr-BE"/>
          </a:p>
        </p:txBody>
      </p:sp>
      <p:sp>
        <p:nvSpPr>
          <p:cNvPr id="28" name="Text Placeholder 8">
            <a:extLst>
              <a:ext uri="{FF2B5EF4-FFF2-40B4-BE49-F238E27FC236}">
                <a16:creationId xmlns:a16="http://schemas.microsoft.com/office/drawing/2014/main" id="{0A39934C-B52C-4EFF-90AD-F58A818C8CF7}"/>
              </a:ext>
            </a:extLst>
          </p:cNvPr>
          <p:cNvSpPr>
            <a:spLocks noGrp="1"/>
          </p:cNvSpPr>
          <p:nvPr>
            <p:ph type="body" sz="quarter" idx="27" hasCustomPrompt="1"/>
          </p:nvPr>
        </p:nvSpPr>
        <p:spPr>
          <a:xfrm>
            <a:off x="4439816" y="6349531"/>
            <a:ext cx="6120678" cy="153888"/>
          </a:xfrm>
        </p:spPr>
        <p:txBody>
          <a:bodyPr wrap="square" rIns="0" anchor="b">
            <a:spAutoFit/>
          </a:bodyPr>
          <a:lstStyle>
            <a:lvl1pPr marL="0" indent="0" algn="r">
              <a:lnSpc>
                <a:spcPct val="100000"/>
              </a:lnSpc>
              <a:spcBef>
                <a:spcPts val="600"/>
              </a:spcBef>
              <a:buNone/>
              <a:defRPr sz="1000" b="0">
                <a:solidFill>
                  <a:schemeClr val="accent5"/>
                </a:solidFill>
              </a:defRPr>
            </a:lvl1pPr>
          </a:lstStyle>
          <a:p>
            <a:pPr lvl="0"/>
            <a:r>
              <a:rPr lang="en-US"/>
              <a:t>Click to edit Master text styles</a:t>
            </a:r>
            <a:endParaRPr lang="fr-BE"/>
          </a:p>
        </p:txBody>
      </p:sp>
    </p:spTree>
    <p:extLst>
      <p:ext uri="{BB962C8B-B14F-4D97-AF65-F5344CB8AC3E}">
        <p14:creationId xmlns:p14="http://schemas.microsoft.com/office/powerpoint/2010/main" val="10540554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Two Line Title – Image Full P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1EE8084A-4287-B64B-A3D5-AFFA0055BA8E}"/>
              </a:ext>
            </a:extLst>
          </p:cNvPr>
          <p:cNvSpPr>
            <a:spLocks noGrp="1"/>
          </p:cNvSpPr>
          <p:nvPr>
            <p:ph type="pic" sz="quarter" idx="12"/>
          </p:nvPr>
        </p:nvSpPr>
        <p:spPr>
          <a:xfrm>
            <a:off x="0" y="0"/>
            <a:ext cx="12192000" cy="6172199"/>
          </a:xfrm>
          <a:solidFill>
            <a:schemeClr val="bg1">
              <a:lumMod val="75000"/>
            </a:schemeClr>
          </a:solidFill>
        </p:spPr>
        <p:txBody>
          <a:bodyPr/>
          <a:lstStyle>
            <a:lvl1pPr>
              <a:defRPr b="0" i="0"/>
            </a:lvl1pPr>
          </a:lstStyle>
          <a:p>
            <a:r>
              <a:rPr lang="en-US"/>
              <a:t>Click icon to add picture</a:t>
            </a:r>
          </a:p>
        </p:txBody>
      </p:sp>
      <p:sp>
        <p:nvSpPr>
          <p:cNvPr id="9" name="Title 1"/>
          <p:cNvSpPr>
            <a:spLocks noGrp="1"/>
          </p:cNvSpPr>
          <p:nvPr>
            <p:ph type="title" hasCustomPrompt="1"/>
          </p:nvPr>
        </p:nvSpPr>
        <p:spPr>
          <a:xfrm>
            <a:off x="457200" y="731520"/>
            <a:ext cx="8375904" cy="667512"/>
          </a:xfrm>
        </p:spPr>
        <p:txBody>
          <a:bodyPr wrap="square"/>
          <a:lstStyle>
            <a:lvl1pPr>
              <a:defRPr>
                <a:solidFill>
                  <a:schemeClr val="bg1"/>
                </a:solidFill>
              </a:defRPr>
            </a:lvl1pPr>
          </a:lstStyle>
          <a:p>
            <a:r>
              <a:rPr lang="en-US"/>
              <a:t>Click to edit Master </a:t>
            </a:r>
            <a:br>
              <a:rPr lang="en-US"/>
            </a:br>
            <a:r>
              <a:rPr lang="en-US"/>
              <a:t>title style</a:t>
            </a:r>
          </a:p>
        </p:txBody>
      </p:sp>
      <p:sp>
        <p:nvSpPr>
          <p:cNvPr id="2" name="Footer Placeholder 1">
            <a:extLst>
              <a:ext uri="{FF2B5EF4-FFF2-40B4-BE49-F238E27FC236}">
                <a16:creationId xmlns:a16="http://schemas.microsoft.com/office/drawing/2014/main" id="{48D9E570-5AC3-4B3E-B9FD-50E251099FC5}"/>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1466246556"/>
      </p:ext>
    </p:extLst>
  </p:cSld>
  <p:clrMapOvr>
    <a:masterClrMapping/>
  </p:clrMapOvr>
  <p:transition spd="slow"/>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wo Line Title and Subtitle – Image Full P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B5E70628-F739-E74D-B661-7B110FAA42DC}"/>
              </a:ext>
            </a:extLst>
          </p:cNvPr>
          <p:cNvSpPr>
            <a:spLocks noGrp="1"/>
          </p:cNvSpPr>
          <p:nvPr>
            <p:ph type="pic" sz="quarter" idx="12"/>
          </p:nvPr>
        </p:nvSpPr>
        <p:spPr>
          <a:xfrm>
            <a:off x="0" y="0"/>
            <a:ext cx="12192000" cy="6172199"/>
          </a:xfrm>
          <a:solidFill>
            <a:schemeClr val="bg1">
              <a:lumMod val="75000"/>
            </a:schemeClr>
          </a:solidFill>
        </p:spPr>
        <p:txBody>
          <a:bodyPr/>
          <a:lstStyle>
            <a:lvl1pPr>
              <a:defRPr b="0" i="0"/>
            </a:lvl1pPr>
          </a:lstStyle>
          <a:p>
            <a:r>
              <a:rPr lang="en-US"/>
              <a:t>Click icon to add picture</a:t>
            </a:r>
          </a:p>
        </p:txBody>
      </p:sp>
      <p:sp>
        <p:nvSpPr>
          <p:cNvPr id="7" name="Title 1"/>
          <p:cNvSpPr>
            <a:spLocks noGrp="1"/>
          </p:cNvSpPr>
          <p:nvPr>
            <p:ph type="title" hasCustomPrompt="1"/>
          </p:nvPr>
        </p:nvSpPr>
        <p:spPr>
          <a:xfrm>
            <a:off x="457200" y="731520"/>
            <a:ext cx="8375904" cy="667512"/>
          </a:xfrm>
        </p:spPr>
        <p:txBody>
          <a:bodyPr wrap="square"/>
          <a:lstStyle>
            <a:lvl1pPr>
              <a:defRPr>
                <a:solidFill>
                  <a:schemeClr val="bg1"/>
                </a:solidFill>
              </a:defRPr>
            </a:lvl1pPr>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bg1"/>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2" name="Footer Placeholder 1">
            <a:extLst>
              <a:ext uri="{FF2B5EF4-FFF2-40B4-BE49-F238E27FC236}">
                <a16:creationId xmlns:a16="http://schemas.microsoft.com/office/drawing/2014/main" id="{31C1FB2C-E4BB-50F0-B0D4-7C6C56A4EDA4}"/>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694110141"/>
      </p:ext>
    </p:extLst>
  </p:cSld>
  <p:clrMapOvr>
    <a:masterClrMapping/>
  </p:clrMapOvr>
  <p:transition spd="slow"/>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and Subtitle – Image Full Page">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E1CE73E-564C-3742-8772-BA467747C37E}"/>
              </a:ext>
            </a:extLst>
          </p:cNvPr>
          <p:cNvSpPr>
            <a:spLocks noGrp="1"/>
          </p:cNvSpPr>
          <p:nvPr>
            <p:ph type="pic" sz="quarter" idx="12"/>
          </p:nvPr>
        </p:nvSpPr>
        <p:spPr>
          <a:xfrm>
            <a:off x="0" y="0"/>
            <a:ext cx="12192000" cy="6172199"/>
          </a:xfrm>
          <a:solidFill>
            <a:schemeClr val="bg1">
              <a:lumMod val="75000"/>
            </a:schemeClr>
          </a:solidFill>
        </p:spPr>
        <p:txBody>
          <a:bodyPr/>
          <a:lstStyle>
            <a:lvl1pPr>
              <a:defRPr b="0" i="0"/>
            </a:lvl1pPr>
          </a:lstStyle>
          <a:p>
            <a:r>
              <a:rPr lang="en-US"/>
              <a:t>Click icon to add picture</a:t>
            </a:r>
          </a:p>
        </p:txBody>
      </p:sp>
      <p:sp>
        <p:nvSpPr>
          <p:cNvPr id="7" name="Title 1"/>
          <p:cNvSpPr>
            <a:spLocks noGrp="1"/>
          </p:cNvSpPr>
          <p:nvPr>
            <p:ph type="title"/>
          </p:nvPr>
        </p:nvSpPr>
        <p:spPr>
          <a:xfrm>
            <a:off x="457200" y="731520"/>
            <a:ext cx="8375904" cy="302580"/>
          </a:xfrm>
        </p:spPr>
        <p:txBody>
          <a:bodyPr wrap="square"/>
          <a:lstStyle>
            <a:lvl1pPr>
              <a:defRPr>
                <a:solidFill>
                  <a:schemeClr val="bg1"/>
                </a:solidFill>
              </a:defRPr>
            </a:lvl1pPr>
          </a:lstStyle>
          <a:p>
            <a:r>
              <a:rPr lang="en-US"/>
              <a:t>Click to edit Master title style</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bg1"/>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2" name="Footer Placeholder 1">
            <a:extLst>
              <a:ext uri="{FF2B5EF4-FFF2-40B4-BE49-F238E27FC236}">
                <a16:creationId xmlns:a16="http://schemas.microsoft.com/office/drawing/2014/main" id="{CCD795D4-3355-62C5-2D38-B75E3013CE99}"/>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250281617"/>
      </p:ext>
    </p:extLst>
  </p:cSld>
  <p:clrMapOvr>
    <a:masterClrMapping/>
  </p:clrMapOvr>
  <p:transition spd="slow"/>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10" name="Picture 9" descr="A picture containing circle&#10;&#10;Description automatically generated">
            <a:extLst>
              <a:ext uri="{FF2B5EF4-FFF2-40B4-BE49-F238E27FC236}">
                <a16:creationId xmlns:a16="http://schemas.microsoft.com/office/drawing/2014/main" id="{10941ED3-3F0C-D049-83FF-2BF814A6470C}"/>
              </a:ext>
            </a:extLst>
          </p:cNvPr>
          <p:cNvPicPr>
            <a:picLocks noChangeAspect="1"/>
          </p:cNvPicPr>
          <p:nvPr/>
        </p:nvPicPr>
        <p:blipFill>
          <a:blip r:embed="rId2"/>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5BE9CC4E-1B1A-7C43-8BF2-3B29FCC3FE8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65138" y="355600"/>
            <a:ext cx="1596273" cy="452486"/>
          </a:xfrm>
          <a:prstGeom prst="rect">
            <a:avLst/>
          </a:prstGeom>
        </p:spPr>
      </p:pic>
      <p:sp>
        <p:nvSpPr>
          <p:cNvPr id="12" name="Rectangle 11">
            <a:extLst>
              <a:ext uri="{FF2B5EF4-FFF2-40B4-BE49-F238E27FC236}">
                <a16:creationId xmlns:a16="http://schemas.microsoft.com/office/drawing/2014/main" id="{36AE4C7C-973D-0140-AE7E-B6784E087FF7}"/>
              </a:ext>
            </a:extLst>
          </p:cNvPr>
          <p:cNvSpPr/>
          <p:nvPr/>
        </p:nvSpPr>
        <p:spPr>
          <a:xfrm>
            <a:off x="457200" y="6493980"/>
            <a:ext cx="2905869" cy="107722"/>
          </a:xfrm>
          <a:prstGeom prst="rect">
            <a:avLst/>
          </a:prstGeom>
        </p:spPr>
        <p:txBody>
          <a:bodyPr wrap="square" lIns="0" tIns="0" rIns="0" bIns="0" anchor="b" anchorCtr="0">
            <a:spAutoFit/>
          </a:bodyPr>
          <a:lstStyle/>
          <a:p>
            <a:pPr algn="l"/>
            <a:r>
              <a:rPr lang="en-US" sz="700" b="0" i="0" kern="1200">
                <a:solidFill>
                  <a:srgbClr val="A6A6A6"/>
                </a:solidFill>
                <a:latin typeface="Roboto" panose="02000000000000000000" pitchFamily="2" charset="0"/>
                <a:ea typeface="Roboto" panose="02000000000000000000" pitchFamily="2" charset="0"/>
                <a:cs typeface="Arial" charset="0"/>
              </a:rPr>
              <a:t>© Verisk Analytics, Inc. All rights reserved.</a:t>
            </a:r>
            <a:endParaRPr lang="en-US" sz="700" b="0" i="0" kern="1200">
              <a:solidFill>
                <a:srgbClr val="A6A6A6"/>
              </a:solidFill>
              <a:effectLst/>
              <a:latin typeface="Roboto" panose="02000000000000000000" pitchFamily="2" charset="0"/>
              <a:ea typeface="Roboto" panose="02000000000000000000" pitchFamily="2" charset="0"/>
              <a:cs typeface="Arial" charset="0"/>
            </a:endParaRPr>
          </a:p>
        </p:txBody>
      </p:sp>
      <p:sp>
        <p:nvSpPr>
          <p:cNvPr id="7" name="Title 1"/>
          <p:cNvSpPr>
            <a:spLocks noGrp="1"/>
          </p:cNvSpPr>
          <p:nvPr>
            <p:ph type="title" hasCustomPrompt="1"/>
          </p:nvPr>
        </p:nvSpPr>
        <p:spPr>
          <a:xfrm>
            <a:off x="457200" y="1562994"/>
            <a:ext cx="4792639" cy="2195321"/>
          </a:xfrm>
        </p:spPr>
        <p:txBody>
          <a:bodyPr wrap="square" anchor="b" anchorCtr="0"/>
          <a:lstStyle>
            <a:lvl1pPr>
              <a:lnSpc>
                <a:spcPct val="100000"/>
              </a:lnSpc>
              <a:defRPr sz="3200"/>
            </a:lvl1pPr>
          </a:lstStyle>
          <a:p>
            <a:r>
              <a:rPr lang="en-US"/>
              <a:t>Click to edit Master </a:t>
            </a:r>
            <a:br>
              <a:rPr lang="en-US"/>
            </a:br>
            <a:r>
              <a:rPr lang="en-US"/>
              <a:t>title style</a:t>
            </a:r>
          </a:p>
        </p:txBody>
      </p:sp>
      <p:sp>
        <p:nvSpPr>
          <p:cNvPr id="9" name="Text Placeholder 12"/>
          <p:cNvSpPr>
            <a:spLocks noGrp="1"/>
          </p:cNvSpPr>
          <p:nvPr>
            <p:ph type="body" sz="quarter" idx="10" hasCustomPrompt="1"/>
          </p:nvPr>
        </p:nvSpPr>
        <p:spPr>
          <a:xfrm>
            <a:off x="457199" y="3959259"/>
            <a:ext cx="4792640" cy="902370"/>
          </a:xfrm>
        </p:spPr>
        <p:txBody>
          <a:bodyPr/>
          <a:lstStyle>
            <a:lvl1pPr marL="0" indent="0">
              <a:lnSpc>
                <a:spcPct val="100000"/>
              </a:lnSpc>
              <a:buNone/>
              <a:defRPr sz="2000" b="1" i="0">
                <a:solidFill>
                  <a:schemeClr val="accent3"/>
                </a:solidFill>
                <a:latin typeface="Roboto" panose="02000000000000000000" pitchFamily="2" charset="0"/>
                <a:ea typeface="Roboto" panose="02000000000000000000" pitchFamily="2" charset="0"/>
              </a:defRPr>
            </a:lvl1pPr>
          </a:lstStyle>
          <a:p>
            <a:pPr lvl="0"/>
            <a:r>
              <a:rPr lang="en-US"/>
              <a:t>Click to edit Master</a:t>
            </a:r>
            <a:br>
              <a:rPr lang="en-US"/>
            </a:br>
            <a:r>
              <a:rPr lang="en-US"/>
              <a:t>text styles</a:t>
            </a:r>
          </a:p>
        </p:txBody>
      </p:sp>
      <p:sp>
        <p:nvSpPr>
          <p:cNvPr id="3" name="Text Placeholder 2">
            <a:extLst>
              <a:ext uri="{FF2B5EF4-FFF2-40B4-BE49-F238E27FC236}">
                <a16:creationId xmlns:a16="http://schemas.microsoft.com/office/drawing/2014/main" id="{D99566C9-0BBC-3C48-AAAD-9EB657E681CB}"/>
              </a:ext>
            </a:extLst>
          </p:cNvPr>
          <p:cNvSpPr>
            <a:spLocks noGrp="1"/>
          </p:cNvSpPr>
          <p:nvPr>
            <p:ph type="body" sz="quarter" idx="11" hasCustomPrompt="1"/>
          </p:nvPr>
        </p:nvSpPr>
        <p:spPr>
          <a:xfrm>
            <a:off x="457199" y="5045334"/>
            <a:ext cx="4248615" cy="1128454"/>
          </a:xfrm>
        </p:spPr>
        <p:txBody>
          <a:bodyPr/>
          <a:lstStyle>
            <a:lvl1pPr marL="0" indent="0">
              <a:lnSpc>
                <a:spcPct val="100000"/>
              </a:lnSpc>
              <a:buNone/>
              <a:defRPr b="0" i="0"/>
            </a:lvl1pPr>
          </a:lstStyle>
          <a:p>
            <a:pPr lvl="0"/>
            <a:r>
              <a:rPr lang="en-US"/>
              <a:t>Date</a:t>
            </a:r>
          </a:p>
        </p:txBody>
      </p:sp>
      <p:sp>
        <p:nvSpPr>
          <p:cNvPr id="2" name="Footer Placeholder 1">
            <a:extLst>
              <a:ext uri="{FF2B5EF4-FFF2-40B4-BE49-F238E27FC236}">
                <a16:creationId xmlns:a16="http://schemas.microsoft.com/office/drawing/2014/main" id="{8B030502-DAF0-FFA9-5B8D-9EC71B2D7458}"/>
              </a:ext>
            </a:extLst>
          </p:cNvPr>
          <p:cNvSpPr>
            <a:spLocks noGrp="1"/>
          </p:cNvSpPr>
          <p:nvPr>
            <p:ph type="ftr" sz="quarter" idx="12"/>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1915668263"/>
      </p:ext>
    </p:extLst>
  </p:cSld>
  <p:clrMapOvr>
    <a:masterClrMapping/>
  </p:clrMapOvr>
  <p:transition spd="slow"/>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itle Slide – 2">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671C686-EE4F-9B46-8078-4F0542A37C91}"/>
              </a:ext>
            </a:extLst>
          </p:cNvPr>
          <p:cNvPicPr>
            <a:picLocks noChangeAspect="1"/>
          </p:cNvPicPr>
          <p:nvPr/>
        </p:nvPicPr>
        <p:blipFill>
          <a:blip r:embed="rId2"/>
          <a:srcRect/>
          <a:stretch/>
        </p:blipFill>
        <p:spPr>
          <a:xfrm>
            <a:off x="0" y="0"/>
            <a:ext cx="12192000" cy="6858000"/>
          </a:xfrm>
          <a:prstGeom prst="rect">
            <a:avLst/>
          </a:prstGeom>
        </p:spPr>
      </p:pic>
      <p:pic>
        <p:nvPicPr>
          <p:cNvPr id="17" name="Picture 16">
            <a:extLst>
              <a:ext uri="{FF2B5EF4-FFF2-40B4-BE49-F238E27FC236}">
                <a16:creationId xmlns:a16="http://schemas.microsoft.com/office/drawing/2014/main" id="{BBA747D7-C3C4-1143-B42B-39C9E5E82C4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65139" y="355600"/>
            <a:ext cx="1596270" cy="452486"/>
          </a:xfrm>
          <a:prstGeom prst="rect">
            <a:avLst/>
          </a:prstGeom>
        </p:spPr>
      </p:pic>
      <p:sp>
        <p:nvSpPr>
          <p:cNvPr id="12" name="Rectangle 11">
            <a:extLst>
              <a:ext uri="{FF2B5EF4-FFF2-40B4-BE49-F238E27FC236}">
                <a16:creationId xmlns:a16="http://schemas.microsoft.com/office/drawing/2014/main" id="{36AE4C7C-973D-0140-AE7E-B6784E087FF7}"/>
              </a:ext>
            </a:extLst>
          </p:cNvPr>
          <p:cNvSpPr/>
          <p:nvPr/>
        </p:nvSpPr>
        <p:spPr>
          <a:xfrm>
            <a:off x="457200" y="6493980"/>
            <a:ext cx="2905869" cy="107722"/>
          </a:xfrm>
          <a:prstGeom prst="rect">
            <a:avLst/>
          </a:prstGeom>
        </p:spPr>
        <p:txBody>
          <a:bodyPr wrap="square" lIns="0" tIns="0" rIns="0" bIns="0" anchor="b" anchorCtr="0">
            <a:spAutoFit/>
          </a:bodyPr>
          <a:lstStyle/>
          <a:p>
            <a:pPr algn="l"/>
            <a:r>
              <a:rPr lang="en-US" sz="700" b="0" i="0" kern="1200">
                <a:solidFill>
                  <a:schemeClr val="bg1"/>
                </a:solidFill>
                <a:latin typeface="Roboto" panose="02000000000000000000" pitchFamily="2" charset="0"/>
                <a:ea typeface="Roboto" panose="02000000000000000000" pitchFamily="2" charset="0"/>
                <a:cs typeface="Arial" charset="0"/>
              </a:rPr>
              <a:t>© Verisk Analytics, Inc. All rights reserved.</a:t>
            </a:r>
            <a:endParaRPr lang="en-US" sz="700" b="0" i="0" kern="1200">
              <a:solidFill>
                <a:schemeClr val="bg1"/>
              </a:solidFill>
              <a:effectLst/>
              <a:latin typeface="Roboto" panose="02000000000000000000" pitchFamily="2" charset="0"/>
              <a:ea typeface="Roboto" panose="02000000000000000000" pitchFamily="2" charset="0"/>
              <a:cs typeface="Arial" charset="0"/>
            </a:endParaRPr>
          </a:p>
        </p:txBody>
      </p:sp>
      <p:sp>
        <p:nvSpPr>
          <p:cNvPr id="7" name="Title 1"/>
          <p:cNvSpPr>
            <a:spLocks noGrp="1"/>
          </p:cNvSpPr>
          <p:nvPr>
            <p:ph type="title" hasCustomPrompt="1"/>
          </p:nvPr>
        </p:nvSpPr>
        <p:spPr>
          <a:xfrm>
            <a:off x="457199" y="1563624"/>
            <a:ext cx="5632703" cy="2194560"/>
          </a:xfrm>
        </p:spPr>
        <p:txBody>
          <a:bodyPr wrap="square" anchor="b" anchorCtr="0"/>
          <a:lstStyle>
            <a:lvl1pPr>
              <a:lnSpc>
                <a:spcPct val="100000"/>
              </a:lnSpc>
              <a:defRPr sz="3200">
                <a:solidFill>
                  <a:schemeClr val="bg1"/>
                </a:solidFill>
              </a:defRPr>
            </a:lvl1pPr>
          </a:lstStyle>
          <a:p>
            <a:r>
              <a:rPr lang="en-US"/>
              <a:t>Click to edit Master </a:t>
            </a:r>
            <a:br>
              <a:rPr lang="en-US"/>
            </a:br>
            <a:r>
              <a:rPr lang="en-US"/>
              <a:t>title style</a:t>
            </a:r>
          </a:p>
        </p:txBody>
      </p:sp>
      <p:sp>
        <p:nvSpPr>
          <p:cNvPr id="9" name="Text Placeholder 12"/>
          <p:cNvSpPr>
            <a:spLocks noGrp="1"/>
          </p:cNvSpPr>
          <p:nvPr>
            <p:ph type="body" sz="quarter" idx="10" hasCustomPrompt="1"/>
          </p:nvPr>
        </p:nvSpPr>
        <p:spPr>
          <a:xfrm>
            <a:off x="457200" y="3959352"/>
            <a:ext cx="5632703" cy="905256"/>
          </a:xfrm>
        </p:spPr>
        <p:txBody>
          <a:bodyPr/>
          <a:lstStyle>
            <a:lvl1pPr marL="0" indent="0">
              <a:lnSpc>
                <a:spcPct val="100000"/>
              </a:lnSpc>
              <a:buNone/>
              <a:defRPr sz="2000" b="1" i="0">
                <a:solidFill>
                  <a:schemeClr val="bg1"/>
                </a:solidFill>
                <a:latin typeface="Roboto" panose="02000000000000000000" pitchFamily="2" charset="0"/>
                <a:ea typeface="Roboto" panose="02000000000000000000" pitchFamily="2" charset="0"/>
              </a:defRPr>
            </a:lvl1pPr>
          </a:lstStyle>
          <a:p>
            <a:pPr lvl="0"/>
            <a:r>
              <a:rPr lang="en-US"/>
              <a:t>Click to edit Master </a:t>
            </a:r>
            <a:br>
              <a:rPr lang="en-US"/>
            </a:br>
            <a:r>
              <a:rPr lang="en-US"/>
              <a:t>text styles</a:t>
            </a:r>
          </a:p>
        </p:txBody>
      </p:sp>
      <p:sp>
        <p:nvSpPr>
          <p:cNvPr id="10" name="Text Placeholder 2">
            <a:extLst>
              <a:ext uri="{FF2B5EF4-FFF2-40B4-BE49-F238E27FC236}">
                <a16:creationId xmlns:a16="http://schemas.microsoft.com/office/drawing/2014/main" id="{21E83460-96C0-C442-9D1E-79D28AB03BDE}"/>
              </a:ext>
            </a:extLst>
          </p:cNvPr>
          <p:cNvSpPr>
            <a:spLocks noGrp="1"/>
          </p:cNvSpPr>
          <p:nvPr>
            <p:ph type="body" sz="quarter" idx="11" hasCustomPrompt="1"/>
          </p:nvPr>
        </p:nvSpPr>
        <p:spPr>
          <a:xfrm>
            <a:off x="457200" y="5047488"/>
            <a:ext cx="5632702" cy="1053148"/>
          </a:xfrm>
        </p:spPr>
        <p:txBody>
          <a:bodyPr/>
          <a:lstStyle>
            <a:lvl1pPr marL="0" indent="0">
              <a:lnSpc>
                <a:spcPct val="100000"/>
              </a:lnSpc>
              <a:buNone/>
              <a:defRPr b="0" i="0">
                <a:solidFill>
                  <a:schemeClr val="bg1"/>
                </a:solidFill>
              </a:defRPr>
            </a:lvl1pPr>
          </a:lstStyle>
          <a:p>
            <a:pPr lvl="0"/>
            <a:r>
              <a:rPr lang="en-US"/>
              <a:t>Date</a:t>
            </a:r>
          </a:p>
        </p:txBody>
      </p:sp>
      <p:sp>
        <p:nvSpPr>
          <p:cNvPr id="2" name="Footer Placeholder 1">
            <a:extLst>
              <a:ext uri="{FF2B5EF4-FFF2-40B4-BE49-F238E27FC236}">
                <a16:creationId xmlns:a16="http://schemas.microsoft.com/office/drawing/2014/main" id="{F8500D53-0326-B498-7323-D1242C73FA97}"/>
              </a:ext>
            </a:extLst>
          </p:cNvPr>
          <p:cNvSpPr>
            <a:spLocks noGrp="1"/>
          </p:cNvSpPr>
          <p:nvPr>
            <p:ph type="ftr" sz="quarter" idx="12"/>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834450695"/>
      </p:ext>
    </p:extLst>
  </p:cSld>
  <p:clrMapOvr>
    <a:masterClrMapping/>
  </p:clrMapOvr>
  <p:transition spd="slow"/>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Section Divider slide">
    <p:bg>
      <p:bgPr>
        <a:solidFill>
          <a:srgbClr val="2A7DE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CD056A9-283E-6447-A537-DCD8776EAB42}"/>
              </a:ext>
            </a:extLst>
          </p:cNvPr>
          <p:cNvPicPr>
            <a:picLocks noChangeAspect="1"/>
          </p:cNvPicPr>
          <p:nvPr/>
        </p:nvPicPr>
        <p:blipFill>
          <a:blip r:embed="rId2"/>
          <a:srcRect/>
          <a:stretch/>
        </p:blipFill>
        <p:spPr>
          <a:xfrm>
            <a:off x="0" y="2190"/>
            <a:ext cx="12192000" cy="6858000"/>
          </a:xfrm>
          <a:prstGeom prst="rect">
            <a:avLst/>
          </a:prstGeom>
        </p:spPr>
      </p:pic>
      <p:sp>
        <p:nvSpPr>
          <p:cNvPr id="5" name="Rectangle 4">
            <a:extLst>
              <a:ext uri="{FF2B5EF4-FFF2-40B4-BE49-F238E27FC236}">
                <a16:creationId xmlns:a16="http://schemas.microsoft.com/office/drawing/2014/main" id="{E16058CC-EE57-F24F-B140-B156652A03F1}"/>
              </a:ext>
            </a:extLst>
          </p:cNvPr>
          <p:cNvSpPr/>
          <p:nvPr/>
        </p:nvSpPr>
        <p:spPr>
          <a:xfrm>
            <a:off x="457200" y="6493980"/>
            <a:ext cx="2905869" cy="107722"/>
          </a:xfrm>
          <a:prstGeom prst="rect">
            <a:avLst/>
          </a:prstGeom>
        </p:spPr>
        <p:txBody>
          <a:bodyPr wrap="square" lIns="0" tIns="0" rIns="0" bIns="0" anchor="b" anchorCtr="0">
            <a:spAutoFit/>
          </a:bodyPr>
          <a:lstStyle/>
          <a:p>
            <a:pPr algn="l"/>
            <a:r>
              <a:rPr lang="en-US" sz="700" b="0" i="0" kern="1200">
                <a:solidFill>
                  <a:schemeClr val="bg1"/>
                </a:solidFill>
                <a:latin typeface="Roboto" panose="02000000000000000000" pitchFamily="2" charset="0"/>
                <a:ea typeface="Roboto" panose="02000000000000000000" pitchFamily="2" charset="0"/>
                <a:cs typeface="Arial" charset="0"/>
              </a:rPr>
              <a:t>© Verisk Analytics, Inc. All rights reserved.</a:t>
            </a:r>
            <a:endParaRPr lang="en-US" sz="700" b="0" i="0" kern="1200">
              <a:solidFill>
                <a:schemeClr val="bg1"/>
              </a:solidFill>
              <a:effectLst/>
              <a:latin typeface="Roboto" panose="02000000000000000000" pitchFamily="2" charset="0"/>
              <a:ea typeface="Roboto" panose="02000000000000000000" pitchFamily="2" charset="0"/>
              <a:cs typeface="Arial" charset="0"/>
            </a:endParaRPr>
          </a:p>
        </p:txBody>
      </p:sp>
      <p:sp>
        <p:nvSpPr>
          <p:cNvPr id="7" name="Title 1"/>
          <p:cNvSpPr>
            <a:spLocks noGrp="1"/>
          </p:cNvSpPr>
          <p:nvPr>
            <p:ph type="title" hasCustomPrompt="1"/>
          </p:nvPr>
        </p:nvSpPr>
        <p:spPr>
          <a:xfrm>
            <a:off x="457200" y="2377440"/>
            <a:ext cx="5641848" cy="1545336"/>
          </a:xfrm>
        </p:spPr>
        <p:txBody>
          <a:bodyPr wrap="square" anchor="b" anchorCtr="0"/>
          <a:lstStyle>
            <a:lvl1pPr>
              <a:lnSpc>
                <a:spcPct val="100000"/>
              </a:lnSpc>
              <a:defRPr sz="3600" b="0" i="0">
                <a:solidFill>
                  <a:schemeClr val="bg1"/>
                </a:solidFill>
                <a:latin typeface="Roboto" panose="02000000000000000000" pitchFamily="2" charset="0"/>
                <a:ea typeface="Roboto" panose="02000000000000000000" pitchFamily="2" charset="0"/>
              </a:defRPr>
            </a:lvl1pPr>
          </a:lstStyle>
          <a:p>
            <a:r>
              <a:rPr lang="en-US"/>
              <a:t>Click to edit</a:t>
            </a:r>
            <a:br>
              <a:rPr lang="en-US"/>
            </a:br>
            <a:r>
              <a:rPr lang="en-US"/>
              <a:t>Bold message/chapter</a:t>
            </a:r>
          </a:p>
        </p:txBody>
      </p:sp>
    </p:spTree>
    <p:extLst>
      <p:ext uri="{BB962C8B-B14F-4D97-AF65-F5344CB8AC3E}">
        <p14:creationId xmlns:p14="http://schemas.microsoft.com/office/powerpoint/2010/main" val="2522890578"/>
      </p:ext>
    </p:extLst>
  </p:cSld>
  <p:clrMapOvr>
    <a:masterClrMapping/>
  </p:clrMapOvr>
  <p:transition spd="slow"/>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p:cSld name="Section Divider slide – 2">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FA6095E-78D4-AB49-9E59-C38C007845DD}"/>
              </a:ext>
            </a:extLst>
          </p:cNvPr>
          <p:cNvPicPr>
            <a:picLocks noChangeAspect="1"/>
          </p:cNvPicPr>
          <p:nvPr/>
        </p:nvPicPr>
        <p:blipFill>
          <a:blip r:embed="rId2"/>
          <a:srcRect/>
          <a:stretch/>
        </p:blipFill>
        <p:spPr>
          <a:xfrm>
            <a:off x="0" y="2190"/>
            <a:ext cx="12192000" cy="6858000"/>
          </a:xfrm>
          <a:prstGeom prst="rect">
            <a:avLst/>
          </a:prstGeom>
        </p:spPr>
      </p:pic>
      <p:sp>
        <p:nvSpPr>
          <p:cNvPr id="12" name="Rectangle 11">
            <a:extLst>
              <a:ext uri="{FF2B5EF4-FFF2-40B4-BE49-F238E27FC236}">
                <a16:creationId xmlns:a16="http://schemas.microsoft.com/office/drawing/2014/main" id="{36AE4C7C-973D-0140-AE7E-B6784E087FF7}"/>
              </a:ext>
            </a:extLst>
          </p:cNvPr>
          <p:cNvSpPr/>
          <p:nvPr/>
        </p:nvSpPr>
        <p:spPr>
          <a:xfrm>
            <a:off x="457200" y="6493980"/>
            <a:ext cx="2905869" cy="107722"/>
          </a:xfrm>
          <a:prstGeom prst="rect">
            <a:avLst/>
          </a:prstGeom>
        </p:spPr>
        <p:txBody>
          <a:bodyPr wrap="square" lIns="0" tIns="0" rIns="0" bIns="0" anchor="b" anchorCtr="0">
            <a:spAutoFit/>
          </a:bodyPr>
          <a:lstStyle/>
          <a:p>
            <a:pPr algn="l"/>
            <a:r>
              <a:rPr lang="en-US" sz="700" b="0" i="0" kern="1200">
                <a:solidFill>
                  <a:srgbClr val="A6A6A6"/>
                </a:solidFill>
                <a:latin typeface="Roboto" panose="02000000000000000000" pitchFamily="2" charset="0"/>
                <a:ea typeface="Roboto" panose="02000000000000000000" pitchFamily="2" charset="0"/>
                <a:cs typeface="Arial" charset="0"/>
              </a:rPr>
              <a:t>© Verisk Analytics, Inc. All rights reserved.</a:t>
            </a:r>
            <a:endParaRPr lang="en-US" sz="700" b="0" i="0" kern="1200">
              <a:solidFill>
                <a:srgbClr val="A6A6A6"/>
              </a:solidFill>
              <a:effectLst/>
              <a:latin typeface="Roboto" panose="02000000000000000000" pitchFamily="2" charset="0"/>
              <a:ea typeface="Roboto" panose="02000000000000000000" pitchFamily="2" charset="0"/>
              <a:cs typeface="Arial" charset="0"/>
            </a:endParaRPr>
          </a:p>
        </p:txBody>
      </p:sp>
      <p:sp>
        <p:nvSpPr>
          <p:cNvPr id="7" name="Title 1"/>
          <p:cNvSpPr>
            <a:spLocks noGrp="1"/>
          </p:cNvSpPr>
          <p:nvPr>
            <p:ph type="title" hasCustomPrompt="1"/>
          </p:nvPr>
        </p:nvSpPr>
        <p:spPr>
          <a:xfrm>
            <a:off x="457200" y="2377440"/>
            <a:ext cx="5641848" cy="1545336"/>
          </a:xfrm>
        </p:spPr>
        <p:txBody>
          <a:bodyPr wrap="square" anchor="b" anchorCtr="0"/>
          <a:lstStyle>
            <a:lvl1pPr>
              <a:lnSpc>
                <a:spcPct val="100000"/>
              </a:lnSpc>
              <a:defRPr sz="3600" b="0" i="0">
                <a:latin typeface="Roboto" panose="02000000000000000000" pitchFamily="2" charset="0"/>
                <a:ea typeface="Roboto" panose="02000000000000000000" pitchFamily="2" charset="0"/>
              </a:defRPr>
            </a:lvl1pPr>
          </a:lstStyle>
          <a:p>
            <a:r>
              <a:rPr lang="en-US"/>
              <a:t>Click to edit</a:t>
            </a:r>
            <a:br>
              <a:rPr lang="en-US"/>
            </a:br>
            <a:r>
              <a:rPr lang="en-US"/>
              <a:t>Bold message/chapter</a:t>
            </a:r>
          </a:p>
        </p:txBody>
      </p:sp>
    </p:spTree>
    <p:extLst>
      <p:ext uri="{BB962C8B-B14F-4D97-AF65-F5344CB8AC3E}">
        <p14:creationId xmlns:p14="http://schemas.microsoft.com/office/powerpoint/2010/main" val="3821675706"/>
      </p:ext>
    </p:extLst>
  </p:cSld>
  <p:clrMapOvr>
    <a:masterClrMapping/>
  </p:clrMapOvr>
  <p:transition spd="slow"/>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Section Divider slide – 3">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3A4962A-7210-7E43-B60E-E74225924410}"/>
              </a:ext>
            </a:extLst>
          </p:cNvPr>
          <p:cNvPicPr>
            <a:picLocks noChangeAspect="1"/>
          </p:cNvPicPr>
          <p:nvPr/>
        </p:nvPicPr>
        <p:blipFill>
          <a:blip r:embed="rId2"/>
          <a:srcRect/>
          <a:stretch/>
        </p:blipFill>
        <p:spPr>
          <a:xfrm>
            <a:off x="0" y="2190"/>
            <a:ext cx="12192000" cy="6858000"/>
          </a:xfrm>
          <a:prstGeom prst="rect">
            <a:avLst/>
          </a:prstGeom>
        </p:spPr>
      </p:pic>
      <p:sp>
        <p:nvSpPr>
          <p:cNvPr id="12" name="Rectangle 11">
            <a:extLst>
              <a:ext uri="{FF2B5EF4-FFF2-40B4-BE49-F238E27FC236}">
                <a16:creationId xmlns:a16="http://schemas.microsoft.com/office/drawing/2014/main" id="{36AE4C7C-973D-0140-AE7E-B6784E087FF7}"/>
              </a:ext>
            </a:extLst>
          </p:cNvPr>
          <p:cNvSpPr/>
          <p:nvPr/>
        </p:nvSpPr>
        <p:spPr>
          <a:xfrm>
            <a:off x="457200" y="6493980"/>
            <a:ext cx="2905869" cy="107722"/>
          </a:xfrm>
          <a:prstGeom prst="rect">
            <a:avLst/>
          </a:prstGeom>
        </p:spPr>
        <p:txBody>
          <a:bodyPr wrap="square" lIns="0" tIns="0" rIns="0" bIns="0" anchor="b" anchorCtr="0">
            <a:spAutoFit/>
          </a:bodyPr>
          <a:lstStyle/>
          <a:p>
            <a:pPr algn="l"/>
            <a:r>
              <a:rPr lang="en-US" sz="700" b="0" i="0" kern="1200">
                <a:solidFill>
                  <a:srgbClr val="A6A6A6"/>
                </a:solidFill>
                <a:latin typeface="Roboto" panose="02000000000000000000" pitchFamily="2" charset="0"/>
                <a:ea typeface="Roboto" panose="02000000000000000000" pitchFamily="2" charset="0"/>
                <a:cs typeface="Arial" charset="0"/>
              </a:rPr>
              <a:t>© Verisk Analytics, Inc. All rights reserved.</a:t>
            </a:r>
            <a:endParaRPr lang="en-US" sz="700" b="0" i="0" kern="1200">
              <a:solidFill>
                <a:srgbClr val="A6A6A6"/>
              </a:solidFill>
              <a:effectLst/>
              <a:latin typeface="Roboto" panose="02000000000000000000" pitchFamily="2" charset="0"/>
              <a:ea typeface="Roboto" panose="02000000000000000000" pitchFamily="2" charset="0"/>
              <a:cs typeface="Arial" charset="0"/>
            </a:endParaRPr>
          </a:p>
        </p:txBody>
      </p:sp>
      <p:sp>
        <p:nvSpPr>
          <p:cNvPr id="7" name="Title 1"/>
          <p:cNvSpPr>
            <a:spLocks noGrp="1"/>
          </p:cNvSpPr>
          <p:nvPr>
            <p:ph type="title" hasCustomPrompt="1"/>
          </p:nvPr>
        </p:nvSpPr>
        <p:spPr>
          <a:xfrm>
            <a:off x="457200" y="2377440"/>
            <a:ext cx="5641848" cy="1545336"/>
          </a:xfrm>
        </p:spPr>
        <p:txBody>
          <a:bodyPr wrap="square" anchor="b" anchorCtr="0"/>
          <a:lstStyle>
            <a:lvl1pPr>
              <a:lnSpc>
                <a:spcPct val="100000"/>
              </a:lnSpc>
              <a:defRPr sz="3600" b="0" i="0">
                <a:latin typeface="Roboto" panose="02000000000000000000" pitchFamily="2" charset="0"/>
                <a:ea typeface="Roboto" panose="02000000000000000000" pitchFamily="2" charset="0"/>
              </a:defRPr>
            </a:lvl1pPr>
          </a:lstStyle>
          <a:p>
            <a:r>
              <a:rPr lang="en-US"/>
              <a:t>Click to edit</a:t>
            </a:r>
            <a:br>
              <a:rPr lang="en-US"/>
            </a:br>
            <a:r>
              <a:rPr lang="en-US"/>
              <a:t>Bold message/chapter</a:t>
            </a:r>
          </a:p>
        </p:txBody>
      </p:sp>
    </p:spTree>
    <p:extLst>
      <p:ext uri="{BB962C8B-B14F-4D97-AF65-F5344CB8AC3E}">
        <p14:creationId xmlns:p14="http://schemas.microsoft.com/office/powerpoint/2010/main" val="3566581046"/>
      </p:ext>
    </p:extLst>
  </p:cSld>
  <p:clrMapOvr>
    <a:masterClrMapping/>
  </p:clrMapOvr>
  <p:transition spd="slow"/>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Section Divider – Image">
    <p:bg>
      <p:bgPr>
        <a:solidFill>
          <a:srgbClr val="00358E"/>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2377440"/>
            <a:ext cx="5641848" cy="1545336"/>
          </a:xfrm>
        </p:spPr>
        <p:txBody>
          <a:bodyPr wrap="square" anchor="b" anchorCtr="0"/>
          <a:lstStyle>
            <a:lvl1pPr>
              <a:lnSpc>
                <a:spcPct val="100000"/>
              </a:lnSpc>
              <a:defRPr sz="3600" b="0" i="0">
                <a:solidFill>
                  <a:schemeClr val="bg1"/>
                </a:solidFill>
                <a:latin typeface="Roboto" panose="02000000000000000000" pitchFamily="2" charset="0"/>
                <a:ea typeface="Roboto" panose="02000000000000000000" pitchFamily="2" charset="0"/>
              </a:defRPr>
            </a:lvl1pPr>
          </a:lstStyle>
          <a:p>
            <a:r>
              <a:rPr lang="en-US"/>
              <a:t>Click to edit</a:t>
            </a:r>
            <a:br>
              <a:rPr lang="en-US"/>
            </a:br>
            <a:r>
              <a:rPr lang="en-US"/>
              <a:t>Bold message/chapter</a:t>
            </a:r>
          </a:p>
        </p:txBody>
      </p:sp>
      <p:sp>
        <p:nvSpPr>
          <p:cNvPr id="6" name="Picture Placeholder 6">
            <a:extLst>
              <a:ext uri="{FF2B5EF4-FFF2-40B4-BE49-F238E27FC236}">
                <a16:creationId xmlns:a16="http://schemas.microsoft.com/office/drawing/2014/main" id="{1FCA9674-F9C3-6C42-BBCB-8B9B4391C294}"/>
              </a:ext>
            </a:extLst>
          </p:cNvPr>
          <p:cNvSpPr>
            <a:spLocks noGrp="1"/>
          </p:cNvSpPr>
          <p:nvPr>
            <p:ph type="pic" sz="quarter" idx="11"/>
          </p:nvPr>
        </p:nvSpPr>
        <p:spPr>
          <a:xfrm>
            <a:off x="4648488" y="0"/>
            <a:ext cx="7543186" cy="6857674"/>
          </a:xfrm>
          <a:custGeom>
            <a:avLst/>
            <a:gdLst>
              <a:gd name="connsiteX0" fmla="*/ 1019279 w 7543186"/>
              <a:gd name="connsiteY0" fmla="*/ 0 h 6857674"/>
              <a:gd name="connsiteX1" fmla="*/ 7543186 w 7543186"/>
              <a:gd name="connsiteY1" fmla="*/ 0 h 6857674"/>
              <a:gd name="connsiteX2" fmla="*/ 7543186 w 7543186"/>
              <a:gd name="connsiteY2" fmla="*/ 6857674 h 6857674"/>
              <a:gd name="connsiteX3" fmla="*/ 0 w 7543186"/>
              <a:gd name="connsiteY3" fmla="*/ 6857674 h 6857674"/>
              <a:gd name="connsiteX4" fmla="*/ 1981078 w 7543186"/>
              <a:gd name="connsiteY4" fmla="*/ 2924260 h 6857674"/>
              <a:gd name="connsiteX5" fmla="*/ 1019279 w 7543186"/>
              <a:gd name="connsiteY5" fmla="*/ 0 h 685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43186" h="6857674">
                <a:moveTo>
                  <a:pt x="1019279" y="0"/>
                </a:moveTo>
                <a:lnTo>
                  <a:pt x="7543186" y="0"/>
                </a:lnTo>
                <a:cubicBezTo>
                  <a:pt x="7543186" y="0"/>
                  <a:pt x="7543186" y="0"/>
                  <a:pt x="7543186" y="6857674"/>
                </a:cubicBezTo>
                <a:cubicBezTo>
                  <a:pt x="7543186" y="6857674"/>
                  <a:pt x="7543186" y="6857674"/>
                  <a:pt x="0" y="6857674"/>
                </a:cubicBezTo>
                <a:cubicBezTo>
                  <a:pt x="1200208" y="5962499"/>
                  <a:pt x="1981078" y="4533681"/>
                  <a:pt x="1981078" y="2924260"/>
                </a:cubicBezTo>
                <a:cubicBezTo>
                  <a:pt x="1981078" y="1828887"/>
                  <a:pt x="1619220" y="819407"/>
                  <a:pt x="1019279" y="0"/>
                </a:cubicBezTo>
                <a:close/>
              </a:path>
            </a:pathLst>
          </a:custGeom>
          <a:solidFill>
            <a:schemeClr val="bg1">
              <a:lumMod val="75000"/>
            </a:schemeClr>
          </a:solidFill>
        </p:spPr>
        <p:txBody>
          <a:bodyPr wrap="square" tIns="2560320">
            <a:noAutofit/>
          </a:bodyPr>
          <a:lstStyle>
            <a:lvl1pPr marL="0" indent="0" algn="ctr">
              <a:buNone/>
              <a:defRPr b="0" i="0"/>
            </a:lvl1pPr>
          </a:lstStyle>
          <a:p>
            <a:r>
              <a:rPr lang="en-US"/>
              <a:t>Click icon to add picture</a:t>
            </a:r>
          </a:p>
        </p:txBody>
      </p:sp>
      <p:sp>
        <p:nvSpPr>
          <p:cNvPr id="8" name="Rectangle 7">
            <a:extLst>
              <a:ext uri="{FF2B5EF4-FFF2-40B4-BE49-F238E27FC236}">
                <a16:creationId xmlns:a16="http://schemas.microsoft.com/office/drawing/2014/main" id="{5B3A4D43-E6BA-884F-A3E6-8DA20E10E87C}"/>
              </a:ext>
            </a:extLst>
          </p:cNvPr>
          <p:cNvSpPr/>
          <p:nvPr/>
        </p:nvSpPr>
        <p:spPr>
          <a:xfrm>
            <a:off x="0" y="6172200"/>
            <a:ext cx="2815628" cy="685800"/>
          </a:xfrm>
          <a:prstGeom prst="rect">
            <a:avLst/>
          </a:prstGeom>
          <a:solidFill>
            <a:srgbClr val="0035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Roboto" panose="02000000000000000000" pitchFamily="2" charset="0"/>
            </a:endParaRPr>
          </a:p>
        </p:txBody>
      </p:sp>
      <p:sp>
        <p:nvSpPr>
          <p:cNvPr id="16" name="Rectangle 15">
            <a:extLst>
              <a:ext uri="{FF2B5EF4-FFF2-40B4-BE49-F238E27FC236}">
                <a16:creationId xmlns:a16="http://schemas.microsoft.com/office/drawing/2014/main" id="{9A6122EB-A2CB-EC4D-9FD0-94424F36E846}"/>
              </a:ext>
            </a:extLst>
          </p:cNvPr>
          <p:cNvSpPr/>
          <p:nvPr/>
        </p:nvSpPr>
        <p:spPr>
          <a:xfrm>
            <a:off x="457200" y="6493980"/>
            <a:ext cx="2905869" cy="107722"/>
          </a:xfrm>
          <a:prstGeom prst="rect">
            <a:avLst/>
          </a:prstGeom>
        </p:spPr>
        <p:txBody>
          <a:bodyPr wrap="square" lIns="0" tIns="0" rIns="0" bIns="0" anchor="b" anchorCtr="0">
            <a:spAutoFit/>
          </a:bodyPr>
          <a:lstStyle/>
          <a:p>
            <a:pPr algn="l"/>
            <a:r>
              <a:rPr lang="en-US" sz="700" b="0" i="0" kern="1200">
                <a:solidFill>
                  <a:schemeClr val="bg1"/>
                </a:solidFill>
                <a:latin typeface="Roboto" panose="02000000000000000000" pitchFamily="2" charset="0"/>
                <a:ea typeface="Roboto" panose="02000000000000000000" pitchFamily="2" charset="0"/>
                <a:cs typeface="Arial" charset="0"/>
              </a:rPr>
              <a:t>© Verisk Analytics, Inc. All rights reserved.</a:t>
            </a:r>
            <a:endParaRPr lang="en-US" sz="700" b="0" i="0" kern="1200">
              <a:solidFill>
                <a:schemeClr val="bg1"/>
              </a:solidFill>
              <a:effectLst/>
              <a:latin typeface="Roboto" panose="02000000000000000000" pitchFamily="2" charset="0"/>
              <a:ea typeface="Roboto" panose="02000000000000000000" pitchFamily="2" charset="0"/>
              <a:cs typeface="Arial" charset="0"/>
            </a:endParaRPr>
          </a:p>
        </p:txBody>
      </p:sp>
    </p:spTree>
    <p:extLst>
      <p:ext uri="{BB962C8B-B14F-4D97-AF65-F5344CB8AC3E}">
        <p14:creationId xmlns:p14="http://schemas.microsoft.com/office/powerpoint/2010/main" val="901003580"/>
      </p:ext>
    </p:extLst>
  </p:cSld>
  <p:clrMapOvr>
    <a:masterClrMapping/>
  </p:clrMapOvr>
  <p:transition spd="slow"/>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Section Divider Image – 2">
    <p:bg>
      <p:bgPr>
        <a:solidFill>
          <a:srgbClr val="2A7DE1"/>
        </a:solidFill>
        <a:effectLst/>
      </p:bgPr>
    </p:bg>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2377440"/>
            <a:ext cx="5641848" cy="1545336"/>
          </a:xfrm>
        </p:spPr>
        <p:txBody>
          <a:bodyPr wrap="square" anchor="b" anchorCtr="0"/>
          <a:lstStyle>
            <a:lvl1pPr>
              <a:lnSpc>
                <a:spcPct val="100000"/>
              </a:lnSpc>
              <a:defRPr sz="3600" b="0" i="0">
                <a:solidFill>
                  <a:schemeClr val="bg1"/>
                </a:solidFill>
                <a:latin typeface="Roboto" panose="02000000000000000000" pitchFamily="2" charset="0"/>
                <a:ea typeface="Roboto" panose="02000000000000000000" pitchFamily="2" charset="0"/>
              </a:defRPr>
            </a:lvl1pPr>
          </a:lstStyle>
          <a:p>
            <a:r>
              <a:rPr lang="en-US"/>
              <a:t>Click to edit</a:t>
            </a:r>
            <a:br>
              <a:rPr lang="en-US"/>
            </a:br>
            <a:r>
              <a:rPr lang="en-US"/>
              <a:t>Bold message/chapter</a:t>
            </a:r>
          </a:p>
        </p:txBody>
      </p:sp>
      <p:sp>
        <p:nvSpPr>
          <p:cNvPr id="6" name="Picture Placeholder 6">
            <a:extLst>
              <a:ext uri="{FF2B5EF4-FFF2-40B4-BE49-F238E27FC236}">
                <a16:creationId xmlns:a16="http://schemas.microsoft.com/office/drawing/2014/main" id="{1FCA9674-F9C3-6C42-BBCB-8B9B4391C294}"/>
              </a:ext>
            </a:extLst>
          </p:cNvPr>
          <p:cNvSpPr>
            <a:spLocks noGrp="1"/>
          </p:cNvSpPr>
          <p:nvPr>
            <p:ph type="pic" sz="quarter" idx="11"/>
          </p:nvPr>
        </p:nvSpPr>
        <p:spPr>
          <a:xfrm>
            <a:off x="4648488" y="0"/>
            <a:ext cx="7543186" cy="6857674"/>
          </a:xfrm>
          <a:custGeom>
            <a:avLst/>
            <a:gdLst>
              <a:gd name="connsiteX0" fmla="*/ 1019279 w 7543186"/>
              <a:gd name="connsiteY0" fmla="*/ 0 h 6857674"/>
              <a:gd name="connsiteX1" fmla="*/ 7543186 w 7543186"/>
              <a:gd name="connsiteY1" fmla="*/ 0 h 6857674"/>
              <a:gd name="connsiteX2" fmla="*/ 7543186 w 7543186"/>
              <a:gd name="connsiteY2" fmla="*/ 6857674 h 6857674"/>
              <a:gd name="connsiteX3" fmla="*/ 0 w 7543186"/>
              <a:gd name="connsiteY3" fmla="*/ 6857674 h 6857674"/>
              <a:gd name="connsiteX4" fmla="*/ 1981078 w 7543186"/>
              <a:gd name="connsiteY4" fmla="*/ 2924260 h 6857674"/>
              <a:gd name="connsiteX5" fmla="*/ 1019279 w 7543186"/>
              <a:gd name="connsiteY5" fmla="*/ 0 h 6857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543186" h="6857674">
                <a:moveTo>
                  <a:pt x="1019279" y="0"/>
                </a:moveTo>
                <a:lnTo>
                  <a:pt x="7543186" y="0"/>
                </a:lnTo>
                <a:cubicBezTo>
                  <a:pt x="7543186" y="0"/>
                  <a:pt x="7543186" y="0"/>
                  <a:pt x="7543186" y="6857674"/>
                </a:cubicBezTo>
                <a:cubicBezTo>
                  <a:pt x="7543186" y="6857674"/>
                  <a:pt x="7543186" y="6857674"/>
                  <a:pt x="0" y="6857674"/>
                </a:cubicBezTo>
                <a:cubicBezTo>
                  <a:pt x="1200208" y="5962499"/>
                  <a:pt x="1981078" y="4533681"/>
                  <a:pt x="1981078" y="2924260"/>
                </a:cubicBezTo>
                <a:cubicBezTo>
                  <a:pt x="1981078" y="1828887"/>
                  <a:pt x="1619220" y="819407"/>
                  <a:pt x="1019279" y="0"/>
                </a:cubicBezTo>
                <a:close/>
              </a:path>
            </a:pathLst>
          </a:custGeom>
          <a:solidFill>
            <a:schemeClr val="bg1">
              <a:lumMod val="75000"/>
            </a:schemeClr>
          </a:solidFill>
        </p:spPr>
        <p:txBody>
          <a:bodyPr wrap="square" tIns="2560320">
            <a:noAutofit/>
          </a:bodyPr>
          <a:lstStyle>
            <a:lvl1pPr marL="0" indent="0" algn="ctr">
              <a:buNone/>
              <a:defRPr b="0" i="0"/>
            </a:lvl1pPr>
          </a:lstStyle>
          <a:p>
            <a:r>
              <a:rPr lang="en-US"/>
              <a:t>Click icon to add picture</a:t>
            </a:r>
          </a:p>
        </p:txBody>
      </p:sp>
      <p:sp>
        <p:nvSpPr>
          <p:cNvPr id="4" name="Rectangle 3">
            <a:extLst>
              <a:ext uri="{FF2B5EF4-FFF2-40B4-BE49-F238E27FC236}">
                <a16:creationId xmlns:a16="http://schemas.microsoft.com/office/drawing/2014/main" id="{084A1C26-9A03-9145-A606-EDCE92A36881}"/>
              </a:ext>
            </a:extLst>
          </p:cNvPr>
          <p:cNvSpPr/>
          <p:nvPr/>
        </p:nvSpPr>
        <p:spPr>
          <a:xfrm>
            <a:off x="0" y="6172200"/>
            <a:ext cx="2815628" cy="685800"/>
          </a:xfrm>
          <a:prstGeom prst="rect">
            <a:avLst/>
          </a:prstGeom>
          <a:solidFill>
            <a:srgbClr val="2A7D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Roboto" panose="02000000000000000000" pitchFamily="2" charset="0"/>
            </a:endParaRPr>
          </a:p>
        </p:txBody>
      </p:sp>
      <p:sp>
        <p:nvSpPr>
          <p:cNvPr id="5" name="Rectangle 4">
            <a:extLst>
              <a:ext uri="{FF2B5EF4-FFF2-40B4-BE49-F238E27FC236}">
                <a16:creationId xmlns:a16="http://schemas.microsoft.com/office/drawing/2014/main" id="{E16058CC-EE57-F24F-B140-B156652A03F1}"/>
              </a:ext>
            </a:extLst>
          </p:cNvPr>
          <p:cNvSpPr/>
          <p:nvPr/>
        </p:nvSpPr>
        <p:spPr>
          <a:xfrm>
            <a:off x="457200" y="6493980"/>
            <a:ext cx="2905869" cy="107722"/>
          </a:xfrm>
          <a:prstGeom prst="rect">
            <a:avLst/>
          </a:prstGeom>
        </p:spPr>
        <p:txBody>
          <a:bodyPr wrap="square" lIns="0" tIns="0" rIns="0" bIns="0" anchor="b" anchorCtr="0">
            <a:spAutoFit/>
          </a:bodyPr>
          <a:lstStyle/>
          <a:p>
            <a:pPr algn="l"/>
            <a:r>
              <a:rPr lang="en-US" sz="700" b="0" i="0" kern="1200">
                <a:solidFill>
                  <a:schemeClr val="bg1"/>
                </a:solidFill>
                <a:latin typeface="Roboto" panose="02000000000000000000" pitchFamily="2" charset="0"/>
                <a:ea typeface="Roboto" panose="02000000000000000000" pitchFamily="2" charset="0"/>
                <a:cs typeface="Arial" charset="0"/>
              </a:rPr>
              <a:t>© Verisk Analytics, Inc. All rights reserved.</a:t>
            </a:r>
            <a:endParaRPr lang="en-US" sz="700" b="0" i="0" kern="1200">
              <a:solidFill>
                <a:schemeClr val="bg1"/>
              </a:solidFill>
              <a:effectLst/>
              <a:latin typeface="Roboto" panose="02000000000000000000" pitchFamily="2" charset="0"/>
              <a:ea typeface="Roboto" panose="02000000000000000000" pitchFamily="2" charset="0"/>
              <a:cs typeface="Arial" charset="0"/>
            </a:endParaRPr>
          </a:p>
        </p:txBody>
      </p:sp>
    </p:spTree>
    <p:extLst>
      <p:ext uri="{BB962C8B-B14F-4D97-AF65-F5344CB8AC3E}">
        <p14:creationId xmlns:p14="http://schemas.microsoft.com/office/powerpoint/2010/main" val="753682984"/>
      </p:ext>
    </p:extLst>
  </p:cSld>
  <p:clrMapOvr>
    <a:masterClrMapping/>
  </p:clrMapOvr>
  <p:transition spd="slow"/>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 4 Chapt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0BE56-AFAF-4CD1-8444-B79DDCE8BC73}"/>
              </a:ext>
            </a:extLst>
          </p:cNvPr>
          <p:cNvSpPr>
            <a:spLocks noGrp="1"/>
          </p:cNvSpPr>
          <p:nvPr>
            <p:ph type="title"/>
          </p:nvPr>
        </p:nvSpPr>
        <p:spPr/>
        <p:txBody>
          <a:bodyPr anchor="b"/>
          <a:lstStyle/>
          <a:p>
            <a:r>
              <a:rPr lang="en-US"/>
              <a:t>Click to edit Master title style</a:t>
            </a:r>
            <a:endParaRPr lang="fr-BE"/>
          </a:p>
        </p:txBody>
      </p:sp>
      <p:sp>
        <p:nvSpPr>
          <p:cNvPr id="5" name="Footer Placeholder 4">
            <a:extLst>
              <a:ext uri="{FF2B5EF4-FFF2-40B4-BE49-F238E27FC236}">
                <a16:creationId xmlns:a16="http://schemas.microsoft.com/office/drawing/2014/main" id="{7D5DA016-2634-427D-87D9-40B8ADD1E4DA}"/>
              </a:ext>
            </a:extLst>
          </p:cNvPr>
          <p:cNvSpPr>
            <a:spLocks noGrp="1"/>
          </p:cNvSpPr>
          <p:nvPr>
            <p:ph type="ftr" sz="quarter" idx="11"/>
          </p:nvPr>
        </p:nvSpPr>
        <p:spPr>
          <a:xfrm>
            <a:off x="839416" y="6349531"/>
            <a:ext cx="3401588" cy="153888"/>
          </a:xfrm>
        </p:spPr>
        <p:txBody>
          <a:bodyPr/>
          <a:lstStyle/>
          <a:p>
            <a:r>
              <a:rPr lang="fr-BE"/>
              <a:t>Title of the presentation</a:t>
            </a:r>
          </a:p>
        </p:txBody>
      </p:sp>
      <p:sp>
        <p:nvSpPr>
          <p:cNvPr id="6" name="Slide Number Placeholder 5">
            <a:extLst>
              <a:ext uri="{FF2B5EF4-FFF2-40B4-BE49-F238E27FC236}">
                <a16:creationId xmlns:a16="http://schemas.microsoft.com/office/drawing/2014/main" id="{5ABCE68F-B38C-4691-92D9-EBF2E4A29960}"/>
              </a:ext>
            </a:extLst>
          </p:cNvPr>
          <p:cNvSpPr>
            <a:spLocks noGrp="1"/>
          </p:cNvSpPr>
          <p:nvPr>
            <p:ph type="sldNum" sz="quarter" idx="12"/>
          </p:nvPr>
        </p:nvSpPr>
        <p:spPr/>
        <p:txBody>
          <a:bodyPr/>
          <a:lstStyle/>
          <a:p>
            <a:fld id="{820150FD-603F-44AF-ADBB-D2D9D0B3C68D}" type="slidenum">
              <a:rPr lang="fr-BE" smtClean="0"/>
              <a:t>‹#›</a:t>
            </a:fld>
            <a:endParaRPr lang="fr-BE"/>
          </a:p>
        </p:txBody>
      </p:sp>
      <p:sp>
        <p:nvSpPr>
          <p:cNvPr id="9" name="Text Placeholder 8">
            <a:extLst>
              <a:ext uri="{FF2B5EF4-FFF2-40B4-BE49-F238E27FC236}">
                <a16:creationId xmlns:a16="http://schemas.microsoft.com/office/drawing/2014/main" id="{96DF4BB3-4BBE-459F-9A3D-6902F3A2F80C}"/>
              </a:ext>
            </a:extLst>
          </p:cNvPr>
          <p:cNvSpPr>
            <a:spLocks noGrp="1"/>
          </p:cNvSpPr>
          <p:nvPr>
            <p:ph type="body" sz="quarter" idx="13"/>
          </p:nvPr>
        </p:nvSpPr>
        <p:spPr>
          <a:xfrm>
            <a:off x="371475" y="945479"/>
            <a:ext cx="11449050" cy="360099"/>
          </a:xfrm>
        </p:spPr>
        <p:txBody>
          <a:bodyPr rIns="0">
            <a:spAutoFit/>
          </a:bodyPr>
          <a:lstStyle>
            <a:lvl1pPr marL="0" indent="0">
              <a:buNone/>
              <a:defRPr sz="2600" b="0">
                <a:solidFill>
                  <a:schemeClr val="accent1"/>
                </a:solidFill>
              </a:defRPr>
            </a:lvl1pPr>
          </a:lstStyle>
          <a:p>
            <a:pPr lvl="0"/>
            <a:r>
              <a:rPr lang="en-US"/>
              <a:t>Click to edit Master text styles</a:t>
            </a:r>
          </a:p>
        </p:txBody>
      </p:sp>
      <p:sp>
        <p:nvSpPr>
          <p:cNvPr id="13" name="Text Placeholder 8">
            <a:extLst>
              <a:ext uri="{FF2B5EF4-FFF2-40B4-BE49-F238E27FC236}">
                <a16:creationId xmlns:a16="http://schemas.microsoft.com/office/drawing/2014/main" id="{2B2907A2-432F-42D2-96E3-CC564DEAAD46}"/>
              </a:ext>
            </a:extLst>
          </p:cNvPr>
          <p:cNvSpPr>
            <a:spLocks noGrp="1"/>
          </p:cNvSpPr>
          <p:nvPr>
            <p:ph type="body" sz="quarter" idx="15"/>
          </p:nvPr>
        </p:nvSpPr>
        <p:spPr>
          <a:xfrm>
            <a:off x="1330772" y="2915937"/>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14" name="Text Placeholder 8">
            <a:extLst>
              <a:ext uri="{FF2B5EF4-FFF2-40B4-BE49-F238E27FC236}">
                <a16:creationId xmlns:a16="http://schemas.microsoft.com/office/drawing/2014/main" id="{76924CEC-C8B2-4028-A9D6-A30951AFD283}"/>
              </a:ext>
            </a:extLst>
          </p:cNvPr>
          <p:cNvSpPr>
            <a:spLocks noGrp="1"/>
          </p:cNvSpPr>
          <p:nvPr>
            <p:ph type="body" sz="quarter" idx="16" hasCustomPrompt="1"/>
          </p:nvPr>
        </p:nvSpPr>
        <p:spPr>
          <a:xfrm>
            <a:off x="374822" y="2564904"/>
            <a:ext cx="740587" cy="720197"/>
          </a:xfrm>
        </p:spPr>
        <p:txBody>
          <a:bodyPr wrap="none" rIns="0" anchor="b">
            <a:spAutoFit/>
          </a:bodyPr>
          <a:lstStyle>
            <a:lvl1pPr marL="0" indent="0" algn="l">
              <a:buNone/>
              <a:defRPr sz="5200" b="1">
                <a:solidFill>
                  <a:schemeClr val="accent1"/>
                </a:solidFill>
              </a:defRPr>
            </a:lvl1pPr>
          </a:lstStyle>
          <a:p>
            <a:pPr lvl="0"/>
            <a:r>
              <a:rPr lang="en-US"/>
              <a:t>##</a:t>
            </a:r>
            <a:endParaRPr lang="fr-BE"/>
          </a:p>
        </p:txBody>
      </p:sp>
      <p:sp>
        <p:nvSpPr>
          <p:cNvPr id="18" name="Text Placeholder 8">
            <a:extLst>
              <a:ext uri="{FF2B5EF4-FFF2-40B4-BE49-F238E27FC236}">
                <a16:creationId xmlns:a16="http://schemas.microsoft.com/office/drawing/2014/main" id="{A95BF971-64C3-4FE7-86BA-ECF4359790E4}"/>
              </a:ext>
            </a:extLst>
          </p:cNvPr>
          <p:cNvSpPr>
            <a:spLocks noGrp="1"/>
          </p:cNvSpPr>
          <p:nvPr>
            <p:ph type="body" sz="quarter" idx="17"/>
          </p:nvPr>
        </p:nvSpPr>
        <p:spPr>
          <a:xfrm>
            <a:off x="7054839" y="2915937"/>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19" name="Text Placeholder 8">
            <a:extLst>
              <a:ext uri="{FF2B5EF4-FFF2-40B4-BE49-F238E27FC236}">
                <a16:creationId xmlns:a16="http://schemas.microsoft.com/office/drawing/2014/main" id="{CC1EC8AB-9D4D-4BC7-8B76-009DB48803D3}"/>
              </a:ext>
            </a:extLst>
          </p:cNvPr>
          <p:cNvSpPr>
            <a:spLocks noGrp="1"/>
          </p:cNvSpPr>
          <p:nvPr>
            <p:ph type="body" sz="quarter" idx="18" hasCustomPrompt="1"/>
          </p:nvPr>
        </p:nvSpPr>
        <p:spPr>
          <a:xfrm>
            <a:off x="6098889" y="2564904"/>
            <a:ext cx="740587" cy="720197"/>
          </a:xfrm>
        </p:spPr>
        <p:txBody>
          <a:bodyPr wrap="none" rIns="0" anchor="b">
            <a:spAutoFit/>
          </a:bodyPr>
          <a:lstStyle>
            <a:lvl1pPr marL="0" indent="0" algn="l">
              <a:buNone/>
              <a:defRPr sz="5200" b="1">
                <a:solidFill>
                  <a:schemeClr val="accent4"/>
                </a:solidFill>
              </a:defRPr>
            </a:lvl1pPr>
          </a:lstStyle>
          <a:p>
            <a:pPr lvl="0"/>
            <a:r>
              <a:rPr lang="en-US"/>
              <a:t>##</a:t>
            </a:r>
            <a:endParaRPr lang="fr-BE"/>
          </a:p>
        </p:txBody>
      </p:sp>
      <p:sp>
        <p:nvSpPr>
          <p:cNvPr id="20" name="Text Placeholder 8">
            <a:extLst>
              <a:ext uri="{FF2B5EF4-FFF2-40B4-BE49-F238E27FC236}">
                <a16:creationId xmlns:a16="http://schemas.microsoft.com/office/drawing/2014/main" id="{61BD2841-28A9-483D-B724-6F7200EA54E1}"/>
              </a:ext>
            </a:extLst>
          </p:cNvPr>
          <p:cNvSpPr>
            <a:spLocks noGrp="1"/>
          </p:cNvSpPr>
          <p:nvPr>
            <p:ph type="body" sz="quarter" idx="19"/>
          </p:nvPr>
        </p:nvSpPr>
        <p:spPr>
          <a:xfrm>
            <a:off x="1330772" y="4211964"/>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1" name="Text Placeholder 8">
            <a:extLst>
              <a:ext uri="{FF2B5EF4-FFF2-40B4-BE49-F238E27FC236}">
                <a16:creationId xmlns:a16="http://schemas.microsoft.com/office/drawing/2014/main" id="{6E3F7BD7-968B-4062-B124-EEF487AD0EBB}"/>
              </a:ext>
            </a:extLst>
          </p:cNvPr>
          <p:cNvSpPr>
            <a:spLocks noGrp="1"/>
          </p:cNvSpPr>
          <p:nvPr>
            <p:ph type="body" sz="quarter" idx="20" hasCustomPrompt="1"/>
          </p:nvPr>
        </p:nvSpPr>
        <p:spPr>
          <a:xfrm>
            <a:off x="374822" y="3860931"/>
            <a:ext cx="740587" cy="720197"/>
          </a:xfrm>
        </p:spPr>
        <p:txBody>
          <a:bodyPr wrap="none" rIns="0" anchor="b">
            <a:spAutoFit/>
          </a:bodyPr>
          <a:lstStyle>
            <a:lvl1pPr marL="0" indent="0" algn="l">
              <a:buNone/>
              <a:defRPr sz="5200" b="1">
                <a:solidFill>
                  <a:schemeClr val="accent1">
                    <a:alpha val="60000"/>
                  </a:schemeClr>
                </a:solidFill>
              </a:defRPr>
            </a:lvl1pPr>
          </a:lstStyle>
          <a:p>
            <a:pPr lvl="0"/>
            <a:r>
              <a:rPr lang="en-US"/>
              <a:t>##</a:t>
            </a:r>
            <a:endParaRPr lang="fr-BE"/>
          </a:p>
        </p:txBody>
      </p:sp>
      <p:sp>
        <p:nvSpPr>
          <p:cNvPr id="22" name="Text Placeholder 8">
            <a:extLst>
              <a:ext uri="{FF2B5EF4-FFF2-40B4-BE49-F238E27FC236}">
                <a16:creationId xmlns:a16="http://schemas.microsoft.com/office/drawing/2014/main" id="{58AB3217-10D3-4A10-AD87-F5A9F855A98A}"/>
              </a:ext>
            </a:extLst>
          </p:cNvPr>
          <p:cNvSpPr>
            <a:spLocks noGrp="1"/>
          </p:cNvSpPr>
          <p:nvPr>
            <p:ph type="body" sz="quarter" idx="21"/>
          </p:nvPr>
        </p:nvSpPr>
        <p:spPr>
          <a:xfrm>
            <a:off x="7054839" y="4211964"/>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3" name="Text Placeholder 8">
            <a:extLst>
              <a:ext uri="{FF2B5EF4-FFF2-40B4-BE49-F238E27FC236}">
                <a16:creationId xmlns:a16="http://schemas.microsoft.com/office/drawing/2014/main" id="{0707CE93-A1C3-4F77-9C09-A5E0C1CC84AB}"/>
              </a:ext>
            </a:extLst>
          </p:cNvPr>
          <p:cNvSpPr>
            <a:spLocks noGrp="1"/>
          </p:cNvSpPr>
          <p:nvPr>
            <p:ph type="body" sz="quarter" idx="22" hasCustomPrompt="1"/>
          </p:nvPr>
        </p:nvSpPr>
        <p:spPr>
          <a:xfrm>
            <a:off x="6098889" y="3860931"/>
            <a:ext cx="740587" cy="720197"/>
          </a:xfrm>
        </p:spPr>
        <p:txBody>
          <a:bodyPr wrap="none" rIns="0" anchor="b">
            <a:spAutoFit/>
          </a:bodyPr>
          <a:lstStyle>
            <a:lvl1pPr marL="0" indent="0" algn="l">
              <a:buNone/>
              <a:defRPr sz="5200" b="1">
                <a:solidFill>
                  <a:schemeClr val="accent4">
                    <a:alpha val="60000"/>
                  </a:schemeClr>
                </a:solidFill>
              </a:defRPr>
            </a:lvl1pPr>
          </a:lstStyle>
          <a:p>
            <a:pPr lvl="0"/>
            <a:r>
              <a:rPr lang="en-US"/>
              <a:t>##</a:t>
            </a:r>
            <a:endParaRPr lang="fr-BE"/>
          </a:p>
        </p:txBody>
      </p:sp>
      <p:sp>
        <p:nvSpPr>
          <p:cNvPr id="28" name="Text Placeholder 8">
            <a:extLst>
              <a:ext uri="{FF2B5EF4-FFF2-40B4-BE49-F238E27FC236}">
                <a16:creationId xmlns:a16="http://schemas.microsoft.com/office/drawing/2014/main" id="{0A39934C-B52C-4EFF-90AD-F58A818C8CF7}"/>
              </a:ext>
            </a:extLst>
          </p:cNvPr>
          <p:cNvSpPr>
            <a:spLocks noGrp="1"/>
          </p:cNvSpPr>
          <p:nvPr>
            <p:ph type="body" sz="quarter" idx="27" hasCustomPrompt="1"/>
          </p:nvPr>
        </p:nvSpPr>
        <p:spPr>
          <a:xfrm>
            <a:off x="4439816" y="6349531"/>
            <a:ext cx="6120678" cy="153888"/>
          </a:xfrm>
        </p:spPr>
        <p:txBody>
          <a:bodyPr wrap="square" rIns="0" anchor="b">
            <a:spAutoFit/>
          </a:bodyPr>
          <a:lstStyle>
            <a:lvl1pPr marL="0" indent="0" algn="r">
              <a:lnSpc>
                <a:spcPct val="100000"/>
              </a:lnSpc>
              <a:spcBef>
                <a:spcPts val="600"/>
              </a:spcBef>
              <a:buNone/>
              <a:defRPr sz="1000" b="0">
                <a:solidFill>
                  <a:schemeClr val="accent5"/>
                </a:solidFill>
              </a:defRPr>
            </a:lvl1pPr>
          </a:lstStyle>
          <a:p>
            <a:pPr lvl="0"/>
            <a:r>
              <a:rPr lang="en-US"/>
              <a:t>Click to edit Master text styles</a:t>
            </a:r>
            <a:endParaRPr lang="fr-BE"/>
          </a:p>
        </p:txBody>
      </p:sp>
    </p:spTree>
    <p:extLst>
      <p:ext uri="{BB962C8B-B14F-4D97-AF65-F5344CB8AC3E}">
        <p14:creationId xmlns:p14="http://schemas.microsoft.com/office/powerpoint/2010/main" val="38039820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pic>
        <p:nvPicPr>
          <p:cNvPr id="10" name="Picture 9" descr="A picture containing circle&#10;&#10;Description automatically generated">
            <a:extLst>
              <a:ext uri="{FF2B5EF4-FFF2-40B4-BE49-F238E27FC236}">
                <a16:creationId xmlns:a16="http://schemas.microsoft.com/office/drawing/2014/main" id="{10941ED3-3F0C-D049-83FF-2BF814A6470C}"/>
              </a:ext>
            </a:extLst>
          </p:cNvPr>
          <p:cNvPicPr>
            <a:picLocks noChangeAspect="1"/>
          </p:cNvPicPr>
          <p:nvPr/>
        </p:nvPicPr>
        <p:blipFill>
          <a:blip r:embed="rId2"/>
          <a:stretch>
            <a:fillRect/>
          </a:stretch>
        </p:blipFill>
        <p:spPr>
          <a:xfrm>
            <a:off x="0" y="0"/>
            <a:ext cx="12192000" cy="6858000"/>
          </a:xfrm>
          <a:prstGeom prst="rect">
            <a:avLst/>
          </a:prstGeom>
        </p:spPr>
      </p:pic>
      <p:pic>
        <p:nvPicPr>
          <p:cNvPr id="11" name="Picture 10">
            <a:extLst>
              <a:ext uri="{FF2B5EF4-FFF2-40B4-BE49-F238E27FC236}">
                <a16:creationId xmlns:a16="http://schemas.microsoft.com/office/drawing/2014/main" id="{5BE9CC4E-1B1A-7C43-8BF2-3B29FCC3FE85}"/>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65138" y="355600"/>
            <a:ext cx="1596273" cy="452486"/>
          </a:xfrm>
          <a:prstGeom prst="rect">
            <a:avLst/>
          </a:prstGeom>
        </p:spPr>
      </p:pic>
      <p:sp>
        <p:nvSpPr>
          <p:cNvPr id="12" name="Rectangle 11">
            <a:extLst>
              <a:ext uri="{FF2B5EF4-FFF2-40B4-BE49-F238E27FC236}">
                <a16:creationId xmlns:a16="http://schemas.microsoft.com/office/drawing/2014/main" id="{36AE4C7C-973D-0140-AE7E-B6784E087FF7}"/>
              </a:ext>
            </a:extLst>
          </p:cNvPr>
          <p:cNvSpPr/>
          <p:nvPr/>
        </p:nvSpPr>
        <p:spPr>
          <a:xfrm>
            <a:off x="457200" y="6493980"/>
            <a:ext cx="2905869" cy="107722"/>
          </a:xfrm>
          <a:prstGeom prst="rect">
            <a:avLst/>
          </a:prstGeom>
        </p:spPr>
        <p:txBody>
          <a:bodyPr wrap="square" lIns="0" tIns="0" rIns="0" bIns="0" anchor="b" anchorCtr="0">
            <a:spAutoFit/>
          </a:bodyPr>
          <a:lstStyle/>
          <a:p>
            <a:pPr algn="l"/>
            <a:r>
              <a:rPr lang="en-US" sz="700" b="0" i="0" kern="1200">
                <a:solidFill>
                  <a:srgbClr val="A6A6A6"/>
                </a:solidFill>
                <a:latin typeface="Roboto" panose="02000000000000000000" pitchFamily="2" charset="0"/>
                <a:ea typeface="Roboto" panose="02000000000000000000" pitchFamily="2" charset="0"/>
                <a:cs typeface="Arial" charset="0"/>
              </a:rPr>
              <a:t>© Verisk Analytics, Inc. All rights reserved.</a:t>
            </a:r>
            <a:endParaRPr lang="en-US" sz="700" b="0" i="0" kern="1200">
              <a:solidFill>
                <a:srgbClr val="A6A6A6"/>
              </a:solidFill>
              <a:effectLst/>
              <a:latin typeface="Roboto" panose="02000000000000000000" pitchFamily="2" charset="0"/>
              <a:ea typeface="Roboto" panose="02000000000000000000" pitchFamily="2" charset="0"/>
              <a:cs typeface="Arial" charset="0"/>
            </a:endParaRPr>
          </a:p>
        </p:txBody>
      </p:sp>
      <p:sp>
        <p:nvSpPr>
          <p:cNvPr id="7" name="Title 1"/>
          <p:cNvSpPr>
            <a:spLocks noGrp="1"/>
          </p:cNvSpPr>
          <p:nvPr>
            <p:ph type="title" hasCustomPrompt="1"/>
          </p:nvPr>
        </p:nvSpPr>
        <p:spPr>
          <a:xfrm>
            <a:off x="457200" y="2762504"/>
            <a:ext cx="5632704" cy="1545336"/>
          </a:xfrm>
        </p:spPr>
        <p:txBody>
          <a:bodyPr wrap="square" anchor="b" anchorCtr="0"/>
          <a:lstStyle>
            <a:lvl1pPr>
              <a:lnSpc>
                <a:spcPct val="100000"/>
              </a:lnSpc>
              <a:defRPr sz="3200"/>
            </a:lvl1pPr>
          </a:lstStyle>
          <a:p>
            <a:r>
              <a:rPr lang="en-US"/>
              <a:t>End Slide</a:t>
            </a:r>
          </a:p>
        </p:txBody>
      </p:sp>
      <p:sp>
        <p:nvSpPr>
          <p:cNvPr id="2" name="Footer Placeholder 1">
            <a:extLst>
              <a:ext uri="{FF2B5EF4-FFF2-40B4-BE49-F238E27FC236}">
                <a16:creationId xmlns:a16="http://schemas.microsoft.com/office/drawing/2014/main" id="{FEC58915-5A77-921A-148C-E16E81C24E0C}"/>
              </a:ext>
            </a:extLst>
          </p:cNvPr>
          <p:cNvSpPr>
            <a:spLocks noGrp="1"/>
          </p:cNvSpPr>
          <p:nvPr>
            <p:ph type="ftr" sz="quarter" idx="1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955987799"/>
      </p:ext>
    </p:extLst>
  </p:cSld>
  <p:clrMapOvr>
    <a:masterClrMapping/>
  </p:clrMapOvr>
  <p:transition spd="slow"/>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End Slide – 2">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9671C686-EE4F-9B46-8078-4F0542A37C91}"/>
              </a:ext>
            </a:extLst>
          </p:cNvPr>
          <p:cNvPicPr>
            <a:picLocks noChangeAspect="1"/>
          </p:cNvPicPr>
          <p:nvPr/>
        </p:nvPicPr>
        <p:blipFill>
          <a:blip r:embed="rId2"/>
          <a:srcRect/>
          <a:stretch/>
        </p:blipFill>
        <p:spPr>
          <a:xfrm>
            <a:off x="0" y="0"/>
            <a:ext cx="12192000" cy="6858000"/>
          </a:xfrm>
          <a:prstGeom prst="rect">
            <a:avLst/>
          </a:prstGeom>
        </p:spPr>
      </p:pic>
      <p:pic>
        <p:nvPicPr>
          <p:cNvPr id="17" name="Picture 16">
            <a:extLst>
              <a:ext uri="{FF2B5EF4-FFF2-40B4-BE49-F238E27FC236}">
                <a16:creationId xmlns:a16="http://schemas.microsoft.com/office/drawing/2014/main" id="{BBA747D7-C3C4-1143-B42B-39C9E5E82C4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65139" y="355600"/>
            <a:ext cx="1596270" cy="452486"/>
          </a:xfrm>
          <a:prstGeom prst="rect">
            <a:avLst/>
          </a:prstGeom>
        </p:spPr>
      </p:pic>
      <p:sp>
        <p:nvSpPr>
          <p:cNvPr id="12" name="Rectangle 11">
            <a:extLst>
              <a:ext uri="{FF2B5EF4-FFF2-40B4-BE49-F238E27FC236}">
                <a16:creationId xmlns:a16="http://schemas.microsoft.com/office/drawing/2014/main" id="{36AE4C7C-973D-0140-AE7E-B6784E087FF7}"/>
              </a:ext>
            </a:extLst>
          </p:cNvPr>
          <p:cNvSpPr/>
          <p:nvPr/>
        </p:nvSpPr>
        <p:spPr>
          <a:xfrm>
            <a:off x="457200" y="6493980"/>
            <a:ext cx="2905869" cy="107722"/>
          </a:xfrm>
          <a:prstGeom prst="rect">
            <a:avLst/>
          </a:prstGeom>
        </p:spPr>
        <p:txBody>
          <a:bodyPr wrap="square" lIns="0" tIns="0" rIns="0" bIns="0" anchor="b" anchorCtr="0">
            <a:spAutoFit/>
          </a:bodyPr>
          <a:lstStyle/>
          <a:p>
            <a:pPr algn="l"/>
            <a:r>
              <a:rPr lang="en-US" sz="700" b="0" i="0" kern="1200">
                <a:solidFill>
                  <a:schemeClr val="bg1"/>
                </a:solidFill>
                <a:latin typeface="Roboto" panose="02000000000000000000" pitchFamily="2" charset="0"/>
                <a:ea typeface="Roboto" panose="02000000000000000000" pitchFamily="2" charset="0"/>
                <a:cs typeface="Arial" charset="0"/>
              </a:rPr>
              <a:t>© Verisk Analytics, Inc. All rights reserved.</a:t>
            </a:r>
            <a:endParaRPr lang="en-US" sz="700" b="0" i="0" kern="1200">
              <a:solidFill>
                <a:schemeClr val="bg1"/>
              </a:solidFill>
              <a:effectLst/>
              <a:latin typeface="Roboto" panose="02000000000000000000" pitchFamily="2" charset="0"/>
              <a:ea typeface="Roboto" panose="02000000000000000000" pitchFamily="2" charset="0"/>
              <a:cs typeface="Arial" charset="0"/>
            </a:endParaRPr>
          </a:p>
        </p:txBody>
      </p:sp>
      <p:sp>
        <p:nvSpPr>
          <p:cNvPr id="7" name="Title 1"/>
          <p:cNvSpPr>
            <a:spLocks noGrp="1"/>
          </p:cNvSpPr>
          <p:nvPr>
            <p:ph type="title" hasCustomPrompt="1"/>
          </p:nvPr>
        </p:nvSpPr>
        <p:spPr>
          <a:xfrm>
            <a:off x="457200" y="2762504"/>
            <a:ext cx="5632704" cy="1545336"/>
          </a:xfrm>
        </p:spPr>
        <p:txBody>
          <a:bodyPr wrap="square" anchor="b" anchorCtr="0"/>
          <a:lstStyle>
            <a:lvl1pPr>
              <a:lnSpc>
                <a:spcPct val="100000"/>
              </a:lnSpc>
              <a:defRPr sz="3200">
                <a:solidFill>
                  <a:schemeClr val="bg1"/>
                </a:solidFill>
              </a:defRPr>
            </a:lvl1pPr>
          </a:lstStyle>
          <a:p>
            <a:r>
              <a:rPr lang="en-US"/>
              <a:t>End Slide</a:t>
            </a:r>
          </a:p>
        </p:txBody>
      </p:sp>
      <p:sp>
        <p:nvSpPr>
          <p:cNvPr id="2" name="Footer Placeholder 1">
            <a:extLst>
              <a:ext uri="{FF2B5EF4-FFF2-40B4-BE49-F238E27FC236}">
                <a16:creationId xmlns:a16="http://schemas.microsoft.com/office/drawing/2014/main" id="{D82970FB-77B9-4DA1-FC3E-B851192200EA}"/>
              </a:ext>
            </a:extLst>
          </p:cNvPr>
          <p:cNvSpPr>
            <a:spLocks noGrp="1"/>
          </p:cNvSpPr>
          <p:nvPr>
            <p:ph type="ftr" sz="quarter" idx="1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450021817"/>
      </p:ext>
    </p:extLst>
  </p:cSld>
  <p:clrMapOvr>
    <a:masterClrMapping/>
  </p:clrMapOvr>
  <p:transition spd="slow"/>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ver 1">
    <p:bg>
      <p:bgPr>
        <a:solidFill>
          <a:schemeClr val="tx2"/>
        </a:solidFill>
        <a:effectLst/>
      </p:bgPr>
    </p:bg>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A3F3CECF-983C-1D7B-4726-7D5437C98932}"/>
              </a:ext>
            </a:extLst>
          </p:cNvPr>
          <p:cNvSpPr txBox="1">
            <a:spLocks/>
          </p:cNvSpPr>
          <p:nvPr userDrawn="1"/>
        </p:nvSpPr>
        <p:spPr>
          <a:xfrm flipH="1" flipV="1">
            <a:off x="-9427" y="-18854"/>
            <a:ext cx="8040687" cy="6872288"/>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 name="connsiteX0" fmla="*/ 3652173 w 8109899"/>
              <a:gd name="connsiteY0" fmla="*/ 6934 h 6857673"/>
              <a:gd name="connsiteX1" fmla="*/ 8102150 w 8109899"/>
              <a:gd name="connsiteY1" fmla="*/ 8710 h 6857673"/>
              <a:gd name="connsiteX2" fmla="*/ 8109899 w 8109899"/>
              <a:gd name="connsiteY2" fmla="*/ 6210534 h 6857673"/>
              <a:gd name="connsiteX3" fmla="*/ 76280 w 8109899"/>
              <a:gd name="connsiteY3" fmla="*/ 6857673 h 6857673"/>
              <a:gd name="connsiteX4" fmla="*/ 2086488 w 8109899"/>
              <a:gd name="connsiteY4" fmla="*/ 2579732 h 6857673"/>
              <a:gd name="connsiteX5" fmla="*/ 3652173 w 8109899"/>
              <a:gd name="connsiteY5" fmla="*/ 6934 h 6857673"/>
              <a:gd name="connsiteX0" fmla="*/ 3652173 w 8116384"/>
              <a:gd name="connsiteY0" fmla="*/ 6934 h 6878500"/>
              <a:gd name="connsiteX1" fmla="*/ 8102150 w 8116384"/>
              <a:gd name="connsiteY1" fmla="*/ 8710 h 6878500"/>
              <a:gd name="connsiteX2" fmla="*/ 8116384 w 8116384"/>
              <a:gd name="connsiteY2" fmla="*/ 6878500 h 6878500"/>
              <a:gd name="connsiteX3" fmla="*/ 76280 w 8116384"/>
              <a:gd name="connsiteY3" fmla="*/ 6857673 h 6878500"/>
              <a:gd name="connsiteX4" fmla="*/ 2086488 w 8116384"/>
              <a:gd name="connsiteY4" fmla="*/ 2579732 h 6878500"/>
              <a:gd name="connsiteX5" fmla="*/ 3652173 w 8116384"/>
              <a:gd name="connsiteY5" fmla="*/ 6934 h 6878500"/>
              <a:gd name="connsiteX0" fmla="*/ 4500050 w 8121197"/>
              <a:gd name="connsiteY0" fmla="*/ 8356 h 6873437"/>
              <a:gd name="connsiteX1" fmla="*/ 8106963 w 8121197"/>
              <a:gd name="connsiteY1" fmla="*/ 3647 h 6873437"/>
              <a:gd name="connsiteX2" fmla="*/ 8121197 w 8121197"/>
              <a:gd name="connsiteY2" fmla="*/ 6873437 h 6873437"/>
              <a:gd name="connsiteX3" fmla="*/ 81093 w 8121197"/>
              <a:gd name="connsiteY3" fmla="*/ 6852610 h 6873437"/>
              <a:gd name="connsiteX4" fmla="*/ 2091301 w 8121197"/>
              <a:gd name="connsiteY4" fmla="*/ 2574669 h 6873437"/>
              <a:gd name="connsiteX5" fmla="*/ 4500050 w 8121197"/>
              <a:gd name="connsiteY5" fmla="*/ 8356 h 6873437"/>
              <a:gd name="connsiteX0" fmla="*/ 4494764 w 8115911"/>
              <a:gd name="connsiteY0" fmla="*/ 122173 h 6987254"/>
              <a:gd name="connsiteX1" fmla="*/ 8101677 w 8115911"/>
              <a:gd name="connsiteY1" fmla="*/ 117464 h 6987254"/>
              <a:gd name="connsiteX2" fmla="*/ 8115911 w 8115911"/>
              <a:gd name="connsiteY2" fmla="*/ 6987254 h 6987254"/>
              <a:gd name="connsiteX3" fmla="*/ 75807 w 8115911"/>
              <a:gd name="connsiteY3" fmla="*/ 6966427 h 6987254"/>
              <a:gd name="connsiteX4" fmla="*/ 2235173 w 8115911"/>
              <a:gd name="connsiteY4" fmla="*/ 1767601 h 6987254"/>
              <a:gd name="connsiteX5" fmla="*/ 4494764 w 8115911"/>
              <a:gd name="connsiteY5" fmla="*/ 122173 h 6987254"/>
              <a:gd name="connsiteX0" fmla="*/ 4494970 w 8116117"/>
              <a:gd name="connsiteY0" fmla="*/ 122173 h 6987254"/>
              <a:gd name="connsiteX1" fmla="*/ 8101883 w 8116117"/>
              <a:gd name="connsiteY1" fmla="*/ 117464 h 6987254"/>
              <a:gd name="connsiteX2" fmla="*/ 8116117 w 8116117"/>
              <a:gd name="connsiteY2" fmla="*/ 6987254 h 6987254"/>
              <a:gd name="connsiteX3" fmla="*/ 76013 w 8116117"/>
              <a:gd name="connsiteY3" fmla="*/ 6966427 h 6987254"/>
              <a:gd name="connsiteX4" fmla="*/ 2235379 w 8116117"/>
              <a:gd name="connsiteY4" fmla="*/ 1767601 h 6987254"/>
              <a:gd name="connsiteX5" fmla="*/ 4494970 w 8116117"/>
              <a:gd name="connsiteY5" fmla="*/ 122173 h 6987254"/>
              <a:gd name="connsiteX0" fmla="*/ 4418957 w 8040104"/>
              <a:gd name="connsiteY0" fmla="*/ 122173 h 6987254"/>
              <a:gd name="connsiteX1" fmla="*/ 8025870 w 8040104"/>
              <a:gd name="connsiteY1" fmla="*/ 117464 h 6987254"/>
              <a:gd name="connsiteX2" fmla="*/ 8040104 w 8040104"/>
              <a:gd name="connsiteY2" fmla="*/ 6987254 h 6987254"/>
              <a:gd name="connsiteX3" fmla="*/ 0 w 8040104"/>
              <a:gd name="connsiteY3" fmla="*/ 6966427 h 6987254"/>
              <a:gd name="connsiteX4" fmla="*/ 2159366 w 8040104"/>
              <a:gd name="connsiteY4" fmla="*/ 1767601 h 6987254"/>
              <a:gd name="connsiteX5" fmla="*/ 4418957 w 8040104"/>
              <a:gd name="connsiteY5" fmla="*/ 122173 h 6987254"/>
              <a:gd name="connsiteX0" fmla="*/ 4418957 w 8040104"/>
              <a:gd name="connsiteY0" fmla="*/ 122173 h 6987254"/>
              <a:gd name="connsiteX1" fmla="*/ 8025870 w 8040104"/>
              <a:gd name="connsiteY1" fmla="*/ 117464 h 6987254"/>
              <a:gd name="connsiteX2" fmla="*/ 8040104 w 8040104"/>
              <a:gd name="connsiteY2" fmla="*/ 6987254 h 6987254"/>
              <a:gd name="connsiteX3" fmla="*/ 0 w 8040104"/>
              <a:gd name="connsiteY3" fmla="*/ 6966427 h 6987254"/>
              <a:gd name="connsiteX4" fmla="*/ 2159366 w 8040104"/>
              <a:gd name="connsiteY4" fmla="*/ 1767601 h 6987254"/>
              <a:gd name="connsiteX5" fmla="*/ 4418957 w 8040104"/>
              <a:gd name="connsiteY5" fmla="*/ 122173 h 6987254"/>
              <a:gd name="connsiteX0" fmla="*/ 4418957 w 8040104"/>
              <a:gd name="connsiteY0" fmla="*/ 116890 h 6981971"/>
              <a:gd name="connsiteX1" fmla="*/ 8025870 w 8040104"/>
              <a:gd name="connsiteY1" fmla="*/ 112181 h 6981971"/>
              <a:gd name="connsiteX2" fmla="*/ 8040104 w 8040104"/>
              <a:gd name="connsiteY2" fmla="*/ 6981971 h 6981971"/>
              <a:gd name="connsiteX3" fmla="*/ 0 w 8040104"/>
              <a:gd name="connsiteY3" fmla="*/ 6961144 h 6981971"/>
              <a:gd name="connsiteX4" fmla="*/ 2859757 w 8040104"/>
              <a:gd name="connsiteY4" fmla="*/ 1690982 h 6981971"/>
              <a:gd name="connsiteX5" fmla="*/ 4418957 w 8040104"/>
              <a:gd name="connsiteY5" fmla="*/ 116890 h 6981971"/>
              <a:gd name="connsiteX0" fmla="*/ 4418957 w 8040104"/>
              <a:gd name="connsiteY0" fmla="*/ 112567 h 6977648"/>
              <a:gd name="connsiteX1" fmla="*/ 8025870 w 8040104"/>
              <a:gd name="connsiteY1" fmla="*/ 107858 h 6977648"/>
              <a:gd name="connsiteX2" fmla="*/ 8040104 w 8040104"/>
              <a:gd name="connsiteY2" fmla="*/ 6977648 h 6977648"/>
              <a:gd name="connsiteX3" fmla="*/ 0 w 8040104"/>
              <a:gd name="connsiteY3" fmla="*/ 6956821 h 6977648"/>
              <a:gd name="connsiteX4" fmla="*/ 2230702 w 8040104"/>
              <a:gd name="connsiteY4" fmla="*/ 1628293 h 6977648"/>
              <a:gd name="connsiteX5" fmla="*/ 4418957 w 8040104"/>
              <a:gd name="connsiteY5" fmla="*/ 112567 h 6977648"/>
              <a:gd name="connsiteX0" fmla="*/ 4418957 w 8040104"/>
              <a:gd name="connsiteY0" fmla="*/ 112567 h 6977648"/>
              <a:gd name="connsiteX1" fmla="*/ 8025870 w 8040104"/>
              <a:gd name="connsiteY1" fmla="*/ 107858 h 6977648"/>
              <a:gd name="connsiteX2" fmla="*/ 8040104 w 8040104"/>
              <a:gd name="connsiteY2" fmla="*/ 6977648 h 6977648"/>
              <a:gd name="connsiteX3" fmla="*/ 0 w 8040104"/>
              <a:gd name="connsiteY3" fmla="*/ 6956821 h 6977648"/>
              <a:gd name="connsiteX4" fmla="*/ 2230702 w 8040104"/>
              <a:gd name="connsiteY4" fmla="*/ 1628293 h 6977648"/>
              <a:gd name="connsiteX5" fmla="*/ 4418957 w 8040104"/>
              <a:gd name="connsiteY5" fmla="*/ 112567 h 6977648"/>
              <a:gd name="connsiteX0" fmla="*/ 4418957 w 8040104"/>
              <a:gd name="connsiteY0" fmla="*/ 112567 h 6977648"/>
              <a:gd name="connsiteX1" fmla="*/ 8025870 w 8040104"/>
              <a:gd name="connsiteY1" fmla="*/ 107858 h 6977648"/>
              <a:gd name="connsiteX2" fmla="*/ 8040104 w 8040104"/>
              <a:gd name="connsiteY2" fmla="*/ 6977648 h 6977648"/>
              <a:gd name="connsiteX3" fmla="*/ 0 w 8040104"/>
              <a:gd name="connsiteY3" fmla="*/ 6956821 h 6977648"/>
              <a:gd name="connsiteX4" fmla="*/ 2230702 w 8040104"/>
              <a:gd name="connsiteY4" fmla="*/ 1628293 h 6977648"/>
              <a:gd name="connsiteX5" fmla="*/ 4418957 w 8040104"/>
              <a:gd name="connsiteY5" fmla="*/ 112567 h 6977648"/>
              <a:gd name="connsiteX0" fmla="*/ 4418957 w 8040104"/>
              <a:gd name="connsiteY0" fmla="*/ 141388 h 7006469"/>
              <a:gd name="connsiteX1" fmla="*/ 8025870 w 8040104"/>
              <a:gd name="connsiteY1" fmla="*/ 136679 h 7006469"/>
              <a:gd name="connsiteX2" fmla="*/ 8040104 w 8040104"/>
              <a:gd name="connsiteY2" fmla="*/ 7006469 h 7006469"/>
              <a:gd name="connsiteX3" fmla="*/ 0 w 8040104"/>
              <a:gd name="connsiteY3" fmla="*/ 6985642 h 7006469"/>
              <a:gd name="connsiteX4" fmla="*/ 2217731 w 8040104"/>
              <a:gd name="connsiteY4" fmla="*/ 2046220 h 7006469"/>
              <a:gd name="connsiteX5" fmla="*/ 4418957 w 8040104"/>
              <a:gd name="connsiteY5" fmla="*/ 141388 h 7006469"/>
              <a:gd name="connsiteX0" fmla="*/ 4418957 w 8040104"/>
              <a:gd name="connsiteY0" fmla="*/ 4709 h 6869790"/>
              <a:gd name="connsiteX1" fmla="*/ 8025870 w 8040104"/>
              <a:gd name="connsiteY1" fmla="*/ 0 h 6869790"/>
              <a:gd name="connsiteX2" fmla="*/ 8040104 w 8040104"/>
              <a:gd name="connsiteY2" fmla="*/ 6869790 h 6869790"/>
              <a:gd name="connsiteX3" fmla="*/ 0 w 8040104"/>
              <a:gd name="connsiteY3" fmla="*/ 6848963 h 6869790"/>
              <a:gd name="connsiteX4" fmla="*/ 2217731 w 8040104"/>
              <a:gd name="connsiteY4" fmla="*/ 1909541 h 6869790"/>
              <a:gd name="connsiteX5" fmla="*/ 4418957 w 8040104"/>
              <a:gd name="connsiteY5" fmla="*/ 4709 h 6869790"/>
              <a:gd name="connsiteX0" fmla="*/ 4470838 w 8040104"/>
              <a:gd name="connsiteY0" fmla="*/ 0 h 6988298"/>
              <a:gd name="connsiteX1" fmla="*/ 8025870 w 8040104"/>
              <a:gd name="connsiteY1" fmla="*/ 118508 h 6988298"/>
              <a:gd name="connsiteX2" fmla="*/ 8040104 w 8040104"/>
              <a:gd name="connsiteY2" fmla="*/ 6988298 h 6988298"/>
              <a:gd name="connsiteX3" fmla="*/ 0 w 8040104"/>
              <a:gd name="connsiteY3" fmla="*/ 6967471 h 6988298"/>
              <a:gd name="connsiteX4" fmla="*/ 2217731 w 8040104"/>
              <a:gd name="connsiteY4" fmla="*/ 2028049 h 6988298"/>
              <a:gd name="connsiteX5" fmla="*/ 4470838 w 8040104"/>
              <a:gd name="connsiteY5" fmla="*/ 0 h 6988298"/>
              <a:gd name="connsiteX0" fmla="*/ 4470838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217731 w 8040104"/>
              <a:gd name="connsiteY4" fmla="*/ 1930772 h 6891021"/>
              <a:gd name="connsiteX5" fmla="*/ 4470838 w 8040104"/>
              <a:gd name="connsiteY5" fmla="*/ 0 h 6891021"/>
              <a:gd name="connsiteX0" fmla="*/ 4470838 w 8040104"/>
              <a:gd name="connsiteY0" fmla="*/ 127550 h 7018571"/>
              <a:gd name="connsiteX1" fmla="*/ 8025870 w 8040104"/>
              <a:gd name="connsiteY1" fmla="*/ 148781 h 7018571"/>
              <a:gd name="connsiteX2" fmla="*/ 8040104 w 8040104"/>
              <a:gd name="connsiteY2" fmla="*/ 7018571 h 7018571"/>
              <a:gd name="connsiteX3" fmla="*/ 0 w 8040104"/>
              <a:gd name="connsiteY3" fmla="*/ 6997744 h 7018571"/>
              <a:gd name="connsiteX4" fmla="*/ 2120454 w 8040104"/>
              <a:gd name="connsiteY4" fmla="*/ 1922135 h 7018571"/>
              <a:gd name="connsiteX5" fmla="*/ 4470838 w 8040104"/>
              <a:gd name="connsiteY5" fmla="*/ 127550 h 7018571"/>
              <a:gd name="connsiteX0" fmla="*/ 4470838 w 8040104"/>
              <a:gd name="connsiteY0" fmla="*/ 127550 h 7018571"/>
              <a:gd name="connsiteX1" fmla="*/ 8025870 w 8040104"/>
              <a:gd name="connsiteY1" fmla="*/ 148781 h 7018571"/>
              <a:gd name="connsiteX2" fmla="*/ 8040104 w 8040104"/>
              <a:gd name="connsiteY2" fmla="*/ 7018571 h 7018571"/>
              <a:gd name="connsiteX3" fmla="*/ 0 w 8040104"/>
              <a:gd name="connsiteY3" fmla="*/ 6997744 h 7018571"/>
              <a:gd name="connsiteX4" fmla="*/ 2120454 w 8040104"/>
              <a:gd name="connsiteY4" fmla="*/ 1922135 h 7018571"/>
              <a:gd name="connsiteX5" fmla="*/ 4470838 w 8040104"/>
              <a:gd name="connsiteY5" fmla="*/ 127550 h 7018571"/>
              <a:gd name="connsiteX0" fmla="*/ 4470838 w 8040104"/>
              <a:gd name="connsiteY0" fmla="*/ 127550 h 7018571"/>
              <a:gd name="connsiteX1" fmla="*/ 8025870 w 8040104"/>
              <a:gd name="connsiteY1" fmla="*/ 148781 h 7018571"/>
              <a:gd name="connsiteX2" fmla="*/ 8040104 w 8040104"/>
              <a:gd name="connsiteY2" fmla="*/ 7018571 h 7018571"/>
              <a:gd name="connsiteX3" fmla="*/ 0 w 8040104"/>
              <a:gd name="connsiteY3" fmla="*/ 6997744 h 7018571"/>
              <a:gd name="connsiteX4" fmla="*/ 2120454 w 8040104"/>
              <a:gd name="connsiteY4" fmla="*/ 1922135 h 7018571"/>
              <a:gd name="connsiteX5" fmla="*/ 4470838 w 8040104"/>
              <a:gd name="connsiteY5" fmla="*/ 127550 h 7018571"/>
              <a:gd name="connsiteX0" fmla="*/ 4470838 w 8040104"/>
              <a:gd name="connsiteY0" fmla="*/ 127550 h 7018571"/>
              <a:gd name="connsiteX1" fmla="*/ 8025870 w 8040104"/>
              <a:gd name="connsiteY1" fmla="*/ 148781 h 7018571"/>
              <a:gd name="connsiteX2" fmla="*/ 8040104 w 8040104"/>
              <a:gd name="connsiteY2" fmla="*/ 7018571 h 7018571"/>
              <a:gd name="connsiteX3" fmla="*/ 0 w 8040104"/>
              <a:gd name="connsiteY3" fmla="*/ 6997744 h 7018571"/>
              <a:gd name="connsiteX4" fmla="*/ 2120454 w 8040104"/>
              <a:gd name="connsiteY4" fmla="*/ 1922135 h 7018571"/>
              <a:gd name="connsiteX5" fmla="*/ 4470838 w 8040104"/>
              <a:gd name="connsiteY5" fmla="*/ 127550 h 7018571"/>
              <a:gd name="connsiteX0" fmla="*/ 4470838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470838 w 8040104"/>
              <a:gd name="connsiteY5" fmla="*/ 0 h 6891021"/>
              <a:gd name="connsiteX0" fmla="*/ 4678361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678361 w 8040104"/>
              <a:gd name="connsiteY5" fmla="*/ 0 h 6891021"/>
              <a:gd name="connsiteX0" fmla="*/ 4412472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412472 w 8040104"/>
              <a:gd name="connsiteY5" fmla="*/ 0 h 6891021"/>
              <a:gd name="connsiteX0" fmla="*/ 4399501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399501 w 8040104"/>
              <a:gd name="connsiteY5" fmla="*/ 0 h 6891021"/>
              <a:gd name="connsiteX0" fmla="*/ 4399501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399501 w 8040104"/>
              <a:gd name="connsiteY5" fmla="*/ 0 h 6891021"/>
              <a:gd name="connsiteX0" fmla="*/ 4399501 w 8040104"/>
              <a:gd name="connsiteY0" fmla="*/ 160672 h 7051693"/>
              <a:gd name="connsiteX1" fmla="*/ 8025870 w 8040104"/>
              <a:gd name="connsiteY1" fmla="*/ 181903 h 7051693"/>
              <a:gd name="connsiteX2" fmla="*/ 8040104 w 8040104"/>
              <a:gd name="connsiteY2" fmla="*/ 7051693 h 7051693"/>
              <a:gd name="connsiteX3" fmla="*/ 0 w 8040104"/>
              <a:gd name="connsiteY3" fmla="*/ 7030866 h 7051693"/>
              <a:gd name="connsiteX4" fmla="*/ 2464165 w 8040104"/>
              <a:gd name="connsiteY4" fmla="*/ 2402730 h 7051693"/>
              <a:gd name="connsiteX5" fmla="*/ 4399501 w 8040104"/>
              <a:gd name="connsiteY5" fmla="*/ 160672 h 7051693"/>
              <a:gd name="connsiteX0" fmla="*/ 4399501 w 8040104"/>
              <a:gd name="connsiteY0" fmla="*/ 120352 h 7011373"/>
              <a:gd name="connsiteX1" fmla="*/ 8025870 w 8040104"/>
              <a:gd name="connsiteY1" fmla="*/ 141583 h 7011373"/>
              <a:gd name="connsiteX2" fmla="*/ 8040104 w 8040104"/>
              <a:gd name="connsiteY2" fmla="*/ 7011373 h 7011373"/>
              <a:gd name="connsiteX3" fmla="*/ 0 w 8040104"/>
              <a:gd name="connsiteY3" fmla="*/ 6990546 h 7011373"/>
              <a:gd name="connsiteX4" fmla="*/ 2172335 w 8040104"/>
              <a:gd name="connsiteY4" fmla="*/ 1817661 h 7011373"/>
              <a:gd name="connsiteX5" fmla="*/ 4399501 w 8040104"/>
              <a:gd name="connsiteY5" fmla="*/ 120352 h 7011373"/>
              <a:gd name="connsiteX0" fmla="*/ 4399501 w 8040104"/>
              <a:gd name="connsiteY0" fmla="*/ 120352 h 7011373"/>
              <a:gd name="connsiteX1" fmla="*/ 8025870 w 8040104"/>
              <a:gd name="connsiteY1" fmla="*/ 141583 h 7011373"/>
              <a:gd name="connsiteX2" fmla="*/ 8040104 w 8040104"/>
              <a:gd name="connsiteY2" fmla="*/ 7011373 h 7011373"/>
              <a:gd name="connsiteX3" fmla="*/ 0 w 8040104"/>
              <a:gd name="connsiteY3" fmla="*/ 6990546 h 7011373"/>
              <a:gd name="connsiteX4" fmla="*/ 2172335 w 8040104"/>
              <a:gd name="connsiteY4" fmla="*/ 1817661 h 7011373"/>
              <a:gd name="connsiteX5" fmla="*/ 4399501 w 8040104"/>
              <a:gd name="connsiteY5" fmla="*/ 120352 h 7011373"/>
              <a:gd name="connsiteX0" fmla="*/ 4399501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72335 w 8040104"/>
              <a:gd name="connsiteY4" fmla="*/ 1697309 h 6891021"/>
              <a:gd name="connsiteX5" fmla="*/ 4399501 w 8040104"/>
              <a:gd name="connsiteY5" fmla="*/ 0 h 6891021"/>
              <a:gd name="connsiteX0" fmla="*/ 4632965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72335 w 8040104"/>
              <a:gd name="connsiteY4" fmla="*/ 1697309 h 6891021"/>
              <a:gd name="connsiteX5" fmla="*/ 4632965 w 8040104"/>
              <a:gd name="connsiteY5" fmla="*/ 0 h 6891021"/>
              <a:gd name="connsiteX0" fmla="*/ 4509748 w 8040104"/>
              <a:gd name="connsiteY0" fmla="*/ 0 h 6878051"/>
              <a:gd name="connsiteX1" fmla="*/ 8025870 w 8040104"/>
              <a:gd name="connsiteY1" fmla="*/ 8261 h 6878051"/>
              <a:gd name="connsiteX2" fmla="*/ 8040104 w 8040104"/>
              <a:gd name="connsiteY2" fmla="*/ 6878051 h 6878051"/>
              <a:gd name="connsiteX3" fmla="*/ 0 w 8040104"/>
              <a:gd name="connsiteY3" fmla="*/ 6857224 h 6878051"/>
              <a:gd name="connsiteX4" fmla="*/ 2172335 w 8040104"/>
              <a:gd name="connsiteY4" fmla="*/ 1684339 h 6878051"/>
              <a:gd name="connsiteX5" fmla="*/ 4509748 w 8040104"/>
              <a:gd name="connsiteY5" fmla="*/ 0 h 6878051"/>
              <a:gd name="connsiteX0" fmla="*/ 4393016 w 8040104"/>
              <a:gd name="connsiteY0" fmla="*/ 0 h 6878051"/>
              <a:gd name="connsiteX1" fmla="*/ 8025870 w 8040104"/>
              <a:gd name="connsiteY1" fmla="*/ 8261 h 6878051"/>
              <a:gd name="connsiteX2" fmla="*/ 8040104 w 8040104"/>
              <a:gd name="connsiteY2" fmla="*/ 6878051 h 6878051"/>
              <a:gd name="connsiteX3" fmla="*/ 0 w 8040104"/>
              <a:gd name="connsiteY3" fmla="*/ 6857224 h 6878051"/>
              <a:gd name="connsiteX4" fmla="*/ 2172335 w 8040104"/>
              <a:gd name="connsiteY4" fmla="*/ 1684339 h 6878051"/>
              <a:gd name="connsiteX5" fmla="*/ 4393016 w 8040104"/>
              <a:gd name="connsiteY5" fmla="*/ 0 h 6878051"/>
              <a:gd name="connsiteX0" fmla="*/ 4380045 w 8040104"/>
              <a:gd name="connsiteY0" fmla="*/ 0 h 6871566"/>
              <a:gd name="connsiteX1" fmla="*/ 8025870 w 8040104"/>
              <a:gd name="connsiteY1" fmla="*/ 1776 h 6871566"/>
              <a:gd name="connsiteX2" fmla="*/ 8040104 w 8040104"/>
              <a:gd name="connsiteY2" fmla="*/ 6871566 h 6871566"/>
              <a:gd name="connsiteX3" fmla="*/ 0 w 8040104"/>
              <a:gd name="connsiteY3" fmla="*/ 6850739 h 6871566"/>
              <a:gd name="connsiteX4" fmla="*/ 2172335 w 8040104"/>
              <a:gd name="connsiteY4" fmla="*/ 1677854 h 6871566"/>
              <a:gd name="connsiteX5" fmla="*/ 4380045 w 8040104"/>
              <a:gd name="connsiteY5" fmla="*/ 0 h 6871566"/>
              <a:gd name="connsiteX0" fmla="*/ 4380045 w 8040104"/>
              <a:gd name="connsiteY0" fmla="*/ 0 h 6871566"/>
              <a:gd name="connsiteX1" fmla="*/ 8025870 w 8040104"/>
              <a:gd name="connsiteY1" fmla="*/ 1776 h 6871566"/>
              <a:gd name="connsiteX2" fmla="*/ 8040104 w 8040104"/>
              <a:gd name="connsiteY2" fmla="*/ 6871566 h 6871566"/>
              <a:gd name="connsiteX3" fmla="*/ 0 w 8040104"/>
              <a:gd name="connsiteY3" fmla="*/ 6850739 h 6871566"/>
              <a:gd name="connsiteX4" fmla="*/ 2172335 w 8040104"/>
              <a:gd name="connsiteY4" fmla="*/ 1677854 h 6871566"/>
              <a:gd name="connsiteX5" fmla="*/ 4380045 w 8040104"/>
              <a:gd name="connsiteY5" fmla="*/ 0 h 6871566"/>
              <a:gd name="connsiteX0" fmla="*/ 4380045 w 8040104"/>
              <a:gd name="connsiteY0" fmla="*/ 0 h 6871566"/>
              <a:gd name="connsiteX1" fmla="*/ 8025870 w 8040104"/>
              <a:gd name="connsiteY1" fmla="*/ 1776 h 6871566"/>
              <a:gd name="connsiteX2" fmla="*/ 8040104 w 8040104"/>
              <a:gd name="connsiteY2" fmla="*/ 6871566 h 6871566"/>
              <a:gd name="connsiteX3" fmla="*/ 0 w 8040104"/>
              <a:gd name="connsiteY3" fmla="*/ 6850739 h 6871566"/>
              <a:gd name="connsiteX4" fmla="*/ 2172335 w 8040104"/>
              <a:gd name="connsiteY4" fmla="*/ 1677854 h 6871566"/>
              <a:gd name="connsiteX5" fmla="*/ 4380045 w 8040104"/>
              <a:gd name="connsiteY5" fmla="*/ 0 h 6871566"/>
              <a:gd name="connsiteX0" fmla="*/ 4380045 w 8040104"/>
              <a:gd name="connsiteY0" fmla="*/ 132952 h 7004518"/>
              <a:gd name="connsiteX1" fmla="*/ 8025870 w 8040104"/>
              <a:gd name="connsiteY1" fmla="*/ 134728 h 7004518"/>
              <a:gd name="connsiteX2" fmla="*/ 8040104 w 8040104"/>
              <a:gd name="connsiteY2" fmla="*/ 7004518 h 7004518"/>
              <a:gd name="connsiteX3" fmla="*/ 0 w 8040104"/>
              <a:gd name="connsiteY3" fmla="*/ 6983691 h 7004518"/>
              <a:gd name="connsiteX4" fmla="*/ 2126939 w 8040104"/>
              <a:gd name="connsiteY4" fmla="*/ 1934023 h 7004518"/>
              <a:gd name="connsiteX5" fmla="*/ 4380045 w 8040104"/>
              <a:gd name="connsiteY5" fmla="*/ 132952 h 7004518"/>
              <a:gd name="connsiteX0" fmla="*/ 4380045 w 8040104"/>
              <a:gd name="connsiteY0" fmla="*/ 126709 h 6998275"/>
              <a:gd name="connsiteX1" fmla="*/ 8025870 w 8040104"/>
              <a:gd name="connsiteY1" fmla="*/ 128485 h 6998275"/>
              <a:gd name="connsiteX2" fmla="*/ 8040104 w 8040104"/>
              <a:gd name="connsiteY2" fmla="*/ 6998275 h 6998275"/>
              <a:gd name="connsiteX3" fmla="*/ 0 w 8040104"/>
              <a:gd name="connsiteY3" fmla="*/ 6977448 h 6998275"/>
              <a:gd name="connsiteX4" fmla="*/ 2146395 w 8040104"/>
              <a:gd name="connsiteY4" fmla="*/ 1843473 h 6998275"/>
              <a:gd name="connsiteX5" fmla="*/ 4380045 w 8040104"/>
              <a:gd name="connsiteY5" fmla="*/ 126709 h 6998275"/>
              <a:gd name="connsiteX0" fmla="*/ 4380045 w 8040104"/>
              <a:gd name="connsiteY0" fmla="*/ 123346 h 6994912"/>
              <a:gd name="connsiteX1" fmla="*/ 8025870 w 8040104"/>
              <a:gd name="connsiteY1" fmla="*/ 125122 h 6994912"/>
              <a:gd name="connsiteX2" fmla="*/ 8040104 w 8040104"/>
              <a:gd name="connsiteY2" fmla="*/ 6994912 h 6994912"/>
              <a:gd name="connsiteX3" fmla="*/ 0 w 8040104"/>
              <a:gd name="connsiteY3" fmla="*/ 6974085 h 6994912"/>
              <a:gd name="connsiteX4" fmla="*/ 2159365 w 8040104"/>
              <a:gd name="connsiteY4" fmla="*/ 1794714 h 6994912"/>
              <a:gd name="connsiteX5" fmla="*/ 4380045 w 8040104"/>
              <a:gd name="connsiteY5" fmla="*/ 123346 h 6994912"/>
              <a:gd name="connsiteX0" fmla="*/ 4380045 w 8040104"/>
              <a:gd name="connsiteY0" fmla="*/ 202 h 6871768"/>
              <a:gd name="connsiteX1" fmla="*/ 8025870 w 8040104"/>
              <a:gd name="connsiteY1" fmla="*/ 1978 h 6871768"/>
              <a:gd name="connsiteX2" fmla="*/ 8040104 w 8040104"/>
              <a:gd name="connsiteY2" fmla="*/ 6871768 h 6871768"/>
              <a:gd name="connsiteX3" fmla="*/ 0 w 8040104"/>
              <a:gd name="connsiteY3" fmla="*/ 6850941 h 6871768"/>
              <a:gd name="connsiteX4" fmla="*/ 2159365 w 8040104"/>
              <a:gd name="connsiteY4" fmla="*/ 1671570 h 6871768"/>
              <a:gd name="connsiteX5" fmla="*/ 4380045 w 8040104"/>
              <a:gd name="connsiteY5" fmla="*/ 202 h 687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40104" h="6871768">
                <a:moveTo>
                  <a:pt x="4380045" y="202"/>
                </a:moveTo>
                <a:cubicBezTo>
                  <a:pt x="5377251" y="13767"/>
                  <a:pt x="6810595" y="1386"/>
                  <a:pt x="8025870" y="1978"/>
                </a:cubicBezTo>
                <a:cubicBezTo>
                  <a:pt x="8030615" y="2291908"/>
                  <a:pt x="8035359" y="4581838"/>
                  <a:pt x="8040104" y="6871768"/>
                </a:cubicBezTo>
                <a:lnTo>
                  <a:pt x="0" y="6850941"/>
                </a:lnTo>
                <a:cubicBezTo>
                  <a:pt x="846109" y="4823847"/>
                  <a:pt x="1669307" y="2683658"/>
                  <a:pt x="2159365" y="1671570"/>
                </a:cubicBezTo>
                <a:cubicBezTo>
                  <a:pt x="2649423" y="659482"/>
                  <a:pt x="3382839" y="-13363"/>
                  <a:pt x="4380045" y="202"/>
                </a:cubicBezTo>
                <a:close/>
              </a:path>
            </a:pathLst>
          </a:custGeom>
          <a:solidFill>
            <a:schemeClr val="accent5"/>
          </a:solidFill>
        </p:spPr>
        <p:txBody>
          <a:bodyPr lIns="720000" tIns="1332000" rIns="720000"/>
          <a:lstStyle>
            <a:lvl1pPr marL="0" indent="0" algn="ctr" rtl="0" fontAlgn="base">
              <a:lnSpc>
                <a:spcPct val="90000"/>
              </a:lnSpc>
              <a:spcBef>
                <a:spcPts val="1000"/>
              </a:spcBef>
              <a:spcAft>
                <a:spcPct val="0"/>
              </a:spcAft>
              <a:buFontTx/>
              <a:buNone/>
              <a:defRPr sz="1200" b="0" i="0" kern="1200">
                <a:solidFill>
                  <a:schemeClr val="tx2"/>
                </a:solidFill>
                <a:latin typeface="Schibsted Grotesk Bold" pitchFamily="2" charset="77"/>
                <a:ea typeface="Schibsted Grotesk Bold" pitchFamily="2" charset="77"/>
                <a:cs typeface="Schibsted Grotesk Bold" pitchFamily="2" charset="77"/>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bg1"/>
                </a:solidFill>
                <a:latin typeface="+mn-lt"/>
                <a:ea typeface="Schibsted Grotesk Bold" pitchFamily="2" charset="77"/>
                <a:cs typeface="Schibsted Grotesk Bold" pitchFamily="2" charset="77"/>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bg1"/>
                </a:solidFill>
                <a:latin typeface="+mn-lt"/>
                <a:ea typeface="Schibsted Grotesk Bold" pitchFamily="2" charset="77"/>
                <a:cs typeface="Schibsted Grotesk Bold" pitchFamily="2" charset="77"/>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bg1"/>
                </a:solidFill>
                <a:latin typeface="+mn-lt"/>
                <a:ea typeface="Schibsted Grotesk Bold" pitchFamily="2" charset="77"/>
                <a:cs typeface="Schibsted Grotesk Bold" pitchFamily="2" charset="77"/>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bg1"/>
                </a:solidFill>
                <a:latin typeface="+mn-lt"/>
                <a:ea typeface="Schibsted Grotesk Bold" pitchFamily="2" charset="77"/>
                <a:cs typeface="Schibsted Grotesk Bold"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1000"/>
              </a:spcBef>
              <a:spcAft>
                <a:spcPct val="0"/>
              </a:spcAft>
              <a:buClrTx/>
              <a:buSzTx/>
              <a:buFontTx/>
              <a:buNone/>
              <a:tabLst/>
              <a:defRPr/>
            </a:pPr>
            <a:endParaRPr kumimoji="0" lang="en-US" sz="1200" b="0" i="0" u="none" strike="noStrike" kern="1200" cap="none" spc="0" normalizeH="0" baseline="0" noProof="0">
              <a:ln>
                <a:noFill/>
              </a:ln>
              <a:solidFill>
                <a:srgbClr val="FFD900"/>
              </a:solidFill>
              <a:effectLst/>
              <a:uLnTx/>
              <a:uFillTx/>
              <a:latin typeface="Schibsted Grotesk Bold" pitchFamily="2" charset="77"/>
              <a:cs typeface="Schibsted Grotesk Bold" pitchFamily="2" charset="77"/>
            </a:endParaRPr>
          </a:p>
        </p:txBody>
      </p:sp>
      <p:sp>
        <p:nvSpPr>
          <p:cNvPr id="3" name="Picture Placeholder 4">
            <a:extLst>
              <a:ext uri="{FF2B5EF4-FFF2-40B4-BE49-F238E27FC236}">
                <a16:creationId xmlns:a16="http://schemas.microsoft.com/office/drawing/2014/main" id="{40A75132-6903-E3A7-D56B-D26EB50841A3}"/>
              </a:ext>
            </a:extLst>
          </p:cNvPr>
          <p:cNvSpPr>
            <a:spLocks noGrp="1"/>
          </p:cNvSpPr>
          <p:nvPr>
            <p:ph type="pic" sz="quarter" idx="12"/>
          </p:nvPr>
        </p:nvSpPr>
        <p:spPr>
          <a:xfrm>
            <a:off x="6050977" y="683614"/>
            <a:ext cx="6140288" cy="6187086"/>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0288" h="6210534">
                <a:moveTo>
                  <a:pt x="1682562" y="6934"/>
                </a:moveTo>
                <a:cubicBezTo>
                  <a:pt x="3142372" y="-11995"/>
                  <a:pt x="4509513" y="14468"/>
                  <a:pt x="6132539" y="8710"/>
                </a:cubicBezTo>
                <a:lnTo>
                  <a:pt x="6140288" y="6210534"/>
                </a:lnTo>
                <a:lnTo>
                  <a:pt x="1569715" y="6189707"/>
                </a:lnTo>
                <a:cubicBezTo>
                  <a:pt x="1092863" y="4979736"/>
                  <a:pt x="479069" y="3572094"/>
                  <a:pt x="116877" y="2579732"/>
                </a:cubicBezTo>
                <a:cubicBezTo>
                  <a:pt x="-245315" y="1587370"/>
                  <a:pt x="222752" y="25863"/>
                  <a:pt x="1682562" y="6934"/>
                </a:cubicBezTo>
                <a:close/>
              </a:path>
            </a:pathLst>
          </a:custGeom>
          <a:pattFill prst="pct5">
            <a:fgClr>
              <a:schemeClr val="tx1"/>
            </a:fgClr>
            <a:bgClr>
              <a:schemeClr val="tx1">
                <a:lumMod val="65000"/>
              </a:schemeClr>
            </a:bgClr>
          </a:pattFill>
        </p:spPr>
        <p:txBody>
          <a:bodyPr lIns="720000" tIns="1332000" rIns="720000" rtlCol="0">
            <a:normAutofit/>
          </a:bodyPr>
          <a:lstStyle>
            <a:lvl1pPr marL="0" indent="0" algn="ctr">
              <a:buFontTx/>
              <a:buNone/>
              <a:defRPr sz="1200" b="0" i="0">
                <a:solidFill>
                  <a:schemeClr val="bg2"/>
                </a:solidFill>
                <a:latin typeface="Schibsted Grotesk Bold" pitchFamily="2" charset="77"/>
                <a:cs typeface="Schibsted Grotesk Bold" pitchFamily="2" charset="77"/>
              </a:defRPr>
            </a:lvl1pPr>
          </a:lstStyle>
          <a:p>
            <a:pPr lvl="0"/>
            <a:r>
              <a:rPr lang="en-US" noProof="0"/>
              <a:t>Click icon to add picture</a:t>
            </a:r>
          </a:p>
        </p:txBody>
      </p:sp>
      <p:pic>
        <p:nvPicPr>
          <p:cNvPr id="8" name="Picture 7">
            <a:extLst>
              <a:ext uri="{FF2B5EF4-FFF2-40B4-BE49-F238E27FC236}">
                <a16:creationId xmlns:a16="http://schemas.microsoft.com/office/drawing/2014/main" id="{73107398-4A09-6C7C-9FFC-37AC6999DF5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9075" y="206375"/>
            <a:ext cx="25019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1">
            <a:extLst>
              <a:ext uri="{FF2B5EF4-FFF2-40B4-BE49-F238E27FC236}">
                <a16:creationId xmlns:a16="http://schemas.microsoft.com/office/drawing/2014/main" id="{758B154F-DF30-E205-9A36-8F8AA51BCE6F}"/>
              </a:ext>
            </a:extLst>
          </p:cNvPr>
          <p:cNvSpPr>
            <a:spLocks noGrp="1"/>
          </p:cNvSpPr>
          <p:nvPr>
            <p:ph type="ctrTitle"/>
          </p:nvPr>
        </p:nvSpPr>
        <p:spPr>
          <a:xfrm>
            <a:off x="426379" y="1916920"/>
            <a:ext cx="5349765" cy="1603933"/>
          </a:xfrm>
          <a:prstGeom prst="rect">
            <a:avLst/>
          </a:prstGeom>
        </p:spPr>
        <p:txBody>
          <a:bodyPr anchor="b"/>
          <a:lstStyle>
            <a:lvl1pPr algn="l">
              <a:defRPr sz="4000" b="0" i="0">
                <a:solidFill>
                  <a:schemeClr val="bg2"/>
                </a:solidFill>
                <a:latin typeface="+mj-lt"/>
              </a:defRPr>
            </a:lvl1pPr>
          </a:lstStyle>
          <a:p>
            <a:r>
              <a:rPr lang="en-US"/>
              <a:t>Click to edit Master title style</a:t>
            </a:r>
          </a:p>
        </p:txBody>
      </p:sp>
      <p:sp>
        <p:nvSpPr>
          <p:cNvPr id="10" name="Subtitle 2">
            <a:extLst>
              <a:ext uri="{FF2B5EF4-FFF2-40B4-BE49-F238E27FC236}">
                <a16:creationId xmlns:a16="http://schemas.microsoft.com/office/drawing/2014/main" id="{CC8BF864-B4A5-BF3B-17E8-4BB5B1B1B9CC}"/>
              </a:ext>
            </a:extLst>
          </p:cNvPr>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bg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737093168"/>
      </p:ext>
    </p:extLst>
  </p:cSld>
  <p:clrMapOvr>
    <a:overrideClrMapping bg1="dk1" tx1="lt1" bg2="dk2" tx2="lt2" accent1="accent1" accent2="accent2" accent3="accent3" accent4="accent4" accent5="accent5" accent6="accent6" hlink="hlink" folHlink="folHlink"/>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ver 2">
    <p:bg>
      <p:bgPr>
        <a:solidFill>
          <a:schemeClr val="accent5"/>
        </a:solidFill>
        <a:effectLst/>
      </p:bgPr>
    </p:bg>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148D70E1-97E1-B00F-ED70-1E83401754A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9075" y="206375"/>
            <a:ext cx="25019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ctrTitle"/>
          </p:nvPr>
        </p:nvSpPr>
        <p:spPr>
          <a:xfrm>
            <a:off x="426379" y="1916920"/>
            <a:ext cx="5349765" cy="1603933"/>
          </a:xfrm>
          <a:prstGeom prst="rect">
            <a:avLst/>
          </a:prstGeom>
        </p:spPr>
        <p:txBody>
          <a:bodyPr anchor="b"/>
          <a:lstStyle>
            <a:lvl1pPr algn="l">
              <a:defRPr sz="4000" b="0" i="0">
                <a:solidFill>
                  <a:schemeClr val="tx2"/>
                </a:solidFill>
                <a:latin typeface="+mj-lt"/>
              </a:defRPr>
            </a:lvl1pPr>
          </a:lstStyle>
          <a:p>
            <a:r>
              <a:rPr lang="en-US"/>
              <a:t>Click to edit Master title style</a:t>
            </a:r>
          </a:p>
        </p:txBody>
      </p:sp>
      <p:sp>
        <p:nvSpPr>
          <p:cNvPr id="9" name="Subtitle 2"/>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tx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Picture Placeholder 4"/>
          <p:cNvSpPr>
            <a:spLocks noGrp="1"/>
          </p:cNvSpPr>
          <p:nvPr>
            <p:ph type="pic" sz="quarter" idx="10"/>
          </p:nvPr>
        </p:nvSpPr>
        <p:spPr>
          <a:xfrm>
            <a:off x="5154757" y="0"/>
            <a:ext cx="7062643" cy="6858000"/>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 name="connsiteX0" fmla="*/ 1645738 w 6103464"/>
              <a:gd name="connsiteY0" fmla="*/ 674629 h 6878229"/>
              <a:gd name="connsiteX1" fmla="*/ 6083189 w 6103464"/>
              <a:gd name="connsiteY1" fmla="*/ 0 h 6878229"/>
              <a:gd name="connsiteX2" fmla="*/ 6103464 w 6103464"/>
              <a:gd name="connsiteY2" fmla="*/ 6878229 h 6878229"/>
              <a:gd name="connsiteX3" fmla="*/ 1532891 w 6103464"/>
              <a:gd name="connsiteY3" fmla="*/ 6857402 h 6878229"/>
              <a:gd name="connsiteX4" fmla="*/ 80053 w 6103464"/>
              <a:gd name="connsiteY4" fmla="*/ 3247427 h 6878229"/>
              <a:gd name="connsiteX5" fmla="*/ 1645738 w 6103464"/>
              <a:gd name="connsiteY5" fmla="*/ 674629 h 6878229"/>
              <a:gd name="connsiteX0" fmla="*/ 2736124 w 7193850"/>
              <a:gd name="connsiteY0" fmla="*/ 674629 h 6878229"/>
              <a:gd name="connsiteX1" fmla="*/ 7173575 w 7193850"/>
              <a:gd name="connsiteY1" fmla="*/ 0 h 6878229"/>
              <a:gd name="connsiteX2" fmla="*/ 7193850 w 7193850"/>
              <a:gd name="connsiteY2" fmla="*/ 6878229 h 6878229"/>
              <a:gd name="connsiteX3" fmla="*/ 118071 w 7193850"/>
              <a:gd name="connsiteY3" fmla="*/ 6876191 h 6878229"/>
              <a:gd name="connsiteX4" fmla="*/ 1170439 w 7193850"/>
              <a:gd name="connsiteY4" fmla="*/ 3247427 h 6878229"/>
              <a:gd name="connsiteX5" fmla="*/ 2736124 w 7193850"/>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052368 w 7075779"/>
              <a:gd name="connsiteY4" fmla="*/ 3247427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2530439 w 7075779"/>
              <a:gd name="connsiteY4" fmla="*/ 2928013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540883 w 7075779"/>
              <a:gd name="connsiteY4" fmla="*/ 2715071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540883 w 7075779"/>
              <a:gd name="connsiteY4" fmla="*/ 2715071 h 6878229"/>
              <a:gd name="connsiteX5" fmla="*/ 2618053 w 7075779"/>
              <a:gd name="connsiteY5" fmla="*/ 674629 h 6878229"/>
              <a:gd name="connsiteX0" fmla="*/ 1359187 w 7075779"/>
              <a:gd name="connsiteY0" fmla="*/ 197801 h 7084070"/>
              <a:gd name="connsiteX1" fmla="*/ 7055504 w 7075779"/>
              <a:gd name="connsiteY1" fmla="*/ 205841 h 7084070"/>
              <a:gd name="connsiteX2" fmla="*/ 7075779 w 7075779"/>
              <a:gd name="connsiteY2" fmla="*/ 7084070 h 7084070"/>
              <a:gd name="connsiteX3" fmla="*/ 0 w 7075779"/>
              <a:gd name="connsiteY3" fmla="*/ 7082032 h 7084070"/>
              <a:gd name="connsiteX4" fmla="*/ 1540883 w 7075779"/>
              <a:gd name="connsiteY4" fmla="*/ 2920912 h 7084070"/>
              <a:gd name="connsiteX5" fmla="*/ 1359187 w 7075779"/>
              <a:gd name="connsiteY5" fmla="*/ 197801 h 7084070"/>
              <a:gd name="connsiteX0" fmla="*/ 1359187 w 7075779"/>
              <a:gd name="connsiteY0" fmla="*/ 11 h 6886280"/>
              <a:gd name="connsiteX1" fmla="*/ 7055504 w 7075779"/>
              <a:gd name="connsiteY1" fmla="*/ 8051 h 6886280"/>
              <a:gd name="connsiteX2" fmla="*/ 7075779 w 7075779"/>
              <a:gd name="connsiteY2" fmla="*/ 6886280 h 6886280"/>
              <a:gd name="connsiteX3" fmla="*/ 0 w 7075779"/>
              <a:gd name="connsiteY3" fmla="*/ 6884242 h 6886280"/>
              <a:gd name="connsiteX4" fmla="*/ 1540883 w 7075779"/>
              <a:gd name="connsiteY4" fmla="*/ 2723122 h 6886280"/>
              <a:gd name="connsiteX5" fmla="*/ 1359187 w 7075779"/>
              <a:gd name="connsiteY5" fmla="*/ 11 h 6886280"/>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378044 w 7075779"/>
              <a:gd name="connsiteY4" fmla="*/ 3086366 h 6886269"/>
              <a:gd name="connsiteX5" fmla="*/ 1359187 w 7075779"/>
              <a:gd name="connsiteY5" fmla="*/ 0 h 6886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75779" h="6886269">
                <a:moveTo>
                  <a:pt x="1359187" y="0"/>
                </a:moveTo>
                <a:lnTo>
                  <a:pt x="7055504" y="8040"/>
                </a:lnTo>
                <a:cubicBezTo>
                  <a:pt x="7062262" y="2300783"/>
                  <a:pt x="7069021" y="4593526"/>
                  <a:pt x="7075779" y="6886269"/>
                </a:cubicBezTo>
                <a:lnTo>
                  <a:pt x="0" y="6884231"/>
                </a:lnTo>
                <a:cubicBezTo>
                  <a:pt x="800803" y="4835017"/>
                  <a:pt x="1012724" y="4088015"/>
                  <a:pt x="1378044" y="3086366"/>
                </a:cubicBezTo>
                <a:cubicBezTo>
                  <a:pt x="1743364" y="2084717"/>
                  <a:pt x="1964635" y="1220855"/>
                  <a:pt x="1359187" y="0"/>
                </a:cubicBezTo>
                <a:close/>
              </a:path>
            </a:pathLst>
          </a:custGeom>
          <a:pattFill prst="pct5">
            <a:fgClr>
              <a:schemeClr val="bg1"/>
            </a:fgClr>
            <a:bgClr>
              <a:schemeClr val="bg1">
                <a:lumMod val="65000"/>
              </a:schemeClr>
            </a:bgClr>
          </a:pattFill>
        </p:spPr>
        <p:txBody>
          <a:bodyPr lIns="720000" tIns="1332000" rIns="720000" rtlCol="0">
            <a:normAutofit/>
          </a:bodyPr>
          <a:lstStyle>
            <a:lvl1pPr marL="0" indent="0" algn="ctr">
              <a:buFontTx/>
              <a:buNone/>
              <a:defRPr sz="1200" b="0" i="0">
                <a:solidFill>
                  <a:schemeClr val="tx2"/>
                </a:solidFill>
                <a:latin typeface="Schibsted Grotesk Bold" pitchFamily="2" charset="77"/>
              </a:defRPr>
            </a:lvl1pPr>
          </a:lstStyle>
          <a:p>
            <a:pPr lvl="0"/>
            <a:r>
              <a:rPr lang="en-US" noProof="0"/>
              <a:t>Click icon to add picture</a:t>
            </a:r>
          </a:p>
        </p:txBody>
      </p:sp>
    </p:spTree>
    <p:extLst>
      <p:ext uri="{BB962C8B-B14F-4D97-AF65-F5344CB8AC3E}">
        <p14:creationId xmlns:p14="http://schemas.microsoft.com/office/powerpoint/2010/main" val="2196400562"/>
      </p:ext>
    </p:extLst>
  </p:cSld>
  <p:clrMapOvr>
    <a:overrideClrMapping bg1="lt1" tx1="dk1" bg2="lt2" tx2="dk2" accent1="accent1" accent2="accent2" accent3="accent3" accent4="accent4" accent5="accent5" accent6="accent6" hlink="hlink" folHlink="folHlink"/>
  </p:clrMapOvr>
  <p:transition spd="slow"/>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ver 3">
    <p:bg>
      <p:bgPr>
        <a:solidFill>
          <a:schemeClr val="bg2"/>
        </a:solidFill>
        <a:effectLst/>
      </p:bgPr>
    </p:bg>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id="{F9A97BBF-9399-153F-484A-01203F6DAD42}"/>
              </a:ext>
            </a:extLst>
          </p:cNvPr>
          <p:cNvSpPr/>
          <p:nvPr userDrawn="1"/>
        </p:nvSpPr>
        <p:spPr>
          <a:xfrm>
            <a:off x="-7938" y="0"/>
            <a:ext cx="7859713" cy="5464175"/>
          </a:xfrm>
          <a:custGeom>
            <a:avLst/>
            <a:gdLst>
              <a:gd name="connsiteX0" fmla="*/ 0 w 7852229"/>
              <a:gd name="connsiteY0" fmla="*/ 0 h 5464629"/>
              <a:gd name="connsiteX1" fmla="*/ 7852229 w 7852229"/>
              <a:gd name="connsiteY1" fmla="*/ 0 h 5464629"/>
              <a:gd name="connsiteX2" fmla="*/ 7852229 w 7852229"/>
              <a:gd name="connsiteY2" fmla="*/ 5464629 h 5464629"/>
              <a:gd name="connsiteX3" fmla="*/ 0 w 7852229"/>
              <a:gd name="connsiteY3" fmla="*/ 5464629 h 5464629"/>
              <a:gd name="connsiteX4" fmla="*/ 0 w 7852229"/>
              <a:gd name="connsiteY4" fmla="*/ 0 h 5464629"/>
              <a:gd name="connsiteX0" fmla="*/ 0 w 7852229"/>
              <a:gd name="connsiteY0" fmla="*/ 0 h 5464629"/>
              <a:gd name="connsiteX1" fmla="*/ 7852229 w 7852229"/>
              <a:gd name="connsiteY1" fmla="*/ 0 h 5464629"/>
              <a:gd name="connsiteX2" fmla="*/ 7844971 w 7852229"/>
              <a:gd name="connsiteY2" fmla="*/ 4034971 h 5464629"/>
              <a:gd name="connsiteX3" fmla="*/ 7852229 w 7852229"/>
              <a:gd name="connsiteY3" fmla="*/ 5464629 h 5464629"/>
              <a:gd name="connsiteX4" fmla="*/ 0 w 7852229"/>
              <a:gd name="connsiteY4" fmla="*/ 5464629 h 5464629"/>
              <a:gd name="connsiteX5" fmla="*/ 0 w 7852229"/>
              <a:gd name="connsiteY5" fmla="*/ 0 h 5464629"/>
              <a:gd name="connsiteX0" fmla="*/ 0 w 7852229"/>
              <a:gd name="connsiteY0" fmla="*/ 0 h 5471886"/>
              <a:gd name="connsiteX1" fmla="*/ 7852229 w 7852229"/>
              <a:gd name="connsiteY1" fmla="*/ 0 h 5471886"/>
              <a:gd name="connsiteX2" fmla="*/ 7844971 w 7852229"/>
              <a:gd name="connsiteY2" fmla="*/ 4034971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28458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93658"/>
              <a:gd name="connsiteX1" fmla="*/ 7859486 w 7859486"/>
              <a:gd name="connsiteY1" fmla="*/ 0 h 5493658"/>
              <a:gd name="connsiteX2" fmla="*/ 6320970 w 7859486"/>
              <a:gd name="connsiteY2" fmla="*/ 4049485 h 5493658"/>
              <a:gd name="connsiteX3" fmla="*/ 4535715 w 7859486"/>
              <a:gd name="connsiteY3" fmla="*/ 5464629 h 5493658"/>
              <a:gd name="connsiteX4" fmla="*/ 1632857 w 7859486"/>
              <a:gd name="connsiteY4" fmla="*/ 5493658 h 5493658"/>
              <a:gd name="connsiteX5" fmla="*/ 0 w 7859486"/>
              <a:gd name="connsiteY5" fmla="*/ 4782458 h 5493658"/>
              <a:gd name="connsiteX6" fmla="*/ 7257 w 7859486"/>
              <a:gd name="connsiteY6" fmla="*/ 0 h 5493658"/>
              <a:gd name="connsiteX0" fmla="*/ 7257 w 7859486"/>
              <a:gd name="connsiteY0" fmla="*/ 0 h 5464629"/>
              <a:gd name="connsiteX1" fmla="*/ 7859486 w 7859486"/>
              <a:gd name="connsiteY1" fmla="*/ 0 h 5464629"/>
              <a:gd name="connsiteX2" fmla="*/ 6320970 w 7859486"/>
              <a:gd name="connsiteY2" fmla="*/ 4049485 h 5464629"/>
              <a:gd name="connsiteX3" fmla="*/ 4535715 w 7859486"/>
              <a:gd name="connsiteY3" fmla="*/ 5464629 h 5464629"/>
              <a:gd name="connsiteX4" fmla="*/ 1516743 w 7859486"/>
              <a:gd name="connsiteY4" fmla="*/ 5457372 h 5464629"/>
              <a:gd name="connsiteX5" fmla="*/ 0 w 7859486"/>
              <a:gd name="connsiteY5" fmla="*/ 4782458 h 5464629"/>
              <a:gd name="connsiteX6" fmla="*/ 7257 w 7859486"/>
              <a:gd name="connsiteY6" fmla="*/ 0 h 546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59486" h="5464629">
                <a:moveTo>
                  <a:pt x="7257" y="0"/>
                </a:moveTo>
                <a:lnTo>
                  <a:pt x="7859486" y="0"/>
                </a:lnTo>
                <a:cubicBezTo>
                  <a:pt x="7320039" y="1446589"/>
                  <a:pt x="6816875" y="2733524"/>
                  <a:pt x="6320970" y="4049485"/>
                </a:cubicBezTo>
                <a:cubicBezTo>
                  <a:pt x="6033104" y="4765524"/>
                  <a:pt x="5396896" y="5445276"/>
                  <a:pt x="4535715" y="5464629"/>
                </a:cubicBezTo>
                <a:lnTo>
                  <a:pt x="1516743" y="5457372"/>
                </a:lnTo>
                <a:cubicBezTo>
                  <a:pt x="984552" y="5452534"/>
                  <a:pt x="488647" y="5346095"/>
                  <a:pt x="0" y="4782458"/>
                </a:cubicBezTo>
                <a:lnTo>
                  <a:pt x="7257" y="0"/>
                </a:ln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chibsted Grotesk Bold" pitchFamily="2" charset="77"/>
              <a:ea typeface="+mn-ea"/>
              <a:cs typeface="+mn-cs"/>
            </a:endParaRPr>
          </a:p>
        </p:txBody>
      </p:sp>
      <p:pic>
        <p:nvPicPr>
          <p:cNvPr id="4" name="Picture 8">
            <a:extLst>
              <a:ext uri="{FF2B5EF4-FFF2-40B4-BE49-F238E27FC236}">
                <a16:creationId xmlns:a16="http://schemas.microsoft.com/office/drawing/2014/main" id="{7F290938-493D-6D20-7E5B-E1C92D07623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9075" y="206375"/>
            <a:ext cx="25019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Picture Placeholder 4"/>
          <p:cNvSpPr>
            <a:spLocks noGrp="1"/>
          </p:cNvSpPr>
          <p:nvPr>
            <p:ph type="pic" sz="quarter" idx="10"/>
          </p:nvPr>
        </p:nvSpPr>
        <p:spPr>
          <a:xfrm>
            <a:off x="3954275" y="478641"/>
            <a:ext cx="8262794" cy="6379359"/>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 name="connsiteX0" fmla="*/ 1645738 w 6103464"/>
              <a:gd name="connsiteY0" fmla="*/ 674629 h 6878229"/>
              <a:gd name="connsiteX1" fmla="*/ 6083189 w 6103464"/>
              <a:gd name="connsiteY1" fmla="*/ 0 h 6878229"/>
              <a:gd name="connsiteX2" fmla="*/ 6103464 w 6103464"/>
              <a:gd name="connsiteY2" fmla="*/ 6878229 h 6878229"/>
              <a:gd name="connsiteX3" fmla="*/ 1532891 w 6103464"/>
              <a:gd name="connsiteY3" fmla="*/ 6857402 h 6878229"/>
              <a:gd name="connsiteX4" fmla="*/ 80053 w 6103464"/>
              <a:gd name="connsiteY4" fmla="*/ 3247427 h 6878229"/>
              <a:gd name="connsiteX5" fmla="*/ 1645738 w 6103464"/>
              <a:gd name="connsiteY5" fmla="*/ 674629 h 6878229"/>
              <a:gd name="connsiteX0" fmla="*/ 2736124 w 7193850"/>
              <a:gd name="connsiteY0" fmla="*/ 674629 h 6878229"/>
              <a:gd name="connsiteX1" fmla="*/ 7173575 w 7193850"/>
              <a:gd name="connsiteY1" fmla="*/ 0 h 6878229"/>
              <a:gd name="connsiteX2" fmla="*/ 7193850 w 7193850"/>
              <a:gd name="connsiteY2" fmla="*/ 6878229 h 6878229"/>
              <a:gd name="connsiteX3" fmla="*/ 118071 w 7193850"/>
              <a:gd name="connsiteY3" fmla="*/ 6876191 h 6878229"/>
              <a:gd name="connsiteX4" fmla="*/ 1170439 w 7193850"/>
              <a:gd name="connsiteY4" fmla="*/ 3247427 h 6878229"/>
              <a:gd name="connsiteX5" fmla="*/ 2736124 w 7193850"/>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052368 w 7075779"/>
              <a:gd name="connsiteY4" fmla="*/ 3247427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2530439 w 7075779"/>
              <a:gd name="connsiteY4" fmla="*/ 2928013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540883 w 7075779"/>
              <a:gd name="connsiteY4" fmla="*/ 2715071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540883 w 7075779"/>
              <a:gd name="connsiteY4" fmla="*/ 2715071 h 6878229"/>
              <a:gd name="connsiteX5" fmla="*/ 2618053 w 7075779"/>
              <a:gd name="connsiteY5" fmla="*/ 674629 h 6878229"/>
              <a:gd name="connsiteX0" fmla="*/ 1359187 w 7075779"/>
              <a:gd name="connsiteY0" fmla="*/ 197801 h 7084070"/>
              <a:gd name="connsiteX1" fmla="*/ 7055504 w 7075779"/>
              <a:gd name="connsiteY1" fmla="*/ 205841 h 7084070"/>
              <a:gd name="connsiteX2" fmla="*/ 7075779 w 7075779"/>
              <a:gd name="connsiteY2" fmla="*/ 7084070 h 7084070"/>
              <a:gd name="connsiteX3" fmla="*/ 0 w 7075779"/>
              <a:gd name="connsiteY3" fmla="*/ 7082032 h 7084070"/>
              <a:gd name="connsiteX4" fmla="*/ 1540883 w 7075779"/>
              <a:gd name="connsiteY4" fmla="*/ 2920912 h 7084070"/>
              <a:gd name="connsiteX5" fmla="*/ 1359187 w 7075779"/>
              <a:gd name="connsiteY5" fmla="*/ 197801 h 7084070"/>
              <a:gd name="connsiteX0" fmla="*/ 1359187 w 7075779"/>
              <a:gd name="connsiteY0" fmla="*/ 11 h 6886280"/>
              <a:gd name="connsiteX1" fmla="*/ 7055504 w 7075779"/>
              <a:gd name="connsiteY1" fmla="*/ 8051 h 6886280"/>
              <a:gd name="connsiteX2" fmla="*/ 7075779 w 7075779"/>
              <a:gd name="connsiteY2" fmla="*/ 6886280 h 6886280"/>
              <a:gd name="connsiteX3" fmla="*/ 0 w 7075779"/>
              <a:gd name="connsiteY3" fmla="*/ 6884242 h 6886280"/>
              <a:gd name="connsiteX4" fmla="*/ 1540883 w 7075779"/>
              <a:gd name="connsiteY4" fmla="*/ 2723122 h 6886280"/>
              <a:gd name="connsiteX5" fmla="*/ 1359187 w 7075779"/>
              <a:gd name="connsiteY5" fmla="*/ 11 h 6886280"/>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378044 w 7075779"/>
              <a:gd name="connsiteY4" fmla="*/ 3086366 h 6886269"/>
              <a:gd name="connsiteX5" fmla="*/ 1359187 w 7075779"/>
              <a:gd name="connsiteY5" fmla="*/ 0 h 6886269"/>
              <a:gd name="connsiteX0" fmla="*/ 2216437 w 7075779"/>
              <a:gd name="connsiteY0" fmla="*/ 512660 h 6878229"/>
              <a:gd name="connsiteX1" fmla="*/ 7055504 w 7075779"/>
              <a:gd name="connsiteY1" fmla="*/ 0 h 6878229"/>
              <a:gd name="connsiteX2" fmla="*/ 7075779 w 7075779"/>
              <a:gd name="connsiteY2" fmla="*/ 6878229 h 6878229"/>
              <a:gd name="connsiteX3" fmla="*/ 0 w 7075779"/>
              <a:gd name="connsiteY3" fmla="*/ 6876191 h 6878229"/>
              <a:gd name="connsiteX4" fmla="*/ 1378044 w 7075779"/>
              <a:gd name="connsiteY4" fmla="*/ 3078326 h 6878229"/>
              <a:gd name="connsiteX5" fmla="*/ 2216437 w 7075779"/>
              <a:gd name="connsiteY5" fmla="*/ 512660 h 6878229"/>
              <a:gd name="connsiteX0" fmla="*/ 2216437 w 7075779"/>
              <a:gd name="connsiteY0" fmla="*/ 512660 h 6878229"/>
              <a:gd name="connsiteX1" fmla="*/ 7055504 w 7075779"/>
              <a:gd name="connsiteY1" fmla="*/ 0 h 6878229"/>
              <a:gd name="connsiteX2" fmla="*/ 7075779 w 7075779"/>
              <a:gd name="connsiteY2" fmla="*/ 6878229 h 6878229"/>
              <a:gd name="connsiteX3" fmla="*/ 0 w 7075779"/>
              <a:gd name="connsiteY3" fmla="*/ 6876191 h 6878229"/>
              <a:gd name="connsiteX4" fmla="*/ 1378044 w 7075779"/>
              <a:gd name="connsiteY4" fmla="*/ 3078326 h 6878229"/>
              <a:gd name="connsiteX5" fmla="*/ 2216437 w 7075779"/>
              <a:gd name="connsiteY5" fmla="*/ 512660 h 6878229"/>
              <a:gd name="connsiteX0" fmla="*/ 2216437 w 7075779"/>
              <a:gd name="connsiteY0" fmla="*/ 17360 h 6382929"/>
              <a:gd name="connsiteX1" fmla="*/ 4623454 w 7075779"/>
              <a:gd name="connsiteY1" fmla="*/ 0 h 6382929"/>
              <a:gd name="connsiteX2" fmla="*/ 7075779 w 7075779"/>
              <a:gd name="connsiteY2" fmla="*/ 6382929 h 6382929"/>
              <a:gd name="connsiteX3" fmla="*/ 0 w 7075779"/>
              <a:gd name="connsiteY3" fmla="*/ 6380891 h 6382929"/>
              <a:gd name="connsiteX4" fmla="*/ 1378044 w 7075779"/>
              <a:gd name="connsiteY4" fmla="*/ 2583026 h 6382929"/>
              <a:gd name="connsiteX5" fmla="*/ 2216437 w 7075779"/>
              <a:gd name="connsiteY5" fmla="*/ 17360 h 6382929"/>
              <a:gd name="connsiteX0" fmla="*/ 2216437 w 7682069"/>
              <a:gd name="connsiteY0" fmla="*/ 17360 h 6492927"/>
              <a:gd name="connsiteX1" fmla="*/ 4623454 w 7682069"/>
              <a:gd name="connsiteY1" fmla="*/ 0 h 6492927"/>
              <a:gd name="connsiteX2" fmla="*/ 7024544 w 7682069"/>
              <a:gd name="connsiteY2" fmla="*/ 5866803 h 6492927"/>
              <a:gd name="connsiteX3" fmla="*/ 7075779 w 7682069"/>
              <a:gd name="connsiteY3" fmla="*/ 6382929 h 6492927"/>
              <a:gd name="connsiteX4" fmla="*/ 0 w 7682069"/>
              <a:gd name="connsiteY4" fmla="*/ 6380891 h 6492927"/>
              <a:gd name="connsiteX5" fmla="*/ 1378044 w 7682069"/>
              <a:gd name="connsiteY5" fmla="*/ 2583026 h 6492927"/>
              <a:gd name="connsiteX6" fmla="*/ 2216437 w 7682069"/>
              <a:gd name="connsiteY6" fmla="*/ 17360 h 6492927"/>
              <a:gd name="connsiteX0" fmla="*/ 2216437 w 7658705"/>
              <a:gd name="connsiteY0" fmla="*/ 17360 h 6435474"/>
              <a:gd name="connsiteX1" fmla="*/ 4623454 w 7658705"/>
              <a:gd name="connsiteY1" fmla="*/ 0 h 6435474"/>
              <a:gd name="connsiteX2" fmla="*/ 5151294 w 7658705"/>
              <a:gd name="connsiteY2" fmla="*/ 901103 h 6435474"/>
              <a:gd name="connsiteX3" fmla="*/ 7024544 w 7658705"/>
              <a:gd name="connsiteY3" fmla="*/ 5866803 h 6435474"/>
              <a:gd name="connsiteX4" fmla="*/ 7075779 w 7658705"/>
              <a:gd name="connsiteY4" fmla="*/ 6382929 h 6435474"/>
              <a:gd name="connsiteX5" fmla="*/ 0 w 7658705"/>
              <a:gd name="connsiteY5" fmla="*/ 6380891 h 6435474"/>
              <a:gd name="connsiteX6" fmla="*/ 1378044 w 7658705"/>
              <a:gd name="connsiteY6" fmla="*/ 2583026 h 6435474"/>
              <a:gd name="connsiteX7" fmla="*/ 2216437 w 7658705"/>
              <a:gd name="connsiteY7" fmla="*/ 17360 h 6435474"/>
              <a:gd name="connsiteX0" fmla="*/ 3384837 w 8827105"/>
              <a:gd name="connsiteY0" fmla="*/ 17360 h 6435474"/>
              <a:gd name="connsiteX1" fmla="*/ 5791854 w 8827105"/>
              <a:gd name="connsiteY1" fmla="*/ 0 h 6435474"/>
              <a:gd name="connsiteX2" fmla="*/ 6319694 w 8827105"/>
              <a:gd name="connsiteY2" fmla="*/ 901103 h 6435474"/>
              <a:gd name="connsiteX3" fmla="*/ 8192944 w 8827105"/>
              <a:gd name="connsiteY3" fmla="*/ 5866803 h 6435474"/>
              <a:gd name="connsiteX4" fmla="*/ 8244179 w 8827105"/>
              <a:gd name="connsiteY4" fmla="*/ 6382929 h 6435474"/>
              <a:gd name="connsiteX5" fmla="*/ 0 w 8827105"/>
              <a:gd name="connsiteY5" fmla="*/ 6374541 h 6435474"/>
              <a:gd name="connsiteX6" fmla="*/ 2546444 w 8827105"/>
              <a:gd name="connsiteY6" fmla="*/ 2583026 h 6435474"/>
              <a:gd name="connsiteX7" fmla="*/ 3384837 w 8827105"/>
              <a:gd name="connsiteY7" fmla="*/ 17360 h 6435474"/>
              <a:gd name="connsiteX0" fmla="*/ 3384837 w 8841176"/>
              <a:gd name="connsiteY0" fmla="*/ 17360 h 6382929"/>
              <a:gd name="connsiteX1" fmla="*/ 5791854 w 8841176"/>
              <a:gd name="connsiteY1" fmla="*/ 0 h 6382929"/>
              <a:gd name="connsiteX2" fmla="*/ 6319694 w 8841176"/>
              <a:gd name="connsiteY2" fmla="*/ 901103 h 6382929"/>
              <a:gd name="connsiteX3" fmla="*/ 8237394 w 8841176"/>
              <a:gd name="connsiteY3" fmla="*/ 3491903 h 6382929"/>
              <a:gd name="connsiteX4" fmla="*/ 8244179 w 8841176"/>
              <a:gd name="connsiteY4" fmla="*/ 6382929 h 6382929"/>
              <a:gd name="connsiteX5" fmla="*/ 0 w 8841176"/>
              <a:gd name="connsiteY5" fmla="*/ 6374541 h 6382929"/>
              <a:gd name="connsiteX6" fmla="*/ 2546444 w 8841176"/>
              <a:gd name="connsiteY6" fmla="*/ 2583026 h 6382929"/>
              <a:gd name="connsiteX7" fmla="*/ 3384837 w 8841176"/>
              <a:gd name="connsiteY7" fmla="*/ 17360 h 6382929"/>
              <a:gd name="connsiteX0" fmla="*/ 3384837 w 8841176"/>
              <a:gd name="connsiteY0" fmla="*/ 17360 h 6382929"/>
              <a:gd name="connsiteX1" fmla="*/ 5791854 w 8841176"/>
              <a:gd name="connsiteY1" fmla="*/ 0 h 6382929"/>
              <a:gd name="connsiteX2" fmla="*/ 6319694 w 8841176"/>
              <a:gd name="connsiteY2" fmla="*/ 901103 h 6382929"/>
              <a:gd name="connsiteX3" fmla="*/ 8237394 w 8841176"/>
              <a:gd name="connsiteY3" fmla="*/ 3491903 h 6382929"/>
              <a:gd name="connsiteX4" fmla="*/ 8244179 w 8841176"/>
              <a:gd name="connsiteY4" fmla="*/ 6382929 h 6382929"/>
              <a:gd name="connsiteX5" fmla="*/ 0 w 8841176"/>
              <a:gd name="connsiteY5" fmla="*/ 6374541 h 6382929"/>
              <a:gd name="connsiteX6" fmla="*/ 2546444 w 8841176"/>
              <a:gd name="connsiteY6" fmla="*/ 2583026 h 6382929"/>
              <a:gd name="connsiteX7" fmla="*/ 3384837 w 8841176"/>
              <a:gd name="connsiteY7" fmla="*/ 17360 h 6382929"/>
              <a:gd name="connsiteX0" fmla="*/ 3384837 w 8760679"/>
              <a:gd name="connsiteY0" fmla="*/ 17360 h 6382929"/>
              <a:gd name="connsiteX1" fmla="*/ 5791854 w 8760679"/>
              <a:gd name="connsiteY1" fmla="*/ 0 h 6382929"/>
              <a:gd name="connsiteX2" fmla="*/ 6319694 w 8760679"/>
              <a:gd name="connsiteY2" fmla="*/ 901103 h 6382929"/>
              <a:gd name="connsiteX3" fmla="*/ 8237394 w 8760679"/>
              <a:gd name="connsiteY3" fmla="*/ 3491903 h 6382929"/>
              <a:gd name="connsiteX4" fmla="*/ 8244179 w 8760679"/>
              <a:gd name="connsiteY4" fmla="*/ 6382929 h 6382929"/>
              <a:gd name="connsiteX5" fmla="*/ 0 w 8760679"/>
              <a:gd name="connsiteY5" fmla="*/ 6374541 h 6382929"/>
              <a:gd name="connsiteX6" fmla="*/ 2546444 w 8760679"/>
              <a:gd name="connsiteY6" fmla="*/ 2583026 h 6382929"/>
              <a:gd name="connsiteX7" fmla="*/ 3384837 w 8760679"/>
              <a:gd name="connsiteY7" fmla="*/ 17360 h 6382929"/>
              <a:gd name="connsiteX0" fmla="*/ 3384837 w 8767257"/>
              <a:gd name="connsiteY0" fmla="*/ 17360 h 6382929"/>
              <a:gd name="connsiteX1" fmla="*/ 5791854 w 8767257"/>
              <a:gd name="connsiteY1" fmla="*/ 0 h 6382929"/>
              <a:gd name="connsiteX2" fmla="*/ 6319694 w 8767257"/>
              <a:gd name="connsiteY2" fmla="*/ 901103 h 6382929"/>
              <a:gd name="connsiteX3" fmla="*/ 8262794 w 8767257"/>
              <a:gd name="connsiteY3" fmla="*/ 3530003 h 6382929"/>
              <a:gd name="connsiteX4" fmla="*/ 8244179 w 8767257"/>
              <a:gd name="connsiteY4" fmla="*/ 6382929 h 6382929"/>
              <a:gd name="connsiteX5" fmla="*/ 0 w 8767257"/>
              <a:gd name="connsiteY5" fmla="*/ 6374541 h 6382929"/>
              <a:gd name="connsiteX6" fmla="*/ 2546444 w 8767257"/>
              <a:gd name="connsiteY6" fmla="*/ 2583026 h 6382929"/>
              <a:gd name="connsiteX7" fmla="*/ 3384837 w 8767257"/>
              <a:gd name="connsiteY7" fmla="*/ 17360 h 6382929"/>
              <a:gd name="connsiteX0" fmla="*/ 3384837 w 8262794"/>
              <a:gd name="connsiteY0" fmla="*/ 17360 h 6382929"/>
              <a:gd name="connsiteX1" fmla="*/ 5791854 w 8262794"/>
              <a:gd name="connsiteY1" fmla="*/ 0 h 6382929"/>
              <a:gd name="connsiteX2" fmla="*/ 6319694 w 8262794"/>
              <a:gd name="connsiteY2" fmla="*/ 9011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79185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79185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79185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120994 w 8262794"/>
              <a:gd name="connsiteY6" fmla="*/ 18464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120994 w 8262794"/>
              <a:gd name="connsiteY6" fmla="*/ 18464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082894 w 8262794"/>
              <a:gd name="connsiteY6" fmla="*/ 18337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082894 w 8262794"/>
              <a:gd name="connsiteY6" fmla="*/ 1833726 h 6382929"/>
              <a:gd name="connsiteX7" fmla="*/ 3384837 w 8262794"/>
              <a:gd name="connsiteY7" fmla="*/ 17360 h 638292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82894 w 8262794"/>
              <a:gd name="connsiteY6" fmla="*/ 1835416 h 6384619"/>
              <a:gd name="connsiteX7" fmla="*/ 3886487 w 8262794"/>
              <a:gd name="connsiteY7"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82894 w 8262794"/>
              <a:gd name="connsiteY6" fmla="*/ 1835416 h 6384619"/>
              <a:gd name="connsiteX7" fmla="*/ 3886487 w 8262794"/>
              <a:gd name="connsiteY7"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82894 w 8262794"/>
              <a:gd name="connsiteY6" fmla="*/ 1835416 h 6384619"/>
              <a:gd name="connsiteX7" fmla="*/ 3886487 w 8262794"/>
              <a:gd name="connsiteY7"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00344 w 8262794"/>
              <a:gd name="connsiteY6" fmla="*/ 1822716 h 6384619"/>
              <a:gd name="connsiteX7" fmla="*/ 3886487 w 8262794"/>
              <a:gd name="connsiteY7"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00344 w 8262794"/>
              <a:gd name="connsiteY6" fmla="*/ 1822716 h 6384619"/>
              <a:gd name="connsiteX7" fmla="*/ 3886487 w 8262794"/>
              <a:gd name="connsiteY7" fmla="*/ 0 h 6384619"/>
              <a:gd name="connsiteX0" fmla="*/ 4394383 w 8770690"/>
              <a:gd name="connsiteY0" fmla="*/ 0 h 6384619"/>
              <a:gd name="connsiteX1" fmla="*/ 6039400 w 8770690"/>
              <a:gd name="connsiteY1" fmla="*/ 1690 h 6384619"/>
              <a:gd name="connsiteX2" fmla="*/ 7691190 w 8770690"/>
              <a:gd name="connsiteY2" fmla="*/ 953593 h 6384619"/>
              <a:gd name="connsiteX3" fmla="*/ 8770690 w 8770690"/>
              <a:gd name="connsiteY3" fmla="*/ 3531693 h 6384619"/>
              <a:gd name="connsiteX4" fmla="*/ 8752075 w 8770690"/>
              <a:gd name="connsiteY4" fmla="*/ 6384619 h 6384619"/>
              <a:gd name="connsiteX5" fmla="*/ 507896 w 8770690"/>
              <a:gd name="connsiteY5" fmla="*/ 6376231 h 6384619"/>
              <a:gd name="connsiteX6" fmla="*/ 1066186 w 8770690"/>
              <a:gd name="connsiteY6" fmla="*/ 4968748 h 6384619"/>
              <a:gd name="connsiteX7" fmla="*/ 2508240 w 8770690"/>
              <a:gd name="connsiteY7" fmla="*/ 1822716 h 6384619"/>
              <a:gd name="connsiteX8" fmla="*/ 4394383 w 8770690"/>
              <a:gd name="connsiteY8"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558290 w 8262794"/>
              <a:gd name="connsiteY6" fmla="*/ 4968748 h 6384619"/>
              <a:gd name="connsiteX7" fmla="*/ 2000344 w 8262794"/>
              <a:gd name="connsiteY7" fmla="*/ 1822716 h 6384619"/>
              <a:gd name="connsiteX8" fmla="*/ 3886487 w 8262794"/>
              <a:gd name="connsiteY8"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558290 w 8262794"/>
              <a:gd name="connsiteY6" fmla="*/ 4968748 h 6384619"/>
              <a:gd name="connsiteX7" fmla="*/ 2000344 w 8262794"/>
              <a:gd name="connsiteY7" fmla="*/ 1822716 h 6384619"/>
              <a:gd name="connsiteX8" fmla="*/ 3886487 w 8262794"/>
              <a:gd name="connsiteY8" fmla="*/ 0 h 6384619"/>
              <a:gd name="connsiteX0" fmla="*/ 3886487 w 8262794"/>
              <a:gd name="connsiteY0" fmla="*/ 127428 h 6512047"/>
              <a:gd name="connsiteX1" fmla="*/ 5531504 w 8262794"/>
              <a:gd name="connsiteY1" fmla="*/ 129118 h 6512047"/>
              <a:gd name="connsiteX2" fmla="*/ 7183294 w 8262794"/>
              <a:gd name="connsiteY2" fmla="*/ 1081021 h 6512047"/>
              <a:gd name="connsiteX3" fmla="*/ 8262794 w 8262794"/>
              <a:gd name="connsiteY3" fmla="*/ 3659121 h 6512047"/>
              <a:gd name="connsiteX4" fmla="*/ 8244179 w 8262794"/>
              <a:gd name="connsiteY4" fmla="*/ 6512047 h 6512047"/>
              <a:gd name="connsiteX5" fmla="*/ 0 w 8262794"/>
              <a:gd name="connsiteY5" fmla="*/ 6503659 h 6512047"/>
              <a:gd name="connsiteX6" fmla="*/ 558290 w 8262794"/>
              <a:gd name="connsiteY6" fmla="*/ 5096176 h 6512047"/>
              <a:gd name="connsiteX7" fmla="*/ 2000344 w 8262794"/>
              <a:gd name="connsiteY7" fmla="*/ 1950144 h 6512047"/>
              <a:gd name="connsiteX8" fmla="*/ 3694213 w 8262794"/>
              <a:gd name="connsiteY8" fmla="*/ 137314 h 6512047"/>
              <a:gd name="connsiteX9" fmla="*/ 3886487 w 8262794"/>
              <a:gd name="connsiteY9" fmla="*/ 127428 h 6512047"/>
              <a:gd name="connsiteX0" fmla="*/ 3886487 w 8262794"/>
              <a:gd name="connsiteY0" fmla="*/ 127428 h 6512047"/>
              <a:gd name="connsiteX1" fmla="*/ 5531504 w 8262794"/>
              <a:gd name="connsiteY1" fmla="*/ 129118 h 6512047"/>
              <a:gd name="connsiteX2" fmla="*/ 7183294 w 8262794"/>
              <a:gd name="connsiteY2" fmla="*/ 1081021 h 6512047"/>
              <a:gd name="connsiteX3" fmla="*/ 8262794 w 8262794"/>
              <a:gd name="connsiteY3" fmla="*/ 3659121 h 6512047"/>
              <a:gd name="connsiteX4" fmla="*/ 8244179 w 8262794"/>
              <a:gd name="connsiteY4" fmla="*/ 6512047 h 6512047"/>
              <a:gd name="connsiteX5" fmla="*/ 0 w 8262794"/>
              <a:gd name="connsiteY5" fmla="*/ 6503659 h 6512047"/>
              <a:gd name="connsiteX6" fmla="*/ 558290 w 8262794"/>
              <a:gd name="connsiteY6" fmla="*/ 5096176 h 6512047"/>
              <a:gd name="connsiteX7" fmla="*/ 2000344 w 8262794"/>
              <a:gd name="connsiteY7" fmla="*/ 1950144 h 6512047"/>
              <a:gd name="connsiteX8" fmla="*/ 3694213 w 8262794"/>
              <a:gd name="connsiteY8" fmla="*/ 137314 h 6512047"/>
              <a:gd name="connsiteX9" fmla="*/ 3886487 w 8262794"/>
              <a:gd name="connsiteY9" fmla="*/ 127428 h 6512047"/>
              <a:gd name="connsiteX0" fmla="*/ 3886487 w 8262794"/>
              <a:gd name="connsiteY0" fmla="*/ 127428 h 6512047"/>
              <a:gd name="connsiteX1" fmla="*/ 5531504 w 8262794"/>
              <a:gd name="connsiteY1" fmla="*/ 129118 h 6512047"/>
              <a:gd name="connsiteX2" fmla="*/ 7183294 w 8262794"/>
              <a:gd name="connsiteY2" fmla="*/ 1081021 h 6512047"/>
              <a:gd name="connsiteX3" fmla="*/ 8262794 w 8262794"/>
              <a:gd name="connsiteY3" fmla="*/ 3659121 h 6512047"/>
              <a:gd name="connsiteX4" fmla="*/ 8244179 w 8262794"/>
              <a:gd name="connsiteY4" fmla="*/ 6512047 h 6512047"/>
              <a:gd name="connsiteX5" fmla="*/ 0 w 8262794"/>
              <a:gd name="connsiteY5" fmla="*/ 6503659 h 6512047"/>
              <a:gd name="connsiteX6" fmla="*/ 558290 w 8262794"/>
              <a:gd name="connsiteY6" fmla="*/ 5096176 h 6512047"/>
              <a:gd name="connsiteX7" fmla="*/ 2516160 w 8262794"/>
              <a:gd name="connsiteY7" fmla="*/ 3714467 h 6512047"/>
              <a:gd name="connsiteX8" fmla="*/ 3694213 w 8262794"/>
              <a:gd name="connsiteY8" fmla="*/ 137314 h 6512047"/>
              <a:gd name="connsiteX9" fmla="*/ 3886487 w 8262794"/>
              <a:gd name="connsiteY9" fmla="*/ 127428 h 6512047"/>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558290 w 8262794"/>
              <a:gd name="connsiteY6" fmla="*/ 4968748 h 6384619"/>
              <a:gd name="connsiteX7" fmla="*/ 2516160 w 8262794"/>
              <a:gd name="connsiteY7" fmla="*/ 3587039 h 6384619"/>
              <a:gd name="connsiteX8" fmla="*/ 3694213 w 8262794"/>
              <a:gd name="connsiteY8" fmla="*/ 9886 h 6384619"/>
              <a:gd name="connsiteX9" fmla="*/ 3886487 w 8262794"/>
              <a:gd name="connsiteY9" fmla="*/ 0 h 6384619"/>
              <a:gd name="connsiteX0" fmla="*/ 3694213 w 8262794"/>
              <a:gd name="connsiteY0" fmla="*/ 306770 h 6681503"/>
              <a:gd name="connsiteX1" fmla="*/ 5531504 w 8262794"/>
              <a:gd name="connsiteY1" fmla="*/ 298574 h 6681503"/>
              <a:gd name="connsiteX2" fmla="*/ 7183294 w 8262794"/>
              <a:gd name="connsiteY2" fmla="*/ 1250477 h 6681503"/>
              <a:gd name="connsiteX3" fmla="*/ 8262794 w 8262794"/>
              <a:gd name="connsiteY3" fmla="*/ 3828577 h 6681503"/>
              <a:gd name="connsiteX4" fmla="*/ 8244179 w 8262794"/>
              <a:gd name="connsiteY4" fmla="*/ 6681503 h 6681503"/>
              <a:gd name="connsiteX5" fmla="*/ 0 w 8262794"/>
              <a:gd name="connsiteY5" fmla="*/ 6673115 h 6681503"/>
              <a:gd name="connsiteX6" fmla="*/ 558290 w 8262794"/>
              <a:gd name="connsiteY6" fmla="*/ 5265632 h 6681503"/>
              <a:gd name="connsiteX7" fmla="*/ 2516160 w 8262794"/>
              <a:gd name="connsiteY7" fmla="*/ 3883923 h 6681503"/>
              <a:gd name="connsiteX8" fmla="*/ 3694213 w 8262794"/>
              <a:gd name="connsiteY8" fmla="*/ 306770 h 6681503"/>
              <a:gd name="connsiteX0" fmla="*/ 3694213 w 8262794"/>
              <a:gd name="connsiteY0" fmla="*/ 78510 h 6453243"/>
              <a:gd name="connsiteX1" fmla="*/ 5531504 w 8262794"/>
              <a:gd name="connsiteY1" fmla="*/ 70314 h 6453243"/>
              <a:gd name="connsiteX2" fmla="*/ 7183294 w 8262794"/>
              <a:gd name="connsiteY2" fmla="*/ 1022217 h 6453243"/>
              <a:gd name="connsiteX3" fmla="*/ 8262794 w 8262794"/>
              <a:gd name="connsiteY3" fmla="*/ 3600317 h 6453243"/>
              <a:gd name="connsiteX4" fmla="*/ 8244179 w 8262794"/>
              <a:gd name="connsiteY4" fmla="*/ 6453243 h 6453243"/>
              <a:gd name="connsiteX5" fmla="*/ 0 w 8262794"/>
              <a:gd name="connsiteY5" fmla="*/ 6444855 h 6453243"/>
              <a:gd name="connsiteX6" fmla="*/ 558290 w 8262794"/>
              <a:gd name="connsiteY6" fmla="*/ 5037372 h 6453243"/>
              <a:gd name="connsiteX7" fmla="*/ 2516160 w 8262794"/>
              <a:gd name="connsiteY7" fmla="*/ 3655663 h 6453243"/>
              <a:gd name="connsiteX8" fmla="*/ 3694213 w 8262794"/>
              <a:gd name="connsiteY8" fmla="*/ 78510 h 6453243"/>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516160 w 8262794"/>
              <a:gd name="connsiteY7" fmla="*/ 3587932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62794" h="6385512">
                <a:moveTo>
                  <a:pt x="3694213" y="10779"/>
                </a:moveTo>
                <a:cubicBezTo>
                  <a:pt x="4454678" y="-625"/>
                  <a:pt x="4955852" y="-2302"/>
                  <a:pt x="5531504" y="2583"/>
                </a:cubicBezTo>
                <a:cubicBezTo>
                  <a:pt x="6084147" y="29223"/>
                  <a:pt x="6757712" y="-16965"/>
                  <a:pt x="7183294" y="954486"/>
                </a:cubicBezTo>
                <a:cubicBezTo>
                  <a:pt x="7583476" y="1932287"/>
                  <a:pt x="7878547" y="2625298"/>
                  <a:pt x="8262794" y="3532586"/>
                </a:cubicBezTo>
                <a:cubicBezTo>
                  <a:pt x="8253341" y="4497024"/>
                  <a:pt x="8252886" y="5683881"/>
                  <a:pt x="8244179" y="6385512"/>
                </a:cubicBezTo>
                <a:lnTo>
                  <a:pt x="0" y="6377124"/>
                </a:lnTo>
                <a:cubicBezTo>
                  <a:pt x="184403" y="5889100"/>
                  <a:pt x="260068" y="5746144"/>
                  <a:pt x="558290" y="4969641"/>
                </a:cubicBezTo>
                <a:cubicBezTo>
                  <a:pt x="1167174" y="4990306"/>
                  <a:pt x="1929029" y="4560948"/>
                  <a:pt x="2352037" y="3529317"/>
                </a:cubicBezTo>
                <a:cubicBezTo>
                  <a:pt x="2775045" y="2497686"/>
                  <a:pt x="3491225" y="566611"/>
                  <a:pt x="3694213" y="10779"/>
                </a:cubicBezTo>
                <a:close/>
              </a:path>
            </a:pathLst>
          </a:custGeom>
          <a:pattFill prst="pct5">
            <a:fgClr>
              <a:schemeClr val="bg1"/>
            </a:fgClr>
            <a:bgClr>
              <a:schemeClr val="bg1">
                <a:lumMod val="65000"/>
              </a:schemeClr>
            </a:bgClr>
          </a:pattFill>
        </p:spPr>
        <p:txBody>
          <a:bodyPr lIns="2340000" tIns="1332000" rIns="720000" rtlCol="0">
            <a:normAutofit/>
          </a:bodyPr>
          <a:lstStyle>
            <a:lvl1pPr marL="0" indent="0" algn="ctr">
              <a:buFontTx/>
              <a:buNone/>
              <a:defRPr sz="1200" b="0" i="0">
                <a:solidFill>
                  <a:schemeClr val="tx2"/>
                </a:solidFill>
                <a:latin typeface="Schibsted Grotesk Bold" pitchFamily="2" charset="77"/>
              </a:defRPr>
            </a:lvl1pPr>
          </a:lstStyle>
          <a:p>
            <a:pPr lvl="0"/>
            <a:r>
              <a:rPr lang="en-US" noProof="0"/>
              <a:t>Click icon to add picture</a:t>
            </a:r>
          </a:p>
        </p:txBody>
      </p:sp>
      <p:sp>
        <p:nvSpPr>
          <p:cNvPr id="6" name="Title 1">
            <a:extLst>
              <a:ext uri="{FF2B5EF4-FFF2-40B4-BE49-F238E27FC236}">
                <a16:creationId xmlns:a16="http://schemas.microsoft.com/office/drawing/2014/main" id="{BA7DFF01-12F2-FCD5-AE18-6450A1F70231}"/>
              </a:ext>
            </a:extLst>
          </p:cNvPr>
          <p:cNvSpPr>
            <a:spLocks noGrp="1"/>
          </p:cNvSpPr>
          <p:nvPr>
            <p:ph type="ctrTitle"/>
          </p:nvPr>
        </p:nvSpPr>
        <p:spPr>
          <a:xfrm>
            <a:off x="426379" y="1916920"/>
            <a:ext cx="5349765" cy="1603933"/>
          </a:xfrm>
          <a:prstGeom prst="rect">
            <a:avLst/>
          </a:prstGeom>
        </p:spPr>
        <p:txBody>
          <a:bodyPr anchor="b"/>
          <a:lstStyle>
            <a:lvl1pPr algn="l">
              <a:defRPr sz="4000" b="0" i="0">
                <a:solidFill>
                  <a:schemeClr val="tx2"/>
                </a:solidFill>
                <a:latin typeface="+mj-lt"/>
              </a:defRPr>
            </a:lvl1pPr>
          </a:lstStyle>
          <a:p>
            <a:r>
              <a:rPr lang="en-US"/>
              <a:t>Click to edit Master title style</a:t>
            </a:r>
          </a:p>
        </p:txBody>
      </p:sp>
      <p:sp>
        <p:nvSpPr>
          <p:cNvPr id="7" name="Subtitle 2">
            <a:extLst>
              <a:ext uri="{FF2B5EF4-FFF2-40B4-BE49-F238E27FC236}">
                <a16:creationId xmlns:a16="http://schemas.microsoft.com/office/drawing/2014/main" id="{5BE17CB9-DBB8-782B-FF7B-7A7F167A2429}"/>
              </a:ext>
            </a:extLst>
          </p:cNvPr>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tx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304413"/>
      </p:ext>
    </p:extLst>
  </p:cSld>
  <p:clrMapOvr>
    <a:masterClrMapping/>
  </p:clrMapOvr>
  <p:transition spd="slow"/>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ver 4">
    <p:bg>
      <p:bgPr>
        <a:solidFill>
          <a:schemeClr val="bg2"/>
        </a:solidFill>
        <a:effectLst/>
      </p:bgPr>
    </p:bg>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AF19DDE3-818E-8644-9E61-B35BED1F2F4F}"/>
              </a:ext>
            </a:extLst>
          </p:cNvPr>
          <p:cNvSpPr txBox="1">
            <a:spLocks/>
          </p:cNvSpPr>
          <p:nvPr userDrawn="1"/>
        </p:nvSpPr>
        <p:spPr>
          <a:xfrm flipH="1">
            <a:off x="-9525" y="-28575"/>
            <a:ext cx="6972300" cy="6891338"/>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 name="connsiteX0" fmla="*/ 1638683 w 6096409"/>
              <a:gd name="connsiteY0" fmla="*/ 72693 h 6276293"/>
              <a:gd name="connsiteX1" fmla="*/ 5287527 w 6096409"/>
              <a:gd name="connsiteY1" fmla="*/ 650626 h 6276293"/>
              <a:gd name="connsiteX2" fmla="*/ 6096409 w 6096409"/>
              <a:gd name="connsiteY2" fmla="*/ 6276293 h 6276293"/>
              <a:gd name="connsiteX3" fmla="*/ 1525836 w 6096409"/>
              <a:gd name="connsiteY3" fmla="*/ 6255466 h 6276293"/>
              <a:gd name="connsiteX4" fmla="*/ 72998 w 6096409"/>
              <a:gd name="connsiteY4" fmla="*/ 2645491 h 6276293"/>
              <a:gd name="connsiteX5" fmla="*/ 1638683 w 6096409"/>
              <a:gd name="connsiteY5" fmla="*/ 72693 h 6276293"/>
              <a:gd name="connsiteX0" fmla="*/ 1641246 w 6098972"/>
              <a:gd name="connsiteY0" fmla="*/ 176561 h 6380161"/>
              <a:gd name="connsiteX1" fmla="*/ 5591887 w 6098972"/>
              <a:gd name="connsiteY1" fmla="*/ 216748 h 6380161"/>
              <a:gd name="connsiteX2" fmla="*/ 6098972 w 6098972"/>
              <a:gd name="connsiteY2" fmla="*/ 6380161 h 6380161"/>
              <a:gd name="connsiteX3" fmla="*/ 1528399 w 6098972"/>
              <a:gd name="connsiteY3" fmla="*/ 6359334 h 6380161"/>
              <a:gd name="connsiteX4" fmla="*/ 75561 w 6098972"/>
              <a:gd name="connsiteY4" fmla="*/ 2749359 h 6380161"/>
              <a:gd name="connsiteX5" fmla="*/ 1641246 w 6098972"/>
              <a:gd name="connsiteY5" fmla="*/ 176561 h 6380161"/>
              <a:gd name="connsiteX0" fmla="*/ 785215 w 6098947"/>
              <a:gd name="connsiteY0" fmla="*/ 193139 h 6330893"/>
              <a:gd name="connsiteX1" fmla="*/ 5591862 w 6098947"/>
              <a:gd name="connsiteY1" fmla="*/ 167480 h 6330893"/>
              <a:gd name="connsiteX2" fmla="*/ 6098947 w 6098947"/>
              <a:gd name="connsiteY2" fmla="*/ 6330893 h 6330893"/>
              <a:gd name="connsiteX3" fmla="*/ 1528374 w 6098947"/>
              <a:gd name="connsiteY3" fmla="*/ 6310066 h 6330893"/>
              <a:gd name="connsiteX4" fmla="*/ 75536 w 6098947"/>
              <a:gd name="connsiteY4" fmla="*/ 2700091 h 6330893"/>
              <a:gd name="connsiteX5" fmla="*/ 785215 w 6098947"/>
              <a:gd name="connsiteY5" fmla="*/ 193139 h 6330893"/>
              <a:gd name="connsiteX0" fmla="*/ 1077816 w 6391548"/>
              <a:gd name="connsiteY0" fmla="*/ 167153 h 6304907"/>
              <a:gd name="connsiteX1" fmla="*/ 5884463 w 6391548"/>
              <a:gd name="connsiteY1" fmla="*/ 141494 h 6304907"/>
              <a:gd name="connsiteX2" fmla="*/ 6391548 w 6391548"/>
              <a:gd name="connsiteY2" fmla="*/ 6304907 h 6304907"/>
              <a:gd name="connsiteX3" fmla="*/ 1820975 w 6391548"/>
              <a:gd name="connsiteY3" fmla="*/ 6284080 h 6304907"/>
              <a:gd name="connsiteX4" fmla="*/ 33417 w 6391548"/>
              <a:gd name="connsiteY4" fmla="*/ 2322923 h 6304907"/>
              <a:gd name="connsiteX5" fmla="*/ 1077816 w 6391548"/>
              <a:gd name="connsiteY5" fmla="*/ 167153 h 6304907"/>
              <a:gd name="connsiteX0" fmla="*/ 1052844 w 6366576"/>
              <a:gd name="connsiteY0" fmla="*/ 167153 h 6304907"/>
              <a:gd name="connsiteX1" fmla="*/ 5859491 w 6366576"/>
              <a:gd name="connsiteY1" fmla="*/ 141494 h 6304907"/>
              <a:gd name="connsiteX2" fmla="*/ 6366576 w 6366576"/>
              <a:gd name="connsiteY2" fmla="*/ 6304907 h 6304907"/>
              <a:gd name="connsiteX3" fmla="*/ 1329591 w 6366576"/>
              <a:gd name="connsiteY3" fmla="*/ 5965822 h 6304907"/>
              <a:gd name="connsiteX4" fmla="*/ 8445 w 6366576"/>
              <a:gd name="connsiteY4" fmla="*/ 2322923 h 6304907"/>
              <a:gd name="connsiteX5" fmla="*/ 1052844 w 6366576"/>
              <a:gd name="connsiteY5" fmla="*/ 167153 h 6304907"/>
              <a:gd name="connsiteX0" fmla="*/ 1052844 w 5859491"/>
              <a:gd name="connsiteY0" fmla="*/ 167153 h 5965822"/>
              <a:gd name="connsiteX1" fmla="*/ 5859491 w 5859491"/>
              <a:gd name="connsiteY1" fmla="*/ 141494 h 5965822"/>
              <a:gd name="connsiteX2" fmla="*/ 5027697 w 5859491"/>
              <a:gd name="connsiteY2" fmla="*/ 4993464 h 5965822"/>
              <a:gd name="connsiteX3" fmla="*/ 1329591 w 5859491"/>
              <a:gd name="connsiteY3" fmla="*/ 5965822 h 5965822"/>
              <a:gd name="connsiteX4" fmla="*/ 8445 w 5859491"/>
              <a:gd name="connsiteY4" fmla="*/ 2322923 h 5965822"/>
              <a:gd name="connsiteX5" fmla="*/ 1052844 w 5859491"/>
              <a:gd name="connsiteY5" fmla="*/ 167153 h 5965822"/>
              <a:gd name="connsiteX0" fmla="*/ 1052844 w 5867242"/>
              <a:gd name="connsiteY0" fmla="*/ 167153 h 5970188"/>
              <a:gd name="connsiteX1" fmla="*/ 5859491 w 5867242"/>
              <a:gd name="connsiteY1" fmla="*/ 141494 h 5970188"/>
              <a:gd name="connsiteX2" fmla="*/ 5867242 w 5867242"/>
              <a:gd name="connsiteY2" fmla="*/ 5970188 h 5970188"/>
              <a:gd name="connsiteX3" fmla="*/ 1329591 w 5867242"/>
              <a:gd name="connsiteY3" fmla="*/ 5965822 h 5970188"/>
              <a:gd name="connsiteX4" fmla="*/ 8445 w 5867242"/>
              <a:gd name="connsiteY4" fmla="*/ 2322923 h 5970188"/>
              <a:gd name="connsiteX5" fmla="*/ 1052844 w 5867242"/>
              <a:gd name="connsiteY5" fmla="*/ 167153 h 5970188"/>
              <a:gd name="connsiteX0" fmla="*/ 1052844 w 5867242"/>
              <a:gd name="connsiteY0" fmla="*/ 25659 h 5828694"/>
              <a:gd name="connsiteX1" fmla="*/ 5859491 w 5867242"/>
              <a:gd name="connsiteY1" fmla="*/ 0 h 5828694"/>
              <a:gd name="connsiteX2" fmla="*/ 5867242 w 5867242"/>
              <a:gd name="connsiteY2" fmla="*/ 5828694 h 5828694"/>
              <a:gd name="connsiteX3" fmla="*/ 1329591 w 5867242"/>
              <a:gd name="connsiteY3" fmla="*/ 5824328 h 5828694"/>
              <a:gd name="connsiteX4" fmla="*/ 8445 w 5867242"/>
              <a:gd name="connsiteY4" fmla="*/ 2181429 h 5828694"/>
              <a:gd name="connsiteX5" fmla="*/ 1052844 w 5867242"/>
              <a:gd name="connsiteY5" fmla="*/ 25659 h 5828694"/>
              <a:gd name="connsiteX0" fmla="*/ 1052844 w 5867242"/>
              <a:gd name="connsiteY0" fmla="*/ 25659 h 5828694"/>
              <a:gd name="connsiteX1" fmla="*/ 5859491 w 5867242"/>
              <a:gd name="connsiteY1" fmla="*/ 0 h 5828694"/>
              <a:gd name="connsiteX2" fmla="*/ 5867242 w 5867242"/>
              <a:gd name="connsiteY2" fmla="*/ 5828694 h 5828694"/>
              <a:gd name="connsiteX3" fmla="*/ 1329591 w 5867242"/>
              <a:gd name="connsiteY3" fmla="*/ 5824328 h 5828694"/>
              <a:gd name="connsiteX4" fmla="*/ 8445 w 5867242"/>
              <a:gd name="connsiteY4" fmla="*/ 2181429 h 5828694"/>
              <a:gd name="connsiteX5" fmla="*/ 1052844 w 5867242"/>
              <a:gd name="connsiteY5" fmla="*/ 25659 h 5828694"/>
              <a:gd name="connsiteX0" fmla="*/ 1110378 w 5924776"/>
              <a:gd name="connsiteY0" fmla="*/ 25659 h 5828694"/>
              <a:gd name="connsiteX1" fmla="*/ 5917025 w 5924776"/>
              <a:gd name="connsiteY1" fmla="*/ 0 h 5828694"/>
              <a:gd name="connsiteX2" fmla="*/ 5924776 w 5924776"/>
              <a:gd name="connsiteY2" fmla="*/ 5828694 h 5828694"/>
              <a:gd name="connsiteX3" fmla="*/ 1387125 w 5924776"/>
              <a:gd name="connsiteY3" fmla="*/ 5824328 h 5828694"/>
              <a:gd name="connsiteX4" fmla="*/ 65979 w 5924776"/>
              <a:gd name="connsiteY4" fmla="*/ 2181429 h 5828694"/>
              <a:gd name="connsiteX5" fmla="*/ 1110378 w 5924776"/>
              <a:gd name="connsiteY5" fmla="*/ 25659 h 5828694"/>
              <a:gd name="connsiteX0" fmla="*/ 1086070 w 5900468"/>
              <a:gd name="connsiteY0" fmla="*/ 25659 h 5828694"/>
              <a:gd name="connsiteX1" fmla="*/ 5892717 w 5900468"/>
              <a:gd name="connsiteY1" fmla="*/ 0 h 5828694"/>
              <a:gd name="connsiteX2" fmla="*/ 5900468 w 5900468"/>
              <a:gd name="connsiteY2" fmla="*/ 5828694 h 5828694"/>
              <a:gd name="connsiteX3" fmla="*/ 1362817 w 5900468"/>
              <a:gd name="connsiteY3" fmla="*/ 5824328 h 5828694"/>
              <a:gd name="connsiteX4" fmla="*/ 69107 w 5900468"/>
              <a:gd name="connsiteY4" fmla="*/ 2351532 h 5828694"/>
              <a:gd name="connsiteX5" fmla="*/ 1086070 w 5900468"/>
              <a:gd name="connsiteY5" fmla="*/ 25659 h 5828694"/>
              <a:gd name="connsiteX0" fmla="*/ 1094837 w 5909235"/>
              <a:gd name="connsiteY0" fmla="*/ 25659 h 5828694"/>
              <a:gd name="connsiteX1" fmla="*/ 5901484 w 5909235"/>
              <a:gd name="connsiteY1" fmla="*/ 0 h 5828694"/>
              <a:gd name="connsiteX2" fmla="*/ 5909235 w 5909235"/>
              <a:gd name="connsiteY2" fmla="*/ 5828694 h 5828694"/>
              <a:gd name="connsiteX3" fmla="*/ 1371584 w 5909235"/>
              <a:gd name="connsiteY3" fmla="*/ 5824328 h 5828694"/>
              <a:gd name="connsiteX4" fmla="*/ 77874 w 5909235"/>
              <a:gd name="connsiteY4" fmla="*/ 2351532 h 5828694"/>
              <a:gd name="connsiteX5" fmla="*/ 1094837 w 5909235"/>
              <a:gd name="connsiteY5" fmla="*/ 25659 h 5828694"/>
              <a:gd name="connsiteX0" fmla="*/ 1070930 w 5885328"/>
              <a:gd name="connsiteY0" fmla="*/ 25659 h 5828694"/>
              <a:gd name="connsiteX1" fmla="*/ 5877577 w 5885328"/>
              <a:gd name="connsiteY1" fmla="*/ 0 h 5828694"/>
              <a:gd name="connsiteX2" fmla="*/ 5885328 w 5885328"/>
              <a:gd name="connsiteY2" fmla="*/ 5828694 h 5828694"/>
              <a:gd name="connsiteX3" fmla="*/ 1347677 w 5885328"/>
              <a:gd name="connsiteY3" fmla="*/ 5824328 h 5828694"/>
              <a:gd name="connsiteX4" fmla="*/ 81403 w 5885328"/>
              <a:gd name="connsiteY4" fmla="*/ 2505174 h 5828694"/>
              <a:gd name="connsiteX5" fmla="*/ 1070930 w 5885328"/>
              <a:gd name="connsiteY5" fmla="*/ 25659 h 5828694"/>
              <a:gd name="connsiteX0" fmla="*/ 1095835 w 5910233"/>
              <a:gd name="connsiteY0" fmla="*/ 25659 h 5828694"/>
              <a:gd name="connsiteX1" fmla="*/ 5902482 w 5910233"/>
              <a:gd name="connsiteY1" fmla="*/ 0 h 5828694"/>
              <a:gd name="connsiteX2" fmla="*/ 5910233 w 5910233"/>
              <a:gd name="connsiteY2" fmla="*/ 5828694 h 5828694"/>
              <a:gd name="connsiteX3" fmla="*/ 1372582 w 5910233"/>
              <a:gd name="connsiteY3" fmla="*/ 5824328 h 5828694"/>
              <a:gd name="connsiteX4" fmla="*/ 106308 w 5910233"/>
              <a:gd name="connsiteY4" fmla="*/ 2505174 h 5828694"/>
              <a:gd name="connsiteX5" fmla="*/ 1095835 w 5910233"/>
              <a:gd name="connsiteY5" fmla="*/ 25659 h 5828694"/>
              <a:gd name="connsiteX0" fmla="*/ 1025203 w 5812165"/>
              <a:gd name="connsiteY0" fmla="*/ 0 h 5830471"/>
              <a:gd name="connsiteX1" fmla="*/ 5804414 w 5812165"/>
              <a:gd name="connsiteY1" fmla="*/ 1777 h 5830471"/>
              <a:gd name="connsiteX2" fmla="*/ 5812165 w 5812165"/>
              <a:gd name="connsiteY2" fmla="*/ 5830471 h 5830471"/>
              <a:gd name="connsiteX3" fmla="*/ 1274514 w 5812165"/>
              <a:gd name="connsiteY3" fmla="*/ 5826105 h 5830471"/>
              <a:gd name="connsiteX4" fmla="*/ 8240 w 5812165"/>
              <a:gd name="connsiteY4" fmla="*/ 2506951 h 5830471"/>
              <a:gd name="connsiteX5" fmla="*/ 1025203 w 5812165"/>
              <a:gd name="connsiteY5" fmla="*/ 0 h 5830471"/>
              <a:gd name="connsiteX0" fmla="*/ 1043591 w 5830553"/>
              <a:gd name="connsiteY0" fmla="*/ 0 h 5830471"/>
              <a:gd name="connsiteX1" fmla="*/ 5822802 w 5830553"/>
              <a:gd name="connsiteY1" fmla="*/ 1777 h 5830471"/>
              <a:gd name="connsiteX2" fmla="*/ 5830553 w 5830553"/>
              <a:gd name="connsiteY2" fmla="*/ 5830471 h 5830471"/>
              <a:gd name="connsiteX3" fmla="*/ 1292902 w 5830553"/>
              <a:gd name="connsiteY3" fmla="*/ 5826105 h 5830471"/>
              <a:gd name="connsiteX4" fmla="*/ 26628 w 5830553"/>
              <a:gd name="connsiteY4" fmla="*/ 2506951 h 5830471"/>
              <a:gd name="connsiteX5" fmla="*/ 1043591 w 5830553"/>
              <a:gd name="connsiteY5" fmla="*/ 0 h 5830471"/>
              <a:gd name="connsiteX0" fmla="*/ 1104951 w 5891913"/>
              <a:gd name="connsiteY0" fmla="*/ 0 h 5830471"/>
              <a:gd name="connsiteX1" fmla="*/ 5884162 w 5891913"/>
              <a:gd name="connsiteY1" fmla="*/ 1777 h 5830471"/>
              <a:gd name="connsiteX2" fmla="*/ 5891913 w 5891913"/>
              <a:gd name="connsiteY2" fmla="*/ 5830471 h 5830471"/>
              <a:gd name="connsiteX3" fmla="*/ 1354262 w 5891913"/>
              <a:gd name="connsiteY3" fmla="*/ 5826105 h 5830471"/>
              <a:gd name="connsiteX4" fmla="*/ 87988 w 5891913"/>
              <a:gd name="connsiteY4" fmla="*/ 2506951 h 5830471"/>
              <a:gd name="connsiteX5" fmla="*/ 1104951 w 5891913"/>
              <a:gd name="connsiteY5" fmla="*/ 0 h 5830471"/>
              <a:gd name="connsiteX0" fmla="*/ 795815 w 5582777"/>
              <a:gd name="connsiteY0" fmla="*/ 0 h 5830471"/>
              <a:gd name="connsiteX1" fmla="*/ 5575026 w 5582777"/>
              <a:gd name="connsiteY1" fmla="*/ 1777 h 5830471"/>
              <a:gd name="connsiteX2" fmla="*/ 5582777 w 5582777"/>
              <a:gd name="connsiteY2" fmla="*/ 5830471 h 5830471"/>
              <a:gd name="connsiteX3" fmla="*/ 1045126 w 5582777"/>
              <a:gd name="connsiteY3" fmla="*/ 5826105 h 5830471"/>
              <a:gd name="connsiteX4" fmla="*/ 239778 w 5582777"/>
              <a:gd name="connsiteY4" fmla="*/ 2726439 h 5830471"/>
              <a:gd name="connsiteX5" fmla="*/ 795815 w 5582777"/>
              <a:gd name="connsiteY5" fmla="*/ 0 h 5830471"/>
              <a:gd name="connsiteX0" fmla="*/ 823831 w 5610793"/>
              <a:gd name="connsiteY0" fmla="*/ 0 h 5830471"/>
              <a:gd name="connsiteX1" fmla="*/ 5603042 w 5610793"/>
              <a:gd name="connsiteY1" fmla="*/ 1777 h 5830471"/>
              <a:gd name="connsiteX2" fmla="*/ 5610793 w 5610793"/>
              <a:gd name="connsiteY2" fmla="*/ 5830471 h 5830471"/>
              <a:gd name="connsiteX3" fmla="*/ 1073142 w 5610793"/>
              <a:gd name="connsiteY3" fmla="*/ 5826105 h 5830471"/>
              <a:gd name="connsiteX4" fmla="*/ 267794 w 5610793"/>
              <a:gd name="connsiteY4" fmla="*/ 2726439 h 5830471"/>
              <a:gd name="connsiteX5" fmla="*/ 823831 w 5610793"/>
              <a:gd name="connsiteY5" fmla="*/ 0 h 5830471"/>
              <a:gd name="connsiteX0" fmla="*/ 1067622 w 5854584"/>
              <a:gd name="connsiteY0" fmla="*/ 0 h 5830471"/>
              <a:gd name="connsiteX1" fmla="*/ 5846833 w 5854584"/>
              <a:gd name="connsiteY1" fmla="*/ 1777 h 5830471"/>
              <a:gd name="connsiteX2" fmla="*/ 5854584 w 5854584"/>
              <a:gd name="connsiteY2" fmla="*/ 5830471 h 5830471"/>
              <a:gd name="connsiteX3" fmla="*/ 1316933 w 5854584"/>
              <a:gd name="connsiteY3" fmla="*/ 5826105 h 5830471"/>
              <a:gd name="connsiteX4" fmla="*/ 138455 w 5854584"/>
              <a:gd name="connsiteY4" fmla="*/ 2726439 h 5830471"/>
              <a:gd name="connsiteX5" fmla="*/ 1067622 w 5854584"/>
              <a:gd name="connsiteY5" fmla="*/ 0 h 5830471"/>
              <a:gd name="connsiteX0" fmla="*/ 1118785 w 5905747"/>
              <a:gd name="connsiteY0" fmla="*/ 0 h 5830471"/>
              <a:gd name="connsiteX1" fmla="*/ 5897996 w 5905747"/>
              <a:gd name="connsiteY1" fmla="*/ 1777 h 5830471"/>
              <a:gd name="connsiteX2" fmla="*/ 5905747 w 5905747"/>
              <a:gd name="connsiteY2" fmla="*/ 5830471 h 5830471"/>
              <a:gd name="connsiteX3" fmla="*/ 1368096 w 5905747"/>
              <a:gd name="connsiteY3" fmla="*/ 5826105 h 5830471"/>
              <a:gd name="connsiteX4" fmla="*/ 189618 w 5905747"/>
              <a:gd name="connsiteY4" fmla="*/ 2726439 h 5830471"/>
              <a:gd name="connsiteX5" fmla="*/ 1118785 w 5905747"/>
              <a:gd name="connsiteY5" fmla="*/ 0 h 5830471"/>
              <a:gd name="connsiteX0" fmla="*/ 1110524 w 5897486"/>
              <a:gd name="connsiteY0" fmla="*/ 0 h 5830471"/>
              <a:gd name="connsiteX1" fmla="*/ 5889735 w 5897486"/>
              <a:gd name="connsiteY1" fmla="*/ 1777 h 5830471"/>
              <a:gd name="connsiteX2" fmla="*/ 5897486 w 5897486"/>
              <a:gd name="connsiteY2" fmla="*/ 5830471 h 5830471"/>
              <a:gd name="connsiteX3" fmla="*/ 1359835 w 5897486"/>
              <a:gd name="connsiteY3" fmla="*/ 5826105 h 5830471"/>
              <a:gd name="connsiteX4" fmla="*/ 192332 w 5897486"/>
              <a:gd name="connsiteY4" fmla="*/ 2847158 h 5830471"/>
              <a:gd name="connsiteX5" fmla="*/ 1110524 w 5897486"/>
              <a:gd name="connsiteY5" fmla="*/ 0 h 5830471"/>
              <a:gd name="connsiteX0" fmla="*/ 1058315 w 5845277"/>
              <a:gd name="connsiteY0" fmla="*/ 0 h 5830471"/>
              <a:gd name="connsiteX1" fmla="*/ 5837526 w 5845277"/>
              <a:gd name="connsiteY1" fmla="*/ 1777 h 5830471"/>
              <a:gd name="connsiteX2" fmla="*/ 5845277 w 5845277"/>
              <a:gd name="connsiteY2" fmla="*/ 5830471 h 5830471"/>
              <a:gd name="connsiteX3" fmla="*/ 1307626 w 5845277"/>
              <a:gd name="connsiteY3" fmla="*/ 5826105 h 5830471"/>
              <a:gd name="connsiteX4" fmla="*/ 140123 w 5845277"/>
              <a:gd name="connsiteY4" fmla="*/ 2847158 h 5830471"/>
              <a:gd name="connsiteX5" fmla="*/ 1058315 w 5845277"/>
              <a:gd name="connsiteY5" fmla="*/ 0 h 5830471"/>
              <a:gd name="connsiteX0" fmla="*/ 1111706 w 5898668"/>
              <a:gd name="connsiteY0" fmla="*/ 0 h 5830471"/>
              <a:gd name="connsiteX1" fmla="*/ 5890917 w 5898668"/>
              <a:gd name="connsiteY1" fmla="*/ 1777 h 5830471"/>
              <a:gd name="connsiteX2" fmla="*/ 5898668 w 5898668"/>
              <a:gd name="connsiteY2" fmla="*/ 5830471 h 5830471"/>
              <a:gd name="connsiteX3" fmla="*/ 1361017 w 5898668"/>
              <a:gd name="connsiteY3" fmla="*/ 5826105 h 5830471"/>
              <a:gd name="connsiteX4" fmla="*/ 193514 w 5898668"/>
              <a:gd name="connsiteY4" fmla="*/ 2847158 h 5830471"/>
              <a:gd name="connsiteX5" fmla="*/ 1111706 w 5898668"/>
              <a:gd name="connsiteY5" fmla="*/ 0 h 5830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8668" h="5830471">
                <a:moveTo>
                  <a:pt x="1111706" y="0"/>
                </a:moveTo>
                <a:lnTo>
                  <a:pt x="5890917" y="1777"/>
                </a:lnTo>
                <a:cubicBezTo>
                  <a:pt x="5893501" y="1944675"/>
                  <a:pt x="5896084" y="3887573"/>
                  <a:pt x="5898668" y="5830471"/>
                </a:cubicBezTo>
                <a:lnTo>
                  <a:pt x="1361017" y="5826105"/>
                </a:lnTo>
                <a:cubicBezTo>
                  <a:pt x="884165" y="4616134"/>
                  <a:pt x="564298" y="3889508"/>
                  <a:pt x="193514" y="2847158"/>
                </a:cubicBezTo>
                <a:cubicBezTo>
                  <a:pt x="-177270" y="1804808"/>
                  <a:pt x="-88443" y="544650"/>
                  <a:pt x="1111706" y="0"/>
                </a:cubicBezTo>
                <a:close/>
              </a:path>
            </a:pathLst>
          </a:custGeom>
          <a:solidFill>
            <a:schemeClr val="accent5"/>
          </a:solidFill>
        </p:spPr>
        <p:txBody>
          <a:bodyPr lIns="720000" tIns="1332000" rIns="720000"/>
          <a:lstStyle>
            <a:lvl1pPr marL="0" indent="0" algn="ctr" rtl="0" fontAlgn="base">
              <a:lnSpc>
                <a:spcPct val="90000"/>
              </a:lnSpc>
              <a:spcBef>
                <a:spcPts val="1000"/>
              </a:spcBef>
              <a:spcAft>
                <a:spcPct val="0"/>
              </a:spcAft>
              <a:buFontTx/>
              <a:buNone/>
              <a:defRPr sz="1200" b="0" i="0" kern="1200">
                <a:solidFill>
                  <a:schemeClr val="tx2"/>
                </a:solidFill>
                <a:latin typeface="Schibsted Grotesk Bold" pitchFamily="2" charset="77"/>
                <a:ea typeface="Schibsted Grotesk Bold" pitchFamily="2" charset="77"/>
                <a:cs typeface="Schibsted Grotesk Bold" pitchFamily="2" charset="77"/>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bg1"/>
                </a:solidFill>
                <a:latin typeface="+mn-lt"/>
                <a:ea typeface="Schibsted Grotesk Bold" pitchFamily="2" charset="77"/>
                <a:cs typeface="Schibsted Grotesk Bold" pitchFamily="2" charset="77"/>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bg1"/>
                </a:solidFill>
                <a:latin typeface="+mn-lt"/>
                <a:ea typeface="Schibsted Grotesk Bold" pitchFamily="2" charset="77"/>
                <a:cs typeface="Schibsted Grotesk Bold" pitchFamily="2" charset="77"/>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bg1"/>
                </a:solidFill>
                <a:latin typeface="+mn-lt"/>
                <a:ea typeface="Schibsted Grotesk Bold" pitchFamily="2" charset="77"/>
                <a:cs typeface="Schibsted Grotesk Bold" pitchFamily="2" charset="77"/>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bg1"/>
                </a:solidFill>
                <a:latin typeface="+mn-lt"/>
                <a:ea typeface="Schibsted Grotesk Bold" pitchFamily="2" charset="77"/>
                <a:cs typeface="Schibsted Grotesk Bold"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1000"/>
              </a:spcBef>
              <a:spcAft>
                <a:spcPct val="0"/>
              </a:spcAft>
              <a:buClrTx/>
              <a:buSzTx/>
              <a:buFontTx/>
              <a:buNone/>
              <a:tabLst/>
              <a:defRPr/>
            </a:pPr>
            <a:endParaRPr kumimoji="0" lang="en-US" sz="1200" b="0" i="0" u="none" strike="noStrike" kern="1200" cap="none" spc="0" normalizeH="0" baseline="0" noProof="0">
              <a:ln>
                <a:noFill/>
              </a:ln>
              <a:solidFill>
                <a:srgbClr val="FFD900"/>
              </a:solidFill>
              <a:effectLst/>
              <a:uLnTx/>
              <a:uFillTx/>
              <a:latin typeface="Schibsted Grotesk Bold" pitchFamily="2" charset="77"/>
              <a:cs typeface="Schibsted Grotesk Bold" pitchFamily="2" charset="77"/>
            </a:endParaRPr>
          </a:p>
        </p:txBody>
      </p:sp>
      <p:sp>
        <p:nvSpPr>
          <p:cNvPr id="8" name="Title 1"/>
          <p:cNvSpPr>
            <a:spLocks noGrp="1"/>
          </p:cNvSpPr>
          <p:nvPr>
            <p:ph type="ctrTitle"/>
          </p:nvPr>
        </p:nvSpPr>
        <p:spPr>
          <a:xfrm>
            <a:off x="426379" y="1916920"/>
            <a:ext cx="5349765" cy="1603933"/>
          </a:xfrm>
          <a:prstGeom prst="rect">
            <a:avLst/>
          </a:prstGeom>
        </p:spPr>
        <p:txBody>
          <a:bodyPr anchor="b"/>
          <a:lstStyle>
            <a:lvl1pPr algn="l">
              <a:defRPr sz="4000" b="0" i="0">
                <a:solidFill>
                  <a:schemeClr val="tx2"/>
                </a:solidFill>
                <a:latin typeface="+mj-lt"/>
              </a:defRPr>
            </a:lvl1pPr>
          </a:lstStyle>
          <a:p>
            <a:r>
              <a:rPr lang="en-US"/>
              <a:t>Click to edit Master title style</a:t>
            </a:r>
          </a:p>
        </p:txBody>
      </p:sp>
      <p:sp>
        <p:nvSpPr>
          <p:cNvPr id="9" name="Subtitle 2"/>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tx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3" name="Picture 8">
            <a:extLst>
              <a:ext uri="{FF2B5EF4-FFF2-40B4-BE49-F238E27FC236}">
                <a16:creationId xmlns:a16="http://schemas.microsoft.com/office/drawing/2014/main" id="{B166D0B9-16C3-6C22-A4EC-50773D29256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9075" y="206375"/>
            <a:ext cx="25019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4676116"/>
      </p:ext>
    </p:extLst>
  </p:cSld>
  <p:clrMapOvr>
    <a:overrideClrMapping bg1="lt1" tx1="dk1" bg2="lt2" tx2="dk2" accent1="accent1" accent2="accent2" accent3="accent3" accent4="accent4" accent5="accent5" accent6="accent6" hlink="hlink" folHlink="folHlink"/>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ver 5">
    <p:bg>
      <p:bgPr>
        <a:solidFill>
          <a:schemeClr val="bg2"/>
        </a:solidFill>
        <a:effectLst/>
      </p:bgPr>
    </p:bg>
    <p:spTree>
      <p:nvGrpSpPr>
        <p:cNvPr id="1" name=""/>
        <p:cNvGrpSpPr/>
        <p:nvPr/>
      </p:nvGrpSpPr>
      <p:grpSpPr>
        <a:xfrm>
          <a:off x="0" y="0"/>
          <a:ext cx="0" cy="0"/>
          <a:chOff x="0" y="0"/>
          <a:chExt cx="0" cy="0"/>
        </a:xfrm>
      </p:grpSpPr>
      <p:sp>
        <p:nvSpPr>
          <p:cNvPr id="2" name="Rectangle 8">
            <a:extLst>
              <a:ext uri="{FF2B5EF4-FFF2-40B4-BE49-F238E27FC236}">
                <a16:creationId xmlns:a16="http://schemas.microsoft.com/office/drawing/2014/main" id="{B9684A0D-153D-90FA-67FC-641B158914AC}"/>
              </a:ext>
            </a:extLst>
          </p:cNvPr>
          <p:cNvSpPr/>
          <p:nvPr userDrawn="1"/>
        </p:nvSpPr>
        <p:spPr>
          <a:xfrm rot="10800000">
            <a:off x="4332287" y="1393825"/>
            <a:ext cx="7859713" cy="5464175"/>
          </a:xfrm>
          <a:custGeom>
            <a:avLst/>
            <a:gdLst>
              <a:gd name="connsiteX0" fmla="*/ 0 w 7852229"/>
              <a:gd name="connsiteY0" fmla="*/ 0 h 5464629"/>
              <a:gd name="connsiteX1" fmla="*/ 7852229 w 7852229"/>
              <a:gd name="connsiteY1" fmla="*/ 0 h 5464629"/>
              <a:gd name="connsiteX2" fmla="*/ 7852229 w 7852229"/>
              <a:gd name="connsiteY2" fmla="*/ 5464629 h 5464629"/>
              <a:gd name="connsiteX3" fmla="*/ 0 w 7852229"/>
              <a:gd name="connsiteY3" fmla="*/ 5464629 h 5464629"/>
              <a:gd name="connsiteX4" fmla="*/ 0 w 7852229"/>
              <a:gd name="connsiteY4" fmla="*/ 0 h 5464629"/>
              <a:gd name="connsiteX0" fmla="*/ 0 w 7852229"/>
              <a:gd name="connsiteY0" fmla="*/ 0 h 5464629"/>
              <a:gd name="connsiteX1" fmla="*/ 7852229 w 7852229"/>
              <a:gd name="connsiteY1" fmla="*/ 0 h 5464629"/>
              <a:gd name="connsiteX2" fmla="*/ 7844971 w 7852229"/>
              <a:gd name="connsiteY2" fmla="*/ 4034971 h 5464629"/>
              <a:gd name="connsiteX3" fmla="*/ 7852229 w 7852229"/>
              <a:gd name="connsiteY3" fmla="*/ 5464629 h 5464629"/>
              <a:gd name="connsiteX4" fmla="*/ 0 w 7852229"/>
              <a:gd name="connsiteY4" fmla="*/ 5464629 h 5464629"/>
              <a:gd name="connsiteX5" fmla="*/ 0 w 7852229"/>
              <a:gd name="connsiteY5" fmla="*/ 0 h 5464629"/>
              <a:gd name="connsiteX0" fmla="*/ 0 w 7852229"/>
              <a:gd name="connsiteY0" fmla="*/ 0 h 5471886"/>
              <a:gd name="connsiteX1" fmla="*/ 7852229 w 7852229"/>
              <a:gd name="connsiteY1" fmla="*/ 0 h 5471886"/>
              <a:gd name="connsiteX2" fmla="*/ 7844971 w 7852229"/>
              <a:gd name="connsiteY2" fmla="*/ 4034971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28458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93658"/>
              <a:gd name="connsiteX1" fmla="*/ 7859486 w 7859486"/>
              <a:gd name="connsiteY1" fmla="*/ 0 h 5493658"/>
              <a:gd name="connsiteX2" fmla="*/ 6320970 w 7859486"/>
              <a:gd name="connsiteY2" fmla="*/ 4049485 h 5493658"/>
              <a:gd name="connsiteX3" fmla="*/ 4535715 w 7859486"/>
              <a:gd name="connsiteY3" fmla="*/ 5464629 h 5493658"/>
              <a:gd name="connsiteX4" fmla="*/ 1632857 w 7859486"/>
              <a:gd name="connsiteY4" fmla="*/ 5493658 h 5493658"/>
              <a:gd name="connsiteX5" fmla="*/ 0 w 7859486"/>
              <a:gd name="connsiteY5" fmla="*/ 4782458 h 5493658"/>
              <a:gd name="connsiteX6" fmla="*/ 7257 w 7859486"/>
              <a:gd name="connsiteY6" fmla="*/ 0 h 5493658"/>
              <a:gd name="connsiteX0" fmla="*/ 7257 w 7859486"/>
              <a:gd name="connsiteY0" fmla="*/ 0 h 5464629"/>
              <a:gd name="connsiteX1" fmla="*/ 7859486 w 7859486"/>
              <a:gd name="connsiteY1" fmla="*/ 0 h 5464629"/>
              <a:gd name="connsiteX2" fmla="*/ 6320970 w 7859486"/>
              <a:gd name="connsiteY2" fmla="*/ 4049485 h 5464629"/>
              <a:gd name="connsiteX3" fmla="*/ 4535715 w 7859486"/>
              <a:gd name="connsiteY3" fmla="*/ 5464629 h 5464629"/>
              <a:gd name="connsiteX4" fmla="*/ 1516743 w 7859486"/>
              <a:gd name="connsiteY4" fmla="*/ 5457372 h 5464629"/>
              <a:gd name="connsiteX5" fmla="*/ 0 w 7859486"/>
              <a:gd name="connsiteY5" fmla="*/ 4782458 h 5464629"/>
              <a:gd name="connsiteX6" fmla="*/ 7257 w 7859486"/>
              <a:gd name="connsiteY6" fmla="*/ 0 h 546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59486" h="5464629">
                <a:moveTo>
                  <a:pt x="7257" y="0"/>
                </a:moveTo>
                <a:lnTo>
                  <a:pt x="7859486" y="0"/>
                </a:lnTo>
                <a:cubicBezTo>
                  <a:pt x="7320039" y="1446589"/>
                  <a:pt x="6816875" y="2733524"/>
                  <a:pt x="6320970" y="4049485"/>
                </a:cubicBezTo>
                <a:cubicBezTo>
                  <a:pt x="6033104" y="4765524"/>
                  <a:pt x="5396896" y="5445276"/>
                  <a:pt x="4535715" y="5464629"/>
                </a:cubicBezTo>
                <a:lnTo>
                  <a:pt x="1516743" y="5457372"/>
                </a:lnTo>
                <a:cubicBezTo>
                  <a:pt x="984552" y="5452534"/>
                  <a:pt x="488647" y="5346095"/>
                  <a:pt x="0" y="4782458"/>
                </a:cubicBezTo>
                <a:lnTo>
                  <a:pt x="7257" y="0"/>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chibsted Grotesk Bold" pitchFamily="2" charset="77"/>
              <a:ea typeface="+mn-ea"/>
              <a:cs typeface="+mn-cs"/>
            </a:endParaRPr>
          </a:p>
        </p:txBody>
      </p:sp>
      <p:sp>
        <p:nvSpPr>
          <p:cNvPr id="3" name="Rectangle 8">
            <a:extLst>
              <a:ext uri="{FF2B5EF4-FFF2-40B4-BE49-F238E27FC236}">
                <a16:creationId xmlns:a16="http://schemas.microsoft.com/office/drawing/2014/main" id="{F9A97BBF-9399-153F-484A-01203F6DAD42}"/>
              </a:ext>
            </a:extLst>
          </p:cNvPr>
          <p:cNvSpPr/>
          <p:nvPr userDrawn="1"/>
        </p:nvSpPr>
        <p:spPr>
          <a:xfrm>
            <a:off x="-7938" y="0"/>
            <a:ext cx="7859713" cy="5464175"/>
          </a:xfrm>
          <a:custGeom>
            <a:avLst/>
            <a:gdLst>
              <a:gd name="connsiteX0" fmla="*/ 0 w 7852229"/>
              <a:gd name="connsiteY0" fmla="*/ 0 h 5464629"/>
              <a:gd name="connsiteX1" fmla="*/ 7852229 w 7852229"/>
              <a:gd name="connsiteY1" fmla="*/ 0 h 5464629"/>
              <a:gd name="connsiteX2" fmla="*/ 7852229 w 7852229"/>
              <a:gd name="connsiteY2" fmla="*/ 5464629 h 5464629"/>
              <a:gd name="connsiteX3" fmla="*/ 0 w 7852229"/>
              <a:gd name="connsiteY3" fmla="*/ 5464629 h 5464629"/>
              <a:gd name="connsiteX4" fmla="*/ 0 w 7852229"/>
              <a:gd name="connsiteY4" fmla="*/ 0 h 5464629"/>
              <a:gd name="connsiteX0" fmla="*/ 0 w 7852229"/>
              <a:gd name="connsiteY0" fmla="*/ 0 h 5464629"/>
              <a:gd name="connsiteX1" fmla="*/ 7852229 w 7852229"/>
              <a:gd name="connsiteY1" fmla="*/ 0 h 5464629"/>
              <a:gd name="connsiteX2" fmla="*/ 7844971 w 7852229"/>
              <a:gd name="connsiteY2" fmla="*/ 4034971 h 5464629"/>
              <a:gd name="connsiteX3" fmla="*/ 7852229 w 7852229"/>
              <a:gd name="connsiteY3" fmla="*/ 5464629 h 5464629"/>
              <a:gd name="connsiteX4" fmla="*/ 0 w 7852229"/>
              <a:gd name="connsiteY4" fmla="*/ 5464629 h 5464629"/>
              <a:gd name="connsiteX5" fmla="*/ 0 w 7852229"/>
              <a:gd name="connsiteY5" fmla="*/ 0 h 5464629"/>
              <a:gd name="connsiteX0" fmla="*/ 0 w 7852229"/>
              <a:gd name="connsiteY0" fmla="*/ 0 h 5471886"/>
              <a:gd name="connsiteX1" fmla="*/ 7852229 w 7852229"/>
              <a:gd name="connsiteY1" fmla="*/ 0 h 5471886"/>
              <a:gd name="connsiteX2" fmla="*/ 7844971 w 7852229"/>
              <a:gd name="connsiteY2" fmla="*/ 4034971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28458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93658"/>
              <a:gd name="connsiteX1" fmla="*/ 7859486 w 7859486"/>
              <a:gd name="connsiteY1" fmla="*/ 0 h 5493658"/>
              <a:gd name="connsiteX2" fmla="*/ 6320970 w 7859486"/>
              <a:gd name="connsiteY2" fmla="*/ 4049485 h 5493658"/>
              <a:gd name="connsiteX3" fmla="*/ 4535715 w 7859486"/>
              <a:gd name="connsiteY3" fmla="*/ 5464629 h 5493658"/>
              <a:gd name="connsiteX4" fmla="*/ 1632857 w 7859486"/>
              <a:gd name="connsiteY4" fmla="*/ 5493658 h 5493658"/>
              <a:gd name="connsiteX5" fmla="*/ 0 w 7859486"/>
              <a:gd name="connsiteY5" fmla="*/ 4782458 h 5493658"/>
              <a:gd name="connsiteX6" fmla="*/ 7257 w 7859486"/>
              <a:gd name="connsiteY6" fmla="*/ 0 h 5493658"/>
              <a:gd name="connsiteX0" fmla="*/ 7257 w 7859486"/>
              <a:gd name="connsiteY0" fmla="*/ 0 h 5464629"/>
              <a:gd name="connsiteX1" fmla="*/ 7859486 w 7859486"/>
              <a:gd name="connsiteY1" fmla="*/ 0 h 5464629"/>
              <a:gd name="connsiteX2" fmla="*/ 6320970 w 7859486"/>
              <a:gd name="connsiteY2" fmla="*/ 4049485 h 5464629"/>
              <a:gd name="connsiteX3" fmla="*/ 4535715 w 7859486"/>
              <a:gd name="connsiteY3" fmla="*/ 5464629 h 5464629"/>
              <a:gd name="connsiteX4" fmla="*/ 1516743 w 7859486"/>
              <a:gd name="connsiteY4" fmla="*/ 5457372 h 5464629"/>
              <a:gd name="connsiteX5" fmla="*/ 0 w 7859486"/>
              <a:gd name="connsiteY5" fmla="*/ 4782458 h 5464629"/>
              <a:gd name="connsiteX6" fmla="*/ 7257 w 7859486"/>
              <a:gd name="connsiteY6" fmla="*/ 0 h 546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59486" h="5464629">
                <a:moveTo>
                  <a:pt x="7257" y="0"/>
                </a:moveTo>
                <a:lnTo>
                  <a:pt x="7859486" y="0"/>
                </a:lnTo>
                <a:cubicBezTo>
                  <a:pt x="7320039" y="1446589"/>
                  <a:pt x="6816875" y="2733524"/>
                  <a:pt x="6320970" y="4049485"/>
                </a:cubicBezTo>
                <a:cubicBezTo>
                  <a:pt x="6033104" y="4765524"/>
                  <a:pt x="5396896" y="5445276"/>
                  <a:pt x="4535715" y="5464629"/>
                </a:cubicBezTo>
                <a:lnTo>
                  <a:pt x="1516743" y="5457372"/>
                </a:lnTo>
                <a:cubicBezTo>
                  <a:pt x="984552" y="5452534"/>
                  <a:pt x="488647" y="5346095"/>
                  <a:pt x="0" y="4782458"/>
                </a:cubicBezTo>
                <a:lnTo>
                  <a:pt x="7257" y="0"/>
                </a:ln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chibsted Grotesk Bold" pitchFamily="2" charset="77"/>
              <a:ea typeface="+mn-ea"/>
              <a:cs typeface="+mn-cs"/>
            </a:endParaRPr>
          </a:p>
        </p:txBody>
      </p:sp>
      <p:pic>
        <p:nvPicPr>
          <p:cNvPr id="4" name="Picture 8">
            <a:extLst>
              <a:ext uri="{FF2B5EF4-FFF2-40B4-BE49-F238E27FC236}">
                <a16:creationId xmlns:a16="http://schemas.microsoft.com/office/drawing/2014/main" id="{7F290938-493D-6D20-7E5B-E1C92D07623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9075" y="206375"/>
            <a:ext cx="25019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a:extLst>
              <a:ext uri="{FF2B5EF4-FFF2-40B4-BE49-F238E27FC236}">
                <a16:creationId xmlns:a16="http://schemas.microsoft.com/office/drawing/2014/main" id="{BA7DFF01-12F2-FCD5-AE18-6450A1F70231}"/>
              </a:ext>
            </a:extLst>
          </p:cNvPr>
          <p:cNvSpPr>
            <a:spLocks noGrp="1"/>
          </p:cNvSpPr>
          <p:nvPr>
            <p:ph type="ctrTitle"/>
          </p:nvPr>
        </p:nvSpPr>
        <p:spPr>
          <a:xfrm>
            <a:off x="426379" y="1916920"/>
            <a:ext cx="5349765" cy="1603933"/>
          </a:xfrm>
          <a:prstGeom prst="rect">
            <a:avLst/>
          </a:prstGeom>
        </p:spPr>
        <p:txBody>
          <a:bodyPr anchor="b"/>
          <a:lstStyle>
            <a:lvl1pPr algn="l">
              <a:defRPr sz="4000" b="0" i="0">
                <a:solidFill>
                  <a:schemeClr val="tx2"/>
                </a:solidFill>
                <a:latin typeface="+mj-lt"/>
              </a:defRPr>
            </a:lvl1pPr>
          </a:lstStyle>
          <a:p>
            <a:r>
              <a:rPr lang="en-US"/>
              <a:t>Click to edit Master title style</a:t>
            </a:r>
          </a:p>
        </p:txBody>
      </p:sp>
      <p:sp>
        <p:nvSpPr>
          <p:cNvPr id="7" name="Subtitle 2">
            <a:extLst>
              <a:ext uri="{FF2B5EF4-FFF2-40B4-BE49-F238E27FC236}">
                <a16:creationId xmlns:a16="http://schemas.microsoft.com/office/drawing/2014/main" id="{5BE17CB9-DBB8-782B-FF7B-7A7F167A2429}"/>
              </a:ext>
            </a:extLst>
          </p:cNvPr>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tx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1212151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ver 6">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6379" y="1600228"/>
            <a:ext cx="5173717" cy="1363462"/>
          </a:xfrm>
        </p:spPr>
        <p:txBody>
          <a:bodyPr/>
          <a:lstStyle>
            <a:lvl1pPr>
              <a:defRPr>
                <a:solidFill>
                  <a:schemeClr val="tx2"/>
                </a:solidFill>
              </a:defRPr>
            </a:lvl1pPr>
          </a:lstStyle>
          <a:p>
            <a:r>
              <a:rPr lang="en-US"/>
              <a:t>Click to edit Master title style</a:t>
            </a:r>
          </a:p>
        </p:txBody>
      </p:sp>
      <p:sp>
        <p:nvSpPr>
          <p:cNvPr id="6" name="Rectangle 4">
            <a:extLst>
              <a:ext uri="{FF2B5EF4-FFF2-40B4-BE49-F238E27FC236}">
                <a16:creationId xmlns:a16="http://schemas.microsoft.com/office/drawing/2014/main" id="{9E68E71F-6D00-D379-4653-CFBC2E30BB86}"/>
              </a:ext>
            </a:extLst>
          </p:cNvPr>
          <p:cNvSpPr/>
          <p:nvPr userDrawn="1"/>
        </p:nvSpPr>
        <p:spPr>
          <a:xfrm rot="10800000">
            <a:off x="9607550" y="5930900"/>
            <a:ext cx="2584450" cy="927100"/>
          </a:xfrm>
          <a:custGeom>
            <a:avLst/>
            <a:gdLst>
              <a:gd name="connsiteX0" fmla="*/ 0 w 2578101"/>
              <a:gd name="connsiteY0" fmla="*/ 0 h 1130300"/>
              <a:gd name="connsiteX1" fmla="*/ 2578101 w 2578101"/>
              <a:gd name="connsiteY1" fmla="*/ 0 h 1130300"/>
              <a:gd name="connsiteX2" fmla="*/ 2578101 w 2578101"/>
              <a:gd name="connsiteY2" fmla="*/ 1130300 h 1130300"/>
              <a:gd name="connsiteX3" fmla="*/ 0 w 2578101"/>
              <a:gd name="connsiteY3" fmla="*/ 1130300 h 1130300"/>
              <a:gd name="connsiteX4" fmla="*/ 0 w 2578101"/>
              <a:gd name="connsiteY4" fmla="*/ 0 h 1130300"/>
              <a:gd name="connsiteX0" fmla="*/ 0 w 2578101"/>
              <a:gd name="connsiteY0" fmla="*/ 1739900 h 2870200"/>
              <a:gd name="connsiteX1" fmla="*/ 2578101 w 2578101"/>
              <a:gd name="connsiteY1" fmla="*/ 1739900 h 2870200"/>
              <a:gd name="connsiteX2" fmla="*/ 1123951 w 2578101"/>
              <a:gd name="connsiteY2" fmla="*/ 0 h 2870200"/>
              <a:gd name="connsiteX3" fmla="*/ 0 w 2578101"/>
              <a:gd name="connsiteY3" fmla="*/ 2870200 h 2870200"/>
              <a:gd name="connsiteX4" fmla="*/ 0 w 2578101"/>
              <a:gd name="connsiteY4" fmla="*/ 1739900 h 2870200"/>
              <a:gd name="connsiteX0" fmla="*/ 0 w 2578101"/>
              <a:gd name="connsiteY0" fmla="*/ 0 h 1130300"/>
              <a:gd name="connsiteX1" fmla="*/ 2578101 w 2578101"/>
              <a:gd name="connsiteY1" fmla="*/ 0 h 1130300"/>
              <a:gd name="connsiteX2" fmla="*/ 1663701 w 2578101"/>
              <a:gd name="connsiteY2" fmla="*/ 914400 h 1130300"/>
              <a:gd name="connsiteX3" fmla="*/ 0 w 2578101"/>
              <a:gd name="connsiteY3" fmla="*/ 1130300 h 1130300"/>
              <a:gd name="connsiteX4" fmla="*/ 0 w 2578101"/>
              <a:gd name="connsiteY4" fmla="*/ 0 h 1130300"/>
              <a:gd name="connsiteX0" fmla="*/ 0 w 2578101"/>
              <a:gd name="connsiteY0" fmla="*/ 0 h 914400"/>
              <a:gd name="connsiteX1" fmla="*/ 2578101 w 2578101"/>
              <a:gd name="connsiteY1" fmla="*/ 0 h 914400"/>
              <a:gd name="connsiteX2" fmla="*/ 1663701 w 2578101"/>
              <a:gd name="connsiteY2" fmla="*/ 914400 h 914400"/>
              <a:gd name="connsiteX3" fmla="*/ 6350 w 2578101"/>
              <a:gd name="connsiteY3" fmla="*/ 723900 h 914400"/>
              <a:gd name="connsiteX4" fmla="*/ 0 w 2578101"/>
              <a:gd name="connsiteY4" fmla="*/ 0 h 914400"/>
              <a:gd name="connsiteX0" fmla="*/ 6631 w 2584732"/>
              <a:gd name="connsiteY0" fmla="*/ 0 h 927100"/>
              <a:gd name="connsiteX1" fmla="*/ 2584732 w 2584732"/>
              <a:gd name="connsiteY1" fmla="*/ 0 h 927100"/>
              <a:gd name="connsiteX2" fmla="*/ 167033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67033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53698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53698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53698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536982 w 2584732"/>
              <a:gd name="connsiteY2" fmla="*/ 914400 h 927100"/>
              <a:gd name="connsiteX3" fmla="*/ 281 w 2584732"/>
              <a:gd name="connsiteY3" fmla="*/ 927100 h 927100"/>
              <a:gd name="connsiteX4" fmla="*/ 6631 w 2584732"/>
              <a:gd name="connsiteY4" fmla="*/ 0 h 92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4732" h="927100">
                <a:moveTo>
                  <a:pt x="6631" y="0"/>
                </a:moveTo>
                <a:lnTo>
                  <a:pt x="2584732" y="0"/>
                </a:lnTo>
                <a:cubicBezTo>
                  <a:pt x="2432332" y="463550"/>
                  <a:pt x="2222782" y="920750"/>
                  <a:pt x="1536982" y="914400"/>
                </a:cubicBezTo>
                <a:lnTo>
                  <a:pt x="281" y="927100"/>
                </a:lnTo>
                <a:cubicBezTo>
                  <a:pt x="-1836" y="685800"/>
                  <a:pt x="8748" y="241300"/>
                  <a:pt x="6631" y="0"/>
                </a:cubicBezTo>
                <a:close/>
              </a:path>
            </a:pathLst>
          </a:custGeom>
          <a:solidFill>
            <a:srgbClr val="FFD900"/>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chibsted Grotesk Bold" pitchFamily="2" charset="77"/>
              <a:ea typeface="+mn-ea"/>
              <a:cs typeface="+mn-cs"/>
            </a:endParaRPr>
          </a:p>
        </p:txBody>
      </p:sp>
      <p:pic>
        <p:nvPicPr>
          <p:cNvPr id="7" name="Picture 3">
            <a:extLst>
              <a:ext uri="{FF2B5EF4-FFF2-40B4-BE49-F238E27FC236}">
                <a16:creationId xmlns:a16="http://schemas.microsoft.com/office/drawing/2014/main" id="{E49A7B10-8A9B-680E-847F-3CA2ACE5B0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37775" y="6080125"/>
            <a:ext cx="1952625"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2">
            <a:extLst>
              <a:ext uri="{FF2B5EF4-FFF2-40B4-BE49-F238E27FC236}">
                <a16:creationId xmlns:a16="http://schemas.microsoft.com/office/drawing/2014/main" id="{E0BEC3F9-66C5-9650-180E-5EDD144E9CD9}"/>
              </a:ext>
            </a:extLst>
          </p:cNvPr>
          <p:cNvSpPr>
            <a:spLocks noGrp="1"/>
          </p:cNvSpPr>
          <p:nvPr>
            <p:ph type="subTitle" idx="1"/>
          </p:nvPr>
        </p:nvSpPr>
        <p:spPr>
          <a:xfrm>
            <a:off x="426379" y="3396212"/>
            <a:ext cx="4702977" cy="550370"/>
          </a:xfrm>
          <a:prstGeom prst="rect">
            <a:avLst/>
          </a:prstGeom>
        </p:spPr>
        <p:txBody>
          <a:bodyPr>
            <a:normAutofit/>
          </a:bodyPr>
          <a:lstStyle>
            <a:lvl1pPr marL="0" indent="0" algn="l">
              <a:buNone/>
              <a:defRPr sz="2000" b="1" i="0">
                <a:solidFill>
                  <a:schemeClr val="tx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A yellow line in a black background&#10;&#10;Description automatically generated">
            <a:extLst>
              <a:ext uri="{FF2B5EF4-FFF2-40B4-BE49-F238E27FC236}">
                <a16:creationId xmlns:a16="http://schemas.microsoft.com/office/drawing/2014/main" id="{CF497421-276A-40B0-8437-EEE52C7DD44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a:noFill/>
        </p:spPr>
      </p:pic>
    </p:spTree>
    <p:extLst>
      <p:ext uri="{BB962C8B-B14F-4D97-AF65-F5344CB8AC3E}">
        <p14:creationId xmlns:p14="http://schemas.microsoft.com/office/powerpoint/2010/main" val="306111184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7">
    <p:bg>
      <p:bgPr>
        <a:solidFill>
          <a:schemeClr val="tx2"/>
        </a:solidFill>
        <a:effectLst/>
      </p:bgPr>
    </p:bg>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A3F3CECF-983C-1D7B-4726-7D5437C98932}"/>
              </a:ext>
            </a:extLst>
          </p:cNvPr>
          <p:cNvSpPr txBox="1">
            <a:spLocks/>
          </p:cNvSpPr>
          <p:nvPr userDrawn="1"/>
        </p:nvSpPr>
        <p:spPr>
          <a:xfrm flipH="1" flipV="1">
            <a:off x="-9427" y="-18854"/>
            <a:ext cx="8040687" cy="6872288"/>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 name="connsiteX0" fmla="*/ 3652173 w 8109899"/>
              <a:gd name="connsiteY0" fmla="*/ 6934 h 6857673"/>
              <a:gd name="connsiteX1" fmla="*/ 8102150 w 8109899"/>
              <a:gd name="connsiteY1" fmla="*/ 8710 h 6857673"/>
              <a:gd name="connsiteX2" fmla="*/ 8109899 w 8109899"/>
              <a:gd name="connsiteY2" fmla="*/ 6210534 h 6857673"/>
              <a:gd name="connsiteX3" fmla="*/ 76280 w 8109899"/>
              <a:gd name="connsiteY3" fmla="*/ 6857673 h 6857673"/>
              <a:gd name="connsiteX4" fmla="*/ 2086488 w 8109899"/>
              <a:gd name="connsiteY4" fmla="*/ 2579732 h 6857673"/>
              <a:gd name="connsiteX5" fmla="*/ 3652173 w 8109899"/>
              <a:gd name="connsiteY5" fmla="*/ 6934 h 6857673"/>
              <a:gd name="connsiteX0" fmla="*/ 3652173 w 8116384"/>
              <a:gd name="connsiteY0" fmla="*/ 6934 h 6878500"/>
              <a:gd name="connsiteX1" fmla="*/ 8102150 w 8116384"/>
              <a:gd name="connsiteY1" fmla="*/ 8710 h 6878500"/>
              <a:gd name="connsiteX2" fmla="*/ 8116384 w 8116384"/>
              <a:gd name="connsiteY2" fmla="*/ 6878500 h 6878500"/>
              <a:gd name="connsiteX3" fmla="*/ 76280 w 8116384"/>
              <a:gd name="connsiteY3" fmla="*/ 6857673 h 6878500"/>
              <a:gd name="connsiteX4" fmla="*/ 2086488 w 8116384"/>
              <a:gd name="connsiteY4" fmla="*/ 2579732 h 6878500"/>
              <a:gd name="connsiteX5" fmla="*/ 3652173 w 8116384"/>
              <a:gd name="connsiteY5" fmla="*/ 6934 h 6878500"/>
              <a:gd name="connsiteX0" fmla="*/ 4500050 w 8121197"/>
              <a:gd name="connsiteY0" fmla="*/ 8356 h 6873437"/>
              <a:gd name="connsiteX1" fmla="*/ 8106963 w 8121197"/>
              <a:gd name="connsiteY1" fmla="*/ 3647 h 6873437"/>
              <a:gd name="connsiteX2" fmla="*/ 8121197 w 8121197"/>
              <a:gd name="connsiteY2" fmla="*/ 6873437 h 6873437"/>
              <a:gd name="connsiteX3" fmla="*/ 81093 w 8121197"/>
              <a:gd name="connsiteY3" fmla="*/ 6852610 h 6873437"/>
              <a:gd name="connsiteX4" fmla="*/ 2091301 w 8121197"/>
              <a:gd name="connsiteY4" fmla="*/ 2574669 h 6873437"/>
              <a:gd name="connsiteX5" fmla="*/ 4500050 w 8121197"/>
              <a:gd name="connsiteY5" fmla="*/ 8356 h 6873437"/>
              <a:gd name="connsiteX0" fmla="*/ 4494764 w 8115911"/>
              <a:gd name="connsiteY0" fmla="*/ 122173 h 6987254"/>
              <a:gd name="connsiteX1" fmla="*/ 8101677 w 8115911"/>
              <a:gd name="connsiteY1" fmla="*/ 117464 h 6987254"/>
              <a:gd name="connsiteX2" fmla="*/ 8115911 w 8115911"/>
              <a:gd name="connsiteY2" fmla="*/ 6987254 h 6987254"/>
              <a:gd name="connsiteX3" fmla="*/ 75807 w 8115911"/>
              <a:gd name="connsiteY3" fmla="*/ 6966427 h 6987254"/>
              <a:gd name="connsiteX4" fmla="*/ 2235173 w 8115911"/>
              <a:gd name="connsiteY4" fmla="*/ 1767601 h 6987254"/>
              <a:gd name="connsiteX5" fmla="*/ 4494764 w 8115911"/>
              <a:gd name="connsiteY5" fmla="*/ 122173 h 6987254"/>
              <a:gd name="connsiteX0" fmla="*/ 4494970 w 8116117"/>
              <a:gd name="connsiteY0" fmla="*/ 122173 h 6987254"/>
              <a:gd name="connsiteX1" fmla="*/ 8101883 w 8116117"/>
              <a:gd name="connsiteY1" fmla="*/ 117464 h 6987254"/>
              <a:gd name="connsiteX2" fmla="*/ 8116117 w 8116117"/>
              <a:gd name="connsiteY2" fmla="*/ 6987254 h 6987254"/>
              <a:gd name="connsiteX3" fmla="*/ 76013 w 8116117"/>
              <a:gd name="connsiteY3" fmla="*/ 6966427 h 6987254"/>
              <a:gd name="connsiteX4" fmla="*/ 2235379 w 8116117"/>
              <a:gd name="connsiteY4" fmla="*/ 1767601 h 6987254"/>
              <a:gd name="connsiteX5" fmla="*/ 4494970 w 8116117"/>
              <a:gd name="connsiteY5" fmla="*/ 122173 h 6987254"/>
              <a:gd name="connsiteX0" fmla="*/ 4418957 w 8040104"/>
              <a:gd name="connsiteY0" fmla="*/ 122173 h 6987254"/>
              <a:gd name="connsiteX1" fmla="*/ 8025870 w 8040104"/>
              <a:gd name="connsiteY1" fmla="*/ 117464 h 6987254"/>
              <a:gd name="connsiteX2" fmla="*/ 8040104 w 8040104"/>
              <a:gd name="connsiteY2" fmla="*/ 6987254 h 6987254"/>
              <a:gd name="connsiteX3" fmla="*/ 0 w 8040104"/>
              <a:gd name="connsiteY3" fmla="*/ 6966427 h 6987254"/>
              <a:gd name="connsiteX4" fmla="*/ 2159366 w 8040104"/>
              <a:gd name="connsiteY4" fmla="*/ 1767601 h 6987254"/>
              <a:gd name="connsiteX5" fmla="*/ 4418957 w 8040104"/>
              <a:gd name="connsiteY5" fmla="*/ 122173 h 6987254"/>
              <a:gd name="connsiteX0" fmla="*/ 4418957 w 8040104"/>
              <a:gd name="connsiteY0" fmla="*/ 122173 h 6987254"/>
              <a:gd name="connsiteX1" fmla="*/ 8025870 w 8040104"/>
              <a:gd name="connsiteY1" fmla="*/ 117464 h 6987254"/>
              <a:gd name="connsiteX2" fmla="*/ 8040104 w 8040104"/>
              <a:gd name="connsiteY2" fmla="*/ 6987254 h 6987254"/>
              <a:gd name="connsiteX3" fmla="*/ 0 w 8040104"/>
              <a:gd name="connsiteY3" fmla="*/ 6966427 h 6987254"/>
              <a:gd name="connsiteX4" fmla="*/ 2159366 w 8040104"/>
              <a:gd name="connsiteY4" fmla="*/ 1767601 h 6987254"/>
              <a:gd name="connsiteX5" fmla="*/ 4418957 w 8040104"/>
              <a:gd name="connsiteY5" fmla="*/ 122173 h 6987254"/>
              <a:gd name="connsiteX0" fmla="*/ 4418957 w 8040104"/>
              <a:gd name="connsiteY0" fmla="*/ 116890 h 6981971"/>
              <a:gd name="connsiteX1" fmla="*/ 8025870 w 8040104"/>
              <a:gd name="connsiteY1" fmla="*/ 112181 h 6981971"/>
              <a:gd name="connsiteX2" fmla="*/ 8040104 w 8040104"/>
              <a:gd name="connsiteY2" fmla="*/ 6981971 h 6981971"/>
              <a:gd name="connsiteX3" fmla="*/ 0 w 8040104"/>
              <a:gd name="connsiteY3" fmla="*/ 6961144 h 6981971"/>
              <a:gd name="connsiteX4" fmla="*/ 2859757 w 8040104"/>
              <a:gd name="connsiteY4" fmla="*/ 1690982 h 6981971"/>
              <a:gd name="connsiteX5" fmla="*/ 4418957 w 8040104"/>
              <a:gd name="connsiteY5" fmla="*/ 116890 h 6981971"/>
              <a:gd name="connsiteX0" fmla="*/ 4418957 w 8040104"/>
              <a:gd name="connsiteY0" fmla="*/ 112567 h 6977648"/>
              <a:gd name="connsiteX1" fmla="*/ 8025870 w 8040104"/>
              <a:gd name="connsiteY1" fmla="*/ 107858 h 6977648"/>
              <a:gd name="connsiteX2" fmla="*/ 8040104 w 8040104"/>
              <a:gd name="connsiteY2" fmla="*/ 6977648 h 6977648"/>
              <a:gd name="connsiteX3" fmla="*/ 0 w 8040104"/>
              <a:gd name="connsiteY3" fmla="*/ 6956821 h 6977648"/>
              <a:gd name="connsiteX4" fmla="*/ 2230702 w 8040104"/>
              <a:gd name="connsiteY4" fmla="*/ 1628293 h 6977648"/>
              <a:gd name="connsiteX5" fmla="*/ 4418957 w 8040104"/>
              <a:gd name="connsiteY5" fmla="*/ 112567 h 6977648"/>
              <a:gd name="connsiteX0" fmla="*/ 4418957 w 8040104"/>
              <a:gd name="connsiteY0" fmla="*/ 112567 h 6977648"/>
              <a:gd name="connsiteX1" fmla="*/ 8025870 w 8040104"/>
              <a:gd name="connsiteY1" fmla="*/ 107858 h 6977648"/>
              <a:gd name="connsiteX2" fmla="*/ 8040104 w 8040104"/>
              <a:gd name="connsiteY2" fmla="*/ 6977648 h 6977648"/>
              <a:gd name="connsiteX3" fmla="*/ 0 w 8040104"/>
              <a:gd name="connsiteY3" fmla="*/ 6956821 h 6977648"/>
              <a:gd name="connsiteX4" fmla="*/ 2230702 w 8040104"/>
              <a:gd name="connsiteY4" fmla="*/ 1628293 h 6977648"/>
              <a:gd name="connsiteX5" fmla="*/ 4418957 w 8040104"/>
              <a:gd name="connsiteY5" fmla="*/ 112567 h 6977648"/>
              <a:gd name="connsiteX0" fmla="*/ 4418957 w 8040104"/>
              <a:gd name="connsiteY0" fmla="*/ 112567 h 6977648"/>
              <a:gd name="connsiteX1" fmla="*/ 8025870 w 8040104"/>
              <a:gd name="connsiteY1" fmla="*/ 107858 h 6977648"/>
              <a:gd name="connsiteX2" fmla="*/ 8040104 w 8040104"/>
              <a:gd name="connsiteY2" fmla="*/ 6977648 h 6977648"/>
              <a:gd name="connsiteX3" fmla="*/ 0 w 8040104"/>
              <a:gd name="connsiteY3" fmla="*/ 6956821 h 6977648"/>
              <a:gd name="connsiteX4" fmla="*/ 2230702 w 8040104"/>
              <a:gd name="connsiteY4" fmla="*/ 1628293 h 6977648"/>
              <a:gd name="connsiteX5" fmla="*/ 4418957 w 8040104"/>
              <a:gd name="connsiteY5" fmla="*/ 112567 h 6977648"/>
              <a:gd name="connsiteX0" fmla="*/ 4418957 w 8040104"/>
              <a:gd name="connsiteY0" fmla="*/ 141388 h 7006469"/>
              <a:gd name="connsiteX1" fmla="*/ 8025870 w 8040104"/>
              <a:gd name="connsiteY1" fmla="*/ 136679 h 7006469"/>
              <a:gd name="connsiteX2" fmla="*/ 8040104 w 8040104"/>
              <a:gd name="connsiteY2" fmla="*/ 7006469 h 7006469"/>
              <a:gd name="connsiteX3" fmla="*/ 0 w 8040104"/>
              <a:gd name="connsiteY3" fmla="*/ 6985642 h 7006469"/>
              <a:gd name="connsiteX4" fmla="*/ 2217731 w 8040104"/>
              <a:gd name="connsiteY4" fmla="*/ 2046220 h 7006469"/>
              <a:gd name="connsiteX5" fmla="*/ 4418957 w 8040104"/>
              <a:gd name="connsiteY5" fmla="*/ 141388 h 7006469"/>
              <a:gd name="connsiteX0" fmla="*/ 4418957 w 8040104"/>
              <a:gd name="connsiteY0" fmla="*/ 4709 h 6869790"/>
              <a:gd name="connsiteX1" fmla="*/ 8025870 w 8040104"/>
              <a:gd name="connsiteY1" fmla="*/ 0 h 6869790"/>
              <a:gd name="connsiteX2" fmla="*/ 8040104 w 8040104"/>
              <a:gd name="connsiteY2" fmla="*/ 6869790 h 6869790"/>
              <a:gd name="connsiteX3" fmla="*/ 0 w 8040104"/>
              <a:gd name="connsiteY3" fmla="*/ 6848963 h 6869790"/>
              <a:gd name="connsiteX4" fmla="*/ 2217731 w 8040104"/>
              <a:gd name="connsiteY4" fmla="*/ 1909541 h 6869790"/>
              <a:gd name="connsiteX5" fmla="*/ 4418957 w 8040104"/>
              <a:gd name="connsiteY5" fmla="*/ 4709 h 6869790"/>
              <a:gd name="connsiteX0" fmla="*/ 4470838 w 8040104"/>
              <a:gd name="connsiteY0" fmla="*/ 0 h 6988298"/>
              <a:gd name="connsiteX1" fmla="*/ 8025870 w 8040104"/>
              <a:gd name="connsiteY1" fmla="*/ 118508 h 6988298"/>
              <a:gd name="connsiteX2" fmla="*/ 8040104 w 8040104"/>
              <a:gd name="connsiteY2" fmla="*/ 6988298 h 6988298"/>
              <a:gd name="connsiteX3" fmla="*/ 0 w 8040104"/>
              <a:gd name="connsiteY3" fmla="*/ 6967471 h 6988298"/>
              <a:gd name="connsiteX4" fmla="*/ 2217731 w 8040104"/>
              <a:gd name="connsiteY4" fmla="*/ 2028049 h 6988298"/>
              <a:gd name="connsiteX5" fmla="*/ 4470838 w 8040104"/>
              <a:gd name="connsiteY5" fmla="*/ 0 h 6988298"/>
              <a:gd name="connsiteX0" fmla="*/ 4470838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217731 w 8040104"/>
              <a:gd name="connsiteY4" fmla="*/ 1930772 h 6891021"/>
              <a:gd name="connsiteX5" fmla="*/ 4470838 w 8040104"/>
              <a:gd name="connsiteY5" fmla="*/ 0 h 6891021"/>
              <a:gd name="connsiteX0" fmla="*/ 4470838 w 8040104"/>
              <a:gd name="connsiteY0" fmla="*/ 127550 h 7018571"/>
              <a:gd name="connsiteX1" fmla="*/ 8025870 w 8040104"/>
              <a:gd name="connsiteY1" fmla="*/ 148781 h 7018571"/>
              <a:gd name="connsiteX2" fmla="*/ 8040104 w 8040104"/>
              <a:gd name="connsiteY2" fmla="*/ 7018571 h 7018571"/>
              <a:gd name="connsiteX3" fmla="*/ 0 w 8040104"/>
              <a:gd name="connsiteY3" fmla="*/ 6997744 h 7018571"/>
              <a:gd name="connsiteX4" fmla="*/ 2120454 w 8040104"/>
              <a:gd name="connsiteY4" fmla="*/ 1922135 h 7018571"/>
              <a:gd name="connsiteX5" fmla="*/ 4470838 w 8040104"/>
              <a:gd name="connsiteY5" fmla="*/ 127550 h 7018571"/>
              <a:gd name="connsiteX0" fmla="*/ 4470838 w 8040104"/>
              <a:gd name="connsiteY0" fmla="*/ 127550 h 7018571"/>
              <a:gd name="connsiteX1" fmla="*/ 8025870 w 8040104"/>
              <a:gd name="connsiteY1" fmla="*/ 148781 h 7018571"/>
              <a:gd name="connsiteX2" fmla="*/ 8040104 w 8040104"/>
              <a:gd name="connsiteY2" fmla="*/ 7018571 h 7018571"/>
              <a:gd name="connsiteX3" fmla="*/ 0 w 8040104"/>
              <a:gd name="connsiteY3" fmla="*/ 6997744 h 7018571"/>
              <a:gd name="connsiteX4" fmla="*/ 2120454 w 8040104"/>
              <a:gd name="connsiteY4" fmla="*/ 1922135 h 7018571"/>
              <a:gd name="connsiteX5" fmla="*/ 4470838 w 8040104"/>
              <a:gd name="connsiteY5" fmla="*/ 127550 h 7018571"/>
              <a:gd name="connsiteX0" fmla="*/ 4470838 w 8040104"/>
              <a:gd name="connsiteY0" fmla="*/ 127550 h 7018571"/>
              <a:gd name="connsiteX1" fmla="*/ 8025870 w 8040104"/>
              <a:gd name="connsiteY1" fmla="*/ 148781 h 7018571"/>
              <a:gd name="connsiteX2" fmla="*/ 8040104 w 8040104"/>
              <a:gd name="connsiteY2" fmla="*/ 7018571 h 7018571"/>
              <a:gd name="connsiteX3" fmla="*/ 0 w 8040104"/>
              <a:gd name="connsiteY3" fmla="*/ 6997744 h 7018571"/>
              <a:gd name="connsiteX4" fmla="*/ 2120454 w 8040104"/>
              <a:gd name="connsiteY4" fmla="*/ 1922135 h 7018571"/>
              <a:gd name="connsiteX5" fmla="*/ 4470838 w 8040104"/>
              <a:gd name="connsiteY5" fmla="*/ 127550 h 7018571"/>
              <a:gd name="connsiteX0" fmla="*/ 4470838 w 8040104"/>
              <a:gd name="connsiteY0" fmla="*/ 127550 h 7018571"/>
              <a:gd name="connsiteX1" fmla="*/ 8025870 w 8040104"/>
              <a:gd name="connsiteY1" fmla="*/ 148781 h 7018571"/>
              <a:gd name="connsiteX2" fmla="*/ 8040104 w 8040104"/>
              <a:gd name="connsiteY2" fmla="*/ 7018571 h 7018571"/>
              <a:gd name="connsiteX3" fmla="*/ 0 w 8040104"/>
              <a:gd name="connsiteY3" fmla="*/ 6997744 h 7018571"/>
              <a:gd name="connsiteX4" fmla="*/ 2120454 w 8040104"/>
              <a:gd name="connsiteY4" fmla="*/ 1922135 h 7018571"/>
              <a:gd name="connsiteX5" fmla="*/ 4470838 w 8040104"/>
              <a:gd name="connsiteY5" fmla="*/ 127550 h 7018571"/>
              <a:gd name="connsiteX0" fmla="*/ 4470838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470838 w 8040104"/>
              <a:gd name="connsiteY5" fmla="*/ 0 h 6891021"/>
              <a:gd name="connsiteX0" fmla="*/ 4678361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678361 w 8040104"/>
              <a:gd name="connsiteY5" fmla="*/ 0 h 6891021"/>
              <a:gd name="connsiteX0" fmla="*/ 4412472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412472 w 8040104"/>
              <a:gd name="connsiteY5" fmla="*/ 0 h 6891021"/>
              <a:gd name="connsiteX0" fmla="*/ 4399501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399501 w 8040104"/>
              <a:gd name="connsiteY5" fmla="*/ 0 h 6891021"/>
              <a:gd name="connsiteX0" fmla="*/ 4399501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399501 w 8040104"/>
              <a:gd name="connsiteY5" fmla="*/ 0 h 6891021"/>
              <a:gd name="connsiteX0" fmla="*/ 4399501 w 8040104"/>
              <a:gd name="connsiteY0" fmla="*/ 160672 h 7051693"/>
              <a:gd name="connsiteX1" fmla="*/ 8025870 w 8040104"/>
              <a:gd name="connsiteY1" fmla="*/ 181903 h 7051693"/>
              <a:gd name="connsiteX2" fmla="*/ 8040104 w 8040104"/>
              <a:gd name="connsiteY2" fmla="*/ 7051693 h 7051693"/>
              <a:gd name="connsiteX3" fmla="*/ 0 w 8040104"/>
              <a:gd name="connsiteY3" fmla="*/ 7030866 h 7051693"/>
              <a:gd name="connsiteX4" fmla="*/ 2464165 w 8040104"/>
              <a:gd name="connsiteY4" fmla="*/ 2402730 h 7051693"/>
              <a:gd name="connsiteX5" fmla="*/ 4399501 w 8040104"/>
              <a:gd name="connsiteY5" fmla="*/ 160672 h 7051693"/>
              <a:gd name="connsiteX0" fmla="*/ 4399501 w 8040104"/>
              <a:gd name="connsiteY0" fmla="*/ 120352 h 7011373"/>
              <a:gd name="connsiteX1" fmla="*/ 8025870 w 8040104"/>
              <a:gd name="connsiteY1" fmla="*/ 141583 h 7011373"/>
              <a:gd name="connsiteX2" fmla="*/ 8040104 w 8040104"/>
              <a:gd name="connsiteY2" fmla="*/ 7011373 h 7011373"/>
              <a:gd name="connsiteX3" fmla="*/ 0 w 8040104"/>
              <a:gd name="connsiteY3" fmla="*/ 6990546 h 7011373"/>
              <a:gd name="connsiteX4" fmla="*/ 2172335 w 8040104"/>
              <a:gd name="connsiteY4" fmla="*/ 1817661 h 7011373"/>
              <a:gd name="connsiteX5" fmla="*/ 4399501 w 8040104"/>
              <a:gd name="connsiteY5" fmla="*/ 120352 h 7011373"/>
              <a:gd name="connsiteX0" fmla="*/ 4399501 w 8040104"/>
              <a:gd name="connsiteY0" fmla="*/ 120352 h 7011373"/>
              <a:gd name="connsiteX1" fmla="*/ 8025870 w 8040104"/>
              <a:gd name="connsiteY1" fmla="*/ 141583 h 7011373"/>
              <a:gd name="connsiteX2" fmla="*/ 8040104 w 8040104"/>
              <a:gd name="connsiteY2" fmla="*/ 7011373 h 7011373"/>
              <a:gd name="connsiteX3" fmla="*/ 0 w 8040104"/>
              <a:gd name="connsiteY3" fmla="*/ 6990546 h 7011373"/>
              <a:gd name="connsiteX4" fmla="*/ 2172335 w 8040104"/>
              <a:gd name="connsiteY4" fmla="*/ 1817661 h 7011373"/>
              <a:gd name="connsiteX5" fmla="*/ 4399501 w 8040104"/>
              <a:gd name="connsiteY5" fmla="*/ 120352 h 7011373"/>
              <a:gd name="connsiteX0" fmla="*/ 4399501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72335 w 8040104"/>
              <a:gd name="connsiteY4" fmla="*/ 1697309 h 6891021"/>
              <a:gd name="connsiteX5" fmla="*/ 4399501 w 8040104"/>
              <a:gd name="connsiteY5" fmla="*/ 0 h 6891021"/>
              <a:gd name="connsiteX0" fmla="*/ 4632965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72335 w 8040104"/>
              <a:gd name="connsiteY4" fmla="*/ 1697309 h 6891021"/>
              <a:gd name="connsiteX5" fmla="*/ 4632965 w 8040104"/>
              <a:gd name="connsiteY5" fmla="*/ 0 h 6891021"/>
              <a:gd name="connsiteX0" fmla="*/ 4509748 w 8040104"/>
              <a:gd name="connsiteY0" fmla="*/ 0 h 6878051"/>
              <a:gd name="connsiteX1" fmla="*/ 8025870 w 8040104"/>
              <a:gd name="connsiteY1" fmla="*/ 8261 h 6878051"/>
              <a:gd name="connsiteX2" fmla="*/ 8040104 w 8040104"/>
              <a:gd name="connsiteY2" fmla="*/ 6878051 h 6878051"/>
              <a:gd name="connsiteX3" fmla="*/ 0 w 8040104"/>
              <a:gd name="connsiteY3" fmla="*/ 6857224 h 6878051"/>
              <a:gd name="connsiteX4" fmla="*/ 2172335 w 8040104"/>
              <a:gd name="connsiteY4" fmla="*/ 1684339 h 6878051"/>
              <a:gd name="connsiteX5" fmla="*/ 4509748 w 8040104"/>
              <a:gd name="connsiteY5" fmla="*/ 0 h 6878051"/>
              <a:gd name="connsiteX0" fmla="*/ 4393016 w 8040104"/>
              <a:gd name="connsiteY0" fmla="*/ 0 h 6878051"/>
              <a:gd name="connsiteX1" fmla="*/ 8025870 w 8040104"/>
              <a:gd name="connsiteY1" fmla="*/ 8261 h 6878051"/>
              <a:gd name="connsiteX2" fmla="*/ 8040104 w 8040104"/>
              <a:gd name="connsiteY2" fmla="*/ 6878051 h 6878051"/>
              <a:gd name="connsiteX3" fmla="*/ 0 w 8040104"/>
              <a:gd name="connsiteY3" fmla="*/ 6857224 h 6878051"/>
              <a:gd name="connsiteX4" fmla="*/ 2172335 w 8040104"/>
              <a:gd name="connsiteY4" fmla="*/ 1684339 h 6878051"/>
              <a:gd name="connsiteX5" fmla="*/ 4393016 w 8040104"/>
              <a:gd name="connsiteY5" fmla="*/ 0 h 6878051"/>
              <a:gd name="connsiteX0" fmla="*/ 4380045 w 8040104"/>
              <a:gd name="connsiteY0" fmla="*/ 0 h 6871566"/>
              <a:gd name="connsiteX1" fmla="*/ 8025870 w 8040104"/>
              <a:gd name="connsiteY1" fmla="*/ 1776 h 6871566"/>
              <a:gd name="connsiteX2" fmla="*/ 8040104 w 8040104"/>
              <a:gd name="connsiteY2" fmla="*/ 6871566 h 6871566"/>
              <a:gd name="connsiteX3" fmla="*/ 0 w 8040104"/>
              <a:gd name="connsiteY3" fmla="*/ 6850739 h 6871566"/>
              <a:gd name="connsiteX4" fmla="*/ 2172335 w 8040104"/>
              <a:gd name="connsiteY4" fmla="*/ 1677854 h 6871566"/>
              <a:gd name="connsiteX5" fmla="*/ 4380045 w 8040104"/>
              <a:gd name="connsiteY5" fmla="*/ 0 h 6871566"/>
              <a:gd name="connsiteX0" fmla="*/ 4380045 w 8040104"/>
              <a:gd name="connsiteY0" fmla="*/ 0 h 6871566"/>
              <a:gd name="connsiteX1" fmla="*/ 8025870 w 8040104"/>
              <a:gd name="connsiteY1" fmla="*/ 1776 h 6871566"/>
              <a:gd name="connsiteX2" fmla="*/ 8040104 w 8040104"/>
              <a:gd name="connsiteY2" fmla="*/ 6871566 h 6871566"/>
              <a:gd name="connsiteX3" fmla="*/ 0 w 8040104"/>
              <a:gd name="connsiteY3" fmla="*/ 6850739 h 6871566"/>
              <a:gd name="connsiteX4" fmla="*/ 2172335 w 8040104"/>
              <a:gd name="connsiteY4" fmla="*/ 1677854 h 6871566"/>
              <a:gd name="connsiteX5" fmla="*/ 4380045 w 8040104"/>
              <a:gd name="connsiteY5" fmla="*/ 0 h 6871566"/>
              <a:gd name="connsiteX0" fmla="*/ 4380045 w 8040104"/>
              <a:gd name="connsiteY0" fmla="*/ 0 h 6871566"/>
              <a:gd name="connsiteX1" fmla="*/ 8025870 w 8040104"/>
              <a:gd name="connsiteY1" fmla="*/ 1776 h 6871566"/>
              <a:gd name="connsiteX2" fmla="*/ 8040104 w 8040104"/>
              <a:gd name="connsiteY2" fmla="*/ 6871566 h 6871566"/>
              <a:gd name="connsiteX3" fmla="*/ 0 w 8040104"/>
              <a:gd name="connsiteY3" fmla="*/ 6850739 h 6871566"/>
              <a:gd name="connsiteX4" fmla="*/ 2172335 w 8040104"/>
              <a:gd name="connsiteY4" fmla="*/ 1677854 h 6871566"/>
              <a:gd name="connsiteX5" fmla="*/ 4380045 w 8040104"/>
              <a:gd name="connsiteY5" fmla="*/ 0 h 6871566"/>
              <a:gd name="connsiteX0" fmla="*/ 4380045 w 8040104"/>
              <a:gd name="connsiteY0" fmla="*/ 132952 h 7004518"/>
              <a:gd name="connsiteX1" fmla="*/ 8025870 w 8040104"/>
              <a:gd name="connsiteY1" fmla="*/ 134728 h 7004518"/>
              <a:gd name="connsiteX2" fmla="*/ 8040104 w 8040104"/>
              <a:gd name="connsiteY2" fmla="*/ 7004518 h 7004518"/>
              <a:gd name="connsiteX3" fmla="*/ 0 w 8040104"/>
              <a:gd name="connsiteY3" fmla="*/ 6983691 h 7004518"/>
              <a:gd name="connsiteX4" fmla="*/ 2126939 w 8040104"/>
              <a:gd name="connsiteY4" fmla="*/ 1934023 h 7004518"/>
              <a:gd name="connsiteX5" fmla="*/ 4380045 w 8040104"/>
              <a:gd name="connsiteY5" fmla="*/ 132952 h 7004518"/>
              <a:gd name="connsiteX0" fmla="*/ 4380045 w 8040104"/>
              <a:gd name="connsiteY0" fmla="*/ 126709 h 6998275"/>
              <a:gd name="connsiteX1" fmla="*/ 8025870 w 8040104"/>
              <a:gd name="connsiteY1" fmla="*/ 128485 h 6998275"/>
              <a:gd name="connsiteX2" fmla="*/ 8040104 w 8040104"/>
              <a:gd name="connsiteY2" fmla="*/ 6998275 h 6998275"/>
              <a:gd name="connsiteX3" fmla="*/ 0 w 8040104"/>
              <a:gd name="connsiteY3" fmla="*/ 6977448 h 6998275"/>
              <a:gd name="connsiteX4" fmla="*/ 2146395 w 8040104"/>
              <a:gd name="connsiteY4" fmla="*/ 1843473 h 6998275"/>
              <a:gd name="connsiteX5" fmla="*/ 4380045 w 8040104"/>
              <a:gd name="connsiteY5" fmla="*/ 126709 h 6998275"/>
              <a:gd name="connsiteX0" fmla="*/ 4380045 w 8040104"/>
              <a:gd name="connsiteY0" fmla="*/ 123346 h 6994912"/>
              <a:gd name="connsiteX1" fmla="*/ 8025870 w 8040104"/>
              <a:gd name="connsiteY1" fmla="*/ 125122 h 6994912"/>
              <a:gd name="connsiteX2" fmla="*/ 8040104 w 8040104"/>
              <a:gd name="connsiteY2" fmla="*/ 6994912 h 6994912"/>
              <a:gd name="connsiteX3" fmla="*/ 0 w 8040104"/>
              <a:gd name="connsiteY3" fmla="*/ 6974085 h 6994912"/>
              <a:gd name="connsiteX4" fmla="*/ 2159365 w 8040104"/>
              <a:gd name="connsiteY4" fmla="*/ 1794714 h 6994912"/>
              <a:gd name="connsiteX5" fmla="*/ 4380045 w 8040104"/>
              <a:gd name="connsiteY5" fmla="*/ 123346 h 6994912"/>
              <a:gd name="connsiteX0" fmla="*/ 4380045 w 8040104"/>
              <a:gd name="connsiteY0" fmla="*/ 202 h 6871768"/>
              <a:gd name="connsiteX1" fmla="*/ 8025870 w 8040104"/>
              <a:gd name="connsiteY1" fmla="*/ 1978 h 6871768"/>
              <a:gd name="connsiteX2" fmla="*/ 8040104 w 8040104"/>
              <a:gd name="connsiteY2" fmla="*/ 6871768 h 6871768"/>
              <a:gd name="connsiteX3" fmla="*/ 0 w 8040104"/>
              <a:gd name="connsiteY3" fmla="*/ 6850941 h 6871768"/>
              <a:gd name="connsiteX4" fmla="*/ 2159365 w 8040104"/>
              <a:gd name="connsiteY4" fmla="*/ 1671570 h 6871768"/>
              <a:gd name="connsiteX5" fmla="*/ 4380045 w 8040104"/>
              <a:gd name="connsiteY5" fmla="*/ 202 h 687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40104" h="6871768">
                <a:moveTo>
                  <a:pt x="4380045" y="202"/>
                </a:moveTo>
                <a:cubicBezTo>
                  <a:pt x="5377251" y="13767"/>
                  <a:pt x="6810595" y="1386"/>
                  <a:pt x="8025870" y="1978"/>
                </a:cubicBezTo>
                <a:cubicBezTo>
                  <a:pt x="8030615" y="2291908"/>
                  <a:pt x="8035359" y="4581838"/>
                  <a:pt x="8040104" y="6871768"/>
                </a:cubicBezTo>
                <a:lnTo>
                  <a:pt x="0" y="6850941"/>
                </a:lnTo>
                <a:cubicBezTo>
                  <a:pt x="846109" y="4823847"/>
                  <a:pt x="1669307" y="2683658"/>
                  <a:pt x="2159365" y="1671570"/>
                </a:cubicBezTo>
                <a:cubicBezTo>
                  <a:pt x="2649423" y="659482"/>
                  <a:pt x="3382839" y="-13363"/>
                  <a:pt x="4380045" y="202"/>
                </a:cubicBezTo>
                <a:close/>
              </a:path>
            </a:pathLst>
          </a:custGeom>
          <a:solidFill>
            <a:schemeClr val="accent6"/>
          </a:solidFill>
        </p:spPr>
        <p:txBody>
          <a:bodyPr lIns="720000" tIns="1332000" rIns="720000"/>
          <a:lstStyle>
            <a:lvl1pPr marL="0" indent="0" algn="ctr" rtl="0" fontAlgn="base">
              <a:lnSpc>
                <a:spcPct val="90000"/>
              </a:lnSpc>
              <a:spcBef>
                <a:spcPts val="1000"/>
              </a:spcBef>
              <a:spcAft>
                <a:spcPct val="0"/>
              </a:spcAft>
              <a:buFontTx/>
              <a:buNone/>
              <a:defRPr sz="1200" b="0" i="0" kern="1200">
                <a:solidFill>
                  <a:schemeClr val="tx2"/>
                </a:solidFill>
                <a:latin typeface="Schibsted Grotesk Bold" pitchFamily="2" charset="77"/>
                <a:ea typeface="Schibsted Grotesk Bold" pitchFamily="2" charset="77"/>
                <a:cs typeface="Schibsted Grotesk Bold" pitchFamily="2" charset="77"/>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bg1"/>
                </a:solidFill>
                <a:latin typeface="+mn-lt"/>
                <a:ea typeface="Schibsted Grotesk Bold" pitchFamily="2" charset="77"/>
                <a:cs typeface="Schibsted Grotesk Bold" pitchFamily="2" charset="77"/>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bg1"/>
                </a:solidFill>
                <a:latin typeface="+mn-lt"/>
                <a:ea typeface="Schibsted Grotesk Bold" pitchFamily="2" charset="77"/>
                <a:cs typeface="Schibsted Grotesk Bold" pitchFamily="2" charset="77"/>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bg1"/>
                </a:solidFill>
                <a:latin typeface="+mn-lt"/>
                <a:ea typeface="Schibsted Grotesk Bold" pitchFamily="2" charset="77"/>
                <a:cs typeface="Schibsted Grotesk Bold" pitchFamily="2" charset="77"/>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bg1"/>
                </a:solidFill>
                <a:latin typeface="+mn-lt"/>
                <a:ea typeface="Schibsted Grotesk Bold" pitchFamily="2" charset="77"/>
                <a:cs typeface="Schibsted Grotesk Bold"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1000"/>
              </a:spcBef>
              <a:spcAft>
                <a:spcPct val="0"/>
              </a:spcAft>
              <a:buClrTx/>
              <a:buSzTx/>
              <a:buFontTx/>
              <a:buNone/>
              <a:tabLst/>
              <a:defRPr/>
            </a:pPr>
            <a:endParaRPr kumimoji="0" lang="en-US" sz="1200" b="0" i="0" u="none" strike="noStrike" kern="1200" cap="none" spc="0" normalizeH="0" baseline="0" noProof="0">
              <a:ln>
                <a:noFill/>
              </a:ln>
              <a:solidFill>
                <a:srgbClr val="FFD900"/>
              </a:solidFill>
              <a:effectLst/>
              <a:uLnTx/>
              <a:uFillTx/>
              <a:latin typeface="Schibsted Grotesk Bold" pitchFamily="2" charset="77"/>
              <a:cs typeface="Schibsted Grotesk Bold" pitchFamily="2" charset="77"/>
            </a:endParaRPr>
          </a:p>
        </p:txBody>
      </p:sp>
      <p:sp>
        <p:nvSpPr>
          <p:cNvPr id="3" name="Picture Placeholder 4">
            <a:extLst>
              <a:ext uri="{FF2B5EF4-FFF2-40B4-BE49-F238E27FC236}">
                <a16:creationId xmlns:a16="http://schemas.microsoft.com/office/drawing/2014/main" id="{40A75132-6903-E3A7-D56B-D26EB50841A3}"/>
              </a:ext>
            </a:extLst>
          </p:cNvPr>
          <p:cNvSpPr>
            <a:spLocks noGrp="1"/>
          </p:cNvSpPr>
          <p:nvPr>
            <p:ph type="pic" sz="quarter" idx="12"/>
          </p:nvPr>
        </p:nvSpPr>
        <p:spPr>
          <a:xfrm>
            <a:off x="6050977" y="683614"/>
            <a:ext cx="6140288" cy="6187086"/>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0288" h="6210534">
                <a:moveTo>
                  <a:pt x="1682562" y="6934"/>
                </a:moveTo>
                <a:cubicBezTo>
                  <a:pt x="3142372" y="-11995"/>
                  <a:pt x="4509513" y="14468"/>
                  <a:pt x="6132539" y="8710"/>
                </a:cubicBezTo>
                <a:lnTo>
                  <a:pt x="6140288" y="6210534"/>
                </a:lnTo>
                <a:lnTo>
                  <a:pt x="1569715" y="6189707"/>
                </a:lnTo>
                <a:cubicBezTo>
                  <a:pt x="1092863" y="4979736"/>
                  <a:pt x="479069" y="3572094"/>
                  <a:pt x="116877" y="2579732"/>
                </a:cubicBezTo>
                <a:cubicBezTo>
                  <a:pt x="-245315" y="1587370"/>
                  <a:pt x="222752" y="25863"/>
                  <a:pt x="1682562" y="6934"/>
                </a:cubicBezTo>
                <a:close/>
              </a:path>
            </a:pathLst>
          </a:custGeom>
          <a:pattFill prst="pct5">
            <a:fgClr>
              <a:schemeClr val="tx1"/>
            </a:fgClr>
            <a:bgClr>
              <a:schemeClr val="tx1">
                <a:lumMod val="65000"/>
              </a:schemeClr>
            </a:bgClr>
          </a:pattFill>
        </p:spPr>
        <p:txBody>
          <a:bodyPr lIns="720000" tIns="1332000" rIns="720000" rtlCol="0">
            <a:normAutofit/>
          </a:bodyPr>
          <a:lstStyle>
            <a:lvl1pPr marL="0" indent="0" algn="ctr">
              <a:buFontTx/>
              <a:buNone/>
              <a:defRPr sz="1200" b="0" i="0">
                <a:solidFill>
                  <a:schemeClr val="bg2"/>
                </a:solidFill>
                <a:latin typeface="Schibsted Grotesk Bold" pitchFamily="2" charset="77"/>
                <a:cs typeface="Schibsted Grotesk Bold" pitchFamily="2" charset="77"/>
              </a:defRPr>
            </a:lvl1pPr>
          </a:lstStyle>
          <a:p>
            <a:pPr lvl="0"/>
            <a:r>
              <a:rPr lang="en-US" noProof="0"/>
              <a:t>Click icon to add picture</a:t>
            </a:r>
          </a:p>
        </p:txBody>
      </p:sp>
      <p:sp>
        <p:nvSpPr>
          <p:cNvPr id="9" name="Title 1">
            <a:extLst>
              <a:ext uri="{FF2B5EF4-FFF2-40B4-BE49-F238E27FC236}">
                <a16:creationId xmlns:a16="http://schemas.microsoft.com/office/drawing/2014/main" id="{758B154F-DF30-E205-9A36-8F8AA51BCE6F}"/>
              </a:ext>
            </a:extLst>
          </p:cNvPr>
          <p:cNvSpPr>
            <a:spLocks noGrp="1"/>
          </p:cNvSpPr>
          <p:nvPr>
            <p:ph type="ctrTitle"/>
          </p:nvPr>
        </p:nvSpPr>
        <p:spPr>
          <a:xfrm>
            <a:off x="426379" y="1916920"/>
            <a:ext cx="5349765" cy="1603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defRPr lang="en-US" b="0" i="0" dirty="0">
                <a:solidFill>
                  <a:schemeClr val="tx2"/>
                </a:solidFill>
              </a:defRPr>
            </a:lvl1pPr>
          </a:lstStyle>
          <a:p>
            <a:pPr lvl="0"/>
            <a:r>
              <a:rPr lang="en-US"/>
              <a:t>Click to edit Master title style</a:t>
            </a:r>
          </a:p>
        </p:txBody>
      </p:sp>
      <p:sp>
        <p:nvSpPr>
          <p:cNvPr id="10" name="Subtitle 2">
            <a:extLst>
              <a:ext uri="{FF2B5EF4-FFF2-40B4-BE49-F238E27FC236}">
                <a16:creationId xmlns:a16="http://schemas.microsoft.com/office/drawing/2014/main" id="{CC8BF864-B4A5-BF3B-17E8-4BB5B1B1B9CC}"/>
              </a:ext>
            </a:extLst>
          </p:cNvPr>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tx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Yellow letters on a black background&#10;&#10;Description automatically generated">
            <a:extLst>
              <a:ext uri="{FF2B5EF4-FFF2-40B4-BE49-F238E27FC236}">
                <a16:creationId xmlns:a16="http://schemas.microsoft.com/office/drawing/2014/main" id="{B78AE1C9-59FB-4070-AB3E-A12D38D435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075" y="196497"/>
            <a:ext cx="2527329" cy="927100"/>
          </a:xfrm>
          <a:prstGeom prst="rect">
            <a:avLst/>
          </a:prstGeom>
        </p:spPr>
      </p:pic>
    </p:spTree>
    <p:extLst>
      <p:ext uri="{BB962C8B-B14F-4D97-AF65-F5344CB8AC3E}">
        <p14:creationId xmlns:p14="http://schemas.microsoft.com/office/powerpoint/2010/main" val="2480510508"/>
      </p:ext>
    </p:extLst>
  </p:cSld>
  <p:clrMapOvr>
    <a:overrideClrMapping bg1="dk1" tx1="lt1" bg2="dk2" tx2="lt2" accent1="accent1" accent2="accent2" accent3="accent3" accent4="accent4" accent5="accent5" accent6="accent6" hlink="hlink" folHlink="folHlink"/>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8">
    <p:bg>
      <p:bgPr>
        <a:solidFill>
          <a:schemeClr val="accent6"/>
        </a:solidFill>
        <a:effectLst/>
      </p:bgPr>
    </p:bg>
    <p:spTree>
      <p:nvGrpSpPr>
        <p:cNvPr id="1" name=""/>
        <p:cNvGrpSpPr/>
        <p:nvPr/>
      </p:nvGrpSpPr>
      <p:grpSpPr>
        <a:xfrm>
          <a:off x="0" y="0"/>
          <a:ext cx="0" cy="0"/>
          <a:chOff x="0" y="0"/>
          <a:chExt cx="0" cy="0"/>
        </a:xfrm>
      </p:grpSpPr>
      <p:sp>
        <p:nvSpPr>
          <p:cNvPr id="8" name="Title 1"/>
          <p:cNvSpPr>
            <a:spLocks noGrp="1"/>
          </p:cNvSpPr>
          <p:nvPr>
            <p:ph type="ctrTitle"/>
          </p:nvPr>
        </p:nvSpPr>
        <p:spPr>
          <a:xfrm>
            <a:off x="426379" y="1916920"/>
            <a:ext cx="5349765" cy="1603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defRPr lang="en-US" b="0" i="0" dirty="0">
                <a:solidFill>
                  <a:schemeClr val="bg2"/>
                </a:solidFill>
              </a:defRPr>
            </a:lvl1pPr>
          </a:lstStyle>
          <a:p>
            <a:pPr lvl="0"/>
            <a:r>
              <a:rPr lang="en-US"/>
              <a:t>Click to edit Master title style</a:t>
            </a:r>
          </a:p>
        </p:txBody>
      </p:sp>
      <p:sp>
        <p:nvSpPr>
          <p:cNvPr id="9" name="Subtitle 2"/>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bg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Picture Placeholder 4"/>
          <p:cNvSpPr>
            <a:spLocks noGrp="1"/>
          </p:cNvSpPr>
          <p:nvPr>
            <p:ph type="pic" sz="quarter" idx="10"/>
          </p:nvPr>
        </p:nvSpPr>
        <p:spPr>
          <a:xfrm>
            <a:off x="5154757" y="0"/>
            <a:ext cx="7062643" cy="6858000"/>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 name="connsiteX0" fmla="*/ 1645738 w 6103464"/>
              <a:gd name="connsiteY0" fmla="*/ 674629 h 6878229"/>
              <a:gd name="connsiteX1" fmla="*/ 6083189 w 6103464"/>
              <a:gd name="connsiteY1" fmla="*/ 0 h 6878229"/>
              <a:gd name="connsiteX2" fmla="*/ 6103464 w 6103464"/>
              <a:gd name="connsiteY2" fmla="*/ 6878229 h 6878229"/>
              <a:gd name="connsiteX3" fmla="*/ 1532891 w 6103464"/>
              <a:gd name="connsiteY3" fmla="*/ 6857402 h 6878229"/>
              <a:gd name="connsiteX4" fmla="*/ 80053 w 6103464"/>
              <a:gd name="connsiteY4" fmla="*/ 3247427 h 6878229"/>
              <a:gd name="connsiteX5" fmla="*/ 1645738 w 6103464"/>
              <a:gd name="connsiteY5" fmla="*/ 674629 h 6878229"/>
              <a:gd name="connsiteX0" fmla="*/ 2736124 w 7193850"/>
              <a:gd name="connsiteY0" fmla="*/ 674629 h 6878229"/>
              <a:gd name="connsiteX1" fmla="*/ 7173575 w 7193850"/>
              <a:gd name="connsiteY1" fmla="*/ 0 h 6878229"/>
              <a:gd name="connsiteX2" fmla="*/ 7193850 w 7193850"/>
              <a:gd name="connsiteY2" fmla="*/ 6878229 h 6878229"/>
              <a:gd name="connsiteX3" fmla="*/ 118071 w 7193850"/>
              <a:gd name="connsiteY3" fmla="*/ 6876191 h 6878229"/>
              <a:gd name="connsiteX4" fmla="*/ 1170439 w 7193850"/>
              <a:gd name="connsiteY4" fmla="*/ 3247427 h 6878229"/>
              <a:gd name="connsiteX5" fmla="*/ 2736124 w 7193850"/>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052368 w 7075779"/>
              <a:gd name="connsiteY4" fmla="*/ 3247427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2530439 w 7075779"/>
              <a:gd name="connsiteY4" fmla="*/ 2928013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540883 w 7075779"/>
              <a:gd name="connsiteY4" fmla="*/ 2715071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540883 w 7075779"/>
              <a:gd name="connsiteY4" fmla="*/ 2715071 h 6878229"/>
              <a:gd name="connsiteX5" fmla="*/ 2618053 w 7075779"/>
              <a:gd name="connsiteY5" fmla="*/ 674629 h 6878229"/>
              <a:gd name="connsiteX0" fmla="*/ 1359187 w 7075779"/>
              <a:gd name="connsiteY0" fmla="*/ 197801 h 7084070"/>
              <a:gd name="connsiteX1" fmla="*/ 7055504 w 7075779"/>
              <a:gd name="connsiteY1" fmla="*/ 205841 h 7084070"/>
              <a:gd name="connsiteX2" fmla="*/ 7075779 w 7075779"/>
              <a:gd name="connsiteY2" fmla="*/ 7084070 h 7084070"/>
              <a:gd name="connsiteX3" fmla="*/ 0 w 7075779"/>
              <a:gd name="connsiteY3" fmla="*/ 7082032 h 7084070"/>
              <a:gd name="connsiteX4" fmla="*/ 1540883 w 7075779"/>
              <a:gd name="connsiteY4" fmla="*/ 2920912 h 7084070"/>
              <a:gd name="connsiteX5" fmla="*/ 1359187 w 7075779"/>
              <a:gd name="connsiteY5" fmla="*/ 197801 h 7084070"/>
              <a:gd name="connsiteX0" fmla="*/ 1359187 w 7075779"/>
              <a:gd name="connsiteY0" fmla="*/ 11 h 6886280"/>
              <a:gd name="connsiteX1" fmla="*/ 7055504 w 7075779"/>
              <a:gd name="connsiteY1" fmla="*/ 8051 h 6886280"/>
              <a:gd name="connsiteX2" fmla="*/ 7075779 w 7075779"/>
              <a:gd name="connsiteY2" fmla="*/ 6886280 h 6886280"/>
              <a:gd name="connsiteX3" fmla="*/ 0 w 7075779"/>
              <a:gd name="connsiteY3" fmla="*/ 6884242 h 6886280"/>
              <a:gd name="connsiteX4" fmla="*/ 1540883 w 7075779"/>
              <a:gd name="connsiteY4" fmla="*/ 2723122 h 6886280"/>
              <a:gd name="connsiteX5" fmla="*/ 1359187 w 7075779"/>
              <a:gd name="connsiteY5" fmla="*/ 11 h 6886280"/>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378044 w 7075779"/>
              <a:gd name="connsiteY4" fmla="*/ 3086366 h 6886269"/>
              <a:gd name="connsiteX5" fmla="*/ 1359187 w 7075779"/>
              <a:gd name="connsiteY5" fmla="*/ 0 h 6886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75779" h="6886269">
                <a:moveTo>
                  <a:pt x="1359187" y="0"/>
                </a:moveTo>
                <a:lnTo>
                  <a:pt x="7055504" y="8040"/>
                </a:lnTo>
                <a:cubicBezTo>
                  <a:pt x="7062262" y="2300783"/>
                  <a:pt x="7069021" y="4593526"/>
                  <a:pt x="7075779" y="6886269"/>
                </a:cubicBezTo>
                <a:lnTo>
                  <a:pt x="0" y="6884231"/>
                </a:lnTo>
                <a:cubicBezTo>
                  <a:pt x="800803" y="4835017"/>
                  <a:pt x="1012724" y="4088015"/>
                  <a:pt x="1378044" y="3086366"/>
                </a:cubicBezTo>
                <a:cubicBezTo>
                  <a:pt x="1743364" y="2084717"/>
                  <a:pt x="1964635" y="1220855"/>
                  <a:pt x="1359187" y="0"/>
                </a:cubicBezTo>
                <a:close/>
              </a:path>
            </a:pathLst>
          </a:custGeom>
          <a:pattFill prst="pct5">
            <a:fgClr>
              <a:schemeClr val="bg1"/>
            </a:fgClr>
            <a:bgClr>
              <a:schemeClr val="bg1">
                <a:lumMod val="65000"/>
              </a:schemeClr>
            </a:bgClr>
          </a:pattFill>
        </p:spPr>
        <p:txBody>
          <a:bodyPr lIns="720000" tIns="1332000" rIns="720000" rtlCol="0">
            <a:normAutofit/>
          </a:bodyPr>
          <a:lstStyle>
            <a:lvl1pPr marL="0" indent="0" algn="ctr">
              <a:buFontTx/>
              <a:buNone/>
              <a:defRPr sz="1200" b="0" i="0">
                <a:solidFill>
                  <a:schemeClr val="tx2"/>
                </a:solidFill>
                <a:latin typeface="Schibsted Grotesk Bold" pitchFamily="2" charset="77"/>
              </a:defRPr>
            </a:lvl1pPr>
          </a:lstStyle>
          <a:p>
            <a:pPr lvl="0"/>
            <a:r>
              <a:rPr lang="en-US" noProof="0"/>
              <a:t>Click icon to add picture</a:t>
            </a:r>
          </a:p>
        </p:txBody>
      </p:sp>
      <p:pic>
        <p:nvPicPr>
          <p:cNvPr id="3" name="Picture 2" descr="Yellow letters on a black background&#10;&#10;Description automatically generated">
            <a:extLst>
              <a:ext uri="{FF2B5EF4-FFF2-40B4-BE49-F238E27FC236}">
                <a16:creationId xmlns:a16="http://schemas.microsoft.com/office/drawing/2014/main" id="{CB534262-B65E-8237-B007-625B2D43CD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075" y="196497"/>
            <a:ext cx="2527329" cy="927100"/>
          </a:xfrm>
          <a:prstGeom prst="rect">
            <a:avLst/>
          </a:prstGeom>
        </p:spPr>
      </p:pic>
    </p:spTree>
    <p:extLst>
      <p:ext uri="{BB962C8B-B14F-4D97-AF65-F5344CB8AC3E}">
        <p14:creationId xmlns:p14="http://schemas.microsoft.com/office/powerpoint/2010/main" val="297093446"/>
      </p:ext>
    </p:extLst>
  </p:cSld>
  <p:clrMapOvr>
    <a:overrideClrMapping bg1="lt1" tx1="dk1" bg2="lt2" tx2="dk2" accent1="accent1" accent2="accent2" accent3="accent3" accent4="accent4" accent5="accent5" accent6="accent6" hlink="hlink" folHlink="folHlink"/>
  </p:clrMapOvr>
  <p:transition spd="slow"/>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 of contents - 5 Chapt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0BE56-AFAF-4CD1-8444-B79DDCE8BC73}"/>
              </a:ext>
            </a:extLst>
          </p:cNvPr>
          <p:cNvSpPr>
            <a:spLocks noGrp="1"/>
          </p:cNvSpPr>
          <p:nvPr>
            <p:ph type="title"/>
          </p:nvPr>
        </p:nvSpPr>
        <p:spPr/>
        <p:txBody>
          <a:bodyPr anchor="b"/>
          <a:lstStyle/>
          <a:p>
            <a:r>
              <a:rPr lang="en-US"/>
              <a:t>Click to edit Master title style</a:t>
            </a:r>
            <a:endParaRPr lang="fr-BE"/>
          </a:p>
        </p:txBody>
      </p:sp>
      <p:sp>
        <p:nvSpPr>
          <p:cNvPr id="5" name="Footer Placeholder 4">
            <a:extLst>
              <a:ext uri="{FF2B5EF4-FFF2-40B4-BE49-F238E27FC236}">
                <a16:creationId xmlns:a16="http://schemas.microsoft.com/office/drawing/2014/main" id="{7D5DA016-2634-427D-87D9-40B8ADD1E4DA}"/>
              </a:ext>
            </a:extLst>
          </p:cNvPr>
          <p:cNvSpPr>
            <a:spLocks noGrp="1"/>
          </p:cNvSpPr>
          <p:nvPr>
            <p:ph type="ftr" sz="quarter" idx="11"/>
          </p:nvPr>
        </p:nvSpPr>
        <p:spPr>
          <a:xfrm>
            <a:off x="839416" y="6349531"/>
            <a:ext cx="3401588" cy="153888"/>
          </a:xfrm>
        </p:spPr>
        <p:txBody>
          <a:bodyPr/>
          <a:lstStyle/>
          <a:p>
            <a:r>
              <a:rPr lang="fr-BE"/>
              <a:t>Title of the presentation</a:t>
            </a:r>
          </a:p>
        </p:txBody>
      </p:sp>
      <p:sp>
        <p:nvSpPr>
          <p:cNvPr id="6" name="Slide Number Placeholder 5">
            <a:extLst>
              <a:ext uri="{FF2B5EF4-FFF2-40B4-BE49-F238E27FC236}">
                <a16:creationId xmlns:a16="http://schemas.microsoft.com/office/drawing/2014/main" id="{5ABCE68F-B38C-4691-92D9-EBF2E4A29960}"/>
              </a:ext>
            </a:extLst>
          </p:cNvPr>
          <p:cNvSpPr>
            <a:spLocks noGrp="1"/>
          </p:cNvSpPr>
          <p:nvPr>
            <p:ph type="sldNum" sz="quarter" idx="12"/>
          </p:nvPr>
        </p:nvSpPr>
        <p:spPr/>
        <p:txBody>
          <a:bodyPr/>
          <a:lstStyle/>
          <a:p>
            <a:fld id="{820150FD-603F-44AF-ADBB-D2D9D0B3C68D}" type="slidenum">
              <a:rPr lang="fr-BE" smtClean="0"/>
              <a:t>‹#›</a:t>
            </a:fld>
            <a:endParaRPr lang="fr-BE"/>
          </a:p>
        </p:txBody>
      </p:sp>
      <p:sp>
        <p:nvSpPr>
          <p:cNvPr id="9" name="Text Placeholder 8">
            <a:extLst>
              <a:ext uri="{FF2B5EF4-FFF2-40B4-BE49-F238E27FC236}">
                <a16:creationId xmlns:a16="http://schemas.microsoft.com/office/drawing/2014/main" id="{96DF4BB3-4BBE-459F-9A3D-6902F3A2F80C}"/>
              </a:ext>
            </a:extLst>
          </p:cNvPr>
          <p:cNvSpPr>
            <a:spLocks noGrp="1"/>
          </p:cNvSpPr>
          <p:nvPr>
            <p:ph type="body" sz="quarter" idx="13"/>
          </p:nvPr>
        </p:nvSpPr>
        <p:spPr>
          <a:xfrm>
            <a:off x="371475" y="945479"/>
            <a:ext cx="11449050" cy="360099"/>
          </a:xfrm>
        </p:spPr>
        <p:txBody>
          <a:bodyPr rIns="0">
            <a:spAutoFit/>
          </a:bodyPr>
          <a:lstStyle>
            <a:lvl1pPr marL="0" indent="0">
              <a:buNone/>
              <a:defRPr sz="2600" b="0">
                <a:solidFill>
                  <a:schemeClr val="accent1"/>
                </a:solidFill>
              </a:defRPr>
            </a:lvl1pPr>
          </a:lstStyle>
          <a:p>
            <a:pPr lvl="0"/>
            <a:r>
              <a:rPr lang="en-US"/>
              <a:t>Click to edit Master text styles</a:t>
            </a:r>
          </a:p>
        </p:txBody>
      </p:sp>
      <p:sp>
        <p:nvSpPr>
          <p:cNvPr id="13" name="Text Placeholder 8">
            <a:extLst>
              <a:ext uri="{FF2B5EF4-FFF2-40B4-BE49-F238E27FC236}">
                <a16:creationId xmlns:a16="http://schemas.microsoft.com/office/drawing/2014/main" id="{2B2907A2-432F-42D2-96E3-CC564DEAAD46}"/>
              </a:ext>
            </a:extLst>
          </p:cNvPr>
          <p:cNvSpPr>
            <a:spLocks noGrp="1"/>
          </p:cNvSpPr>
          <p:nvPr>
            <p:ph type="body" sz="quarter" idx="15"/>
          </p:nvPr>
        </p:nvSpPr>
        <p:spPr>
          <a:xfrm>
            <a:off x="1330772" y="2591871"/>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14" name="Text Placeholder 8">
            <a:extLst>
              <a:ext uri="{FF2B5EF4-FFF2-40B4-BE49-F238E27FC236}">
                <a16:creationId xmlns:a16="http://schemas.microsoft.com/office/drawing/2014/main" id="{76924CEC-C8B2-4028-A9D6-A30951AFD283}"/>
              </a:ext>
            </a:extLst>
          </p:cNvPr>
          <p:cNvSpPr>
            <a:spLocks noGrp="1"/>
          </p:cNvSpPr>
          <p:nvPr>
            <p:ph type="body" sz="quarter" idx="16" hasCustomPrompt="1"/>
          </p:nvPr>
        </p:nvSpPr>
        <p:spPr>
          <a:xfrm>
            <a:off x="374822" y="2240838"/>
            <a:ext cx="740587" cy="720197"/>
          </a:xfrm>
        </p:spPr>
        <p:txBody>
          <a:bodyPr wrap="none" rIns="0" anchor="b">
            <a:spAutoFit/>
          </a:bodyPr>
          <a:lstStyle>
            <a:lvl1pPr marL="0" indent="0" algn="l">
              <a:buNone/>
              <a:defRPr sz="5200" b="1">
                <a:solidFill>
                  <a:schemeClr val="accent1"/>
                </a:solidFill>
              </a:defRPr>
            </a:lvl1pPr>
          </a:lstStyle>
          <a:p>
            <a:pPr lvl="0"/>
            <a:r>
              <a:rPr lang="en-US"/>
              <a:t>##</a:t>
            </a:r>
            <a:endParaRPr lang="fr-BE"/>
          </a:p>
        </p:txBody>
      </p:sp>
      <p:sp>
        <p:nvSpPr>
          <p:cNvPr id="18" name="Text Placeholder 8">
            <a:extLst>
              <a:ext uri="{FF2B5EF4-FFF2-40B4-BE49-F238E27FC236}">
                <a16:creationId xmlns:a16="http://schemas.microsoft.com/office/drawing/2014/main" id="{A95BF971-64C3-4FE7-86BA-ECF4359790E4}"/>
              </a:ext>
            </a:extLst>
          </p:cNvPr>
          <p:cNvSpPr>
            <a:spLocks noGrp="1"/>
          </p:cNvSpPr>
          <p:nvPr>
            <p:ph type="body" sz="quarter" idx="17"/>
          </p:nvPr>
        </p:nvSpPr>
        <p:spPr>
          <a:xfrm>
            <a:off x="7054839" y="3110496"/>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19" name="Text Placeholder 8">
            <a:extLst>
              <a:ext uri="{FF2B5EF4-FFF2-40B4-BE49-F238E27FC236}">
                <a16:creationId xmlns:a16="http://schemas.microsoft.com/office/drawing/2014/main" id="{CC1EC8AB-9D4D-4BC7-8B76-009DB48803D3}"/>
              </a:ext>
            </a:extLst>
          </p:cNvPr>
          <p:cNvSpPr>
            <a:spLocks noGrp="1"/>
          </p:cNvSpPr>
          <p:nvPr>
            <p:ph type="body" sz="quarter" idx="18" hasCustomPrompt="1"/>
          </p:nvPr>
        </p:nvSpPr>
        <p:spPr>
          <a:xfrm>
            <a:off x="6098889" y="2759463"/>
            <a:ext cx="740587" cy="720197"/>
          </a:xfrm>
        </p:spPr>
        <p:txBody>
          <a:bodyPr wrap="none" rIns="0" anchor="b">
            <a:spAutoFit/>
          </a:bodyPr>
          <a:lstStyle>
            <a:lvl1pPr marL="0" indent="0" algn="l">
              <a:buNone/>
              <a:defRPr sz="5200" b="1">
                <a:solidFill>
                  <a:schemeClr val="accent4"/>
                </a:solidFill>
              </a:defRPr>
            </a:lvl1pPr>
          </a:lstStyle>
          <a:p>
            <a:pPr lvl="0"/>
            <a:r>
              <a:rPr lang="en-US"/>
              <a:t>##</a:t>
            </a:r>
            <a:endParaRPr lang="fr-BE"/>
          </a:p>
        </p:txBody>
      </p:sp>
      <p:sp>
        <p:nvSpPr>
          <p:cNvPr id="20" name="Text Placeholder 8">
            <a:extLst>
              <a:ext uri="{FF2B5EF4-FFF2-40B4-BE49-F238E27FC236}">
                <a16:creationId xmlns:a16="http://schemas.microsoft.com/office/drawing/2014/main" id="{61BD2841-28A9-483D-B724-6F7200EA54E1}"/>
              </a:ext>
            </a:extLst>
          </p:cNvPr>
          <p:cNvSpPr>
            <a:spLocks noGrp="1"/>
          </p:cNvSpPr>
          <p:nvPr>
            <p:ph type="body" sz="quarter" idx="19"/>
          </p:nvPr>
        </p:nvSpPr>
        <p:spPr>
          <a:xfrm>
            <a:off x="1330772" y="3629121"/>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1" name="Text Placeholder 8">
            <a:extLst>
              <a:ext uri="{FF2B5EF4-FFF2-40B4-BE49-F238E27FC236}">
                <a16:creationId xmlns:a16="http://schemas.microsoft.com/office/drawing/2014/main" id="{6E3F7BD7-968B-4062-B124-EEF487AD0EBB}"/>
              </a:ext>
            </a:extLst>
          </p:cNvPr>
          <p:cNvSpPr>
            <a:spLocks noGrp="1"/>
          </p:cNvSpPr>
          <p:nvPr>
            <p:ph type="body" sz="quarter" idx="20" hasCustomPrompt="1"/>
          </p:nvPr>
        </p:nvSpPr>
        <p:spPr>
          <a:xfrm>
            <a:off x="374822" y="3278088"/>
            <a:ext cx="740587" cy="720197"/>
          </a:xfrm>
        </p:spPr>
        <p:txBody>
          <a:bodyPr wrap="none" rIns="0" anchor="b">
            <a:spAutoFit/>
          </a:bodyPr>
          <a:lstStyle>
            <a:lvl1pPr marL="0" indent="0" algn="l">
              <a:buNone/>
              <a:defRPr sz="5200" b="1">
                <a:solidFill>
                  <a:schemeClr val="accent1">
                    <a:alpha val="60000"/>
                  </a:schemeClr>
                </a:solidFill>
              </a:defRPr>
            </a:lvl1pPr>
          </a:lstStyle>
          <a:p>
            <a:pPr lvl="0"/>
            <a:r>
              <a:rPr lang="en-US"/>
              <a:t>##</a:t>
            </a:r>
            <a:endParaRPr lang="fr-BE"/>
          </a:p>
        </p:txBody>
      </p:sp>
      <p:sp>
        <p:nvSpPr>
          <p:cNvPr id="22" name="Text Placeholder 8">
            <a:extLst>
              <a:ext uri="{FF2B5EF4-FFF2-40B4-BE49-F238E27FC236}">
                <a16:creationId xmlns:a16="http://schemas.microsoft.com/office/drawing/2014/main" id="{58AB3217-10D3-4A10-AD87-F5A9F855A98A}"/>
              </a:ext>
            </a:extLst>
          </p:cNvPr>
          <p:cNvSpPr>
            <a:spLocks noGrp="1"/>
          </p:cNvSpPr>
          <p:nvPr>
            <p:ph type="body" sz="quarter" idx="21"/>
          </p:nvPr>
        </p:nvSpPr>
        <p:spPr>
          <a:xfrm>
            <a:off x="7054839" y="4147746"/>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3" name="Text Placeholder 8">
            <a:extLst>
              <a:ext uri="{FF2B5EF4-FFF2-40B4-BE49-F238E27FC236}">
                <a16:creationId xmlns:a16="http://schemas.microsoft.com/office/drawing/2014/main" id="{0707CE93-A1C3-4F77-9C09-A5E0C1CC84AB}"/>
              </a:ext>
            </a:extLst>
          </p:cNvPr>
          <p:cNvSpPr>
            <a:spLocks noGrp="1"/>
          </p:cNvSpPr>
          <p:nvPr>
            <p:ph type="body" sz="quarter" idx="22" hasCustomPrompt="1"/>
          </p:nvPr>
        </p:nvSpPr>
        <p:spPr>
          <a:xfrm>
            <a:off x="6098889" y="3796713"/>
            <a:ext cx="740587" cy="720197"/>
          </a:xfrm>
        </p:spPr>
        <p:txBody>
          <a:bodyPr wrap="none" rIns="0" anchor="b">
            <a:spAutoFit/>
          </a:bodyPr>
          <a:lstStyle>
            <a:lvl1pPr marL="0" indent="0" algn="l">
              <a:buNone/>
              <a:defRPr sz="5200" b="1">
                <a:solidFill>
                  <a:schemeClr val="accent4">
                    <a:alpha val="60000"/>
                  </a:schemeClr>
                </a:solidFill>
              </a:defRPr>
            </a:lvl1pPr>
          </a:lstStyle>
          <a:p>
            <a:pPr lvl="0"/>
            <a:r>
              <a:rPr lang="en-US"/>
              <a:t>##</a:t>
            </a:r>
            <a:endParaRPr lang="fr-BE"/>
          </a:p>
        </p:txBody>
      </p:sp>
      <p:sp>
        <p:nvSpPr>
          <p:cNvPr id="24" name="Text Placeholder 8">
            <a:extLst>
              <a:ext uri="{FF2B5EF4-FFF2-40B4-BE49-F238E27FC236}">
                <a16:creationId xmlns:a16="http://schemas.microsoft.com/office/drawing/2014/main" id="{A68A9C2E-3BD8-4F8B-8271-9B331090E4EA}"/>
              </a:ext>
            </a:extLst>
          </p:cNvPr>
          <p:cNvSpPr>
            <a:spLocks noGrp="1"/>
          </p:cNvSpPr>
          <p:nvPr>
            <p:ph type="body" sz="quarter" idx="23"/>
          </p:nvPr>
        </p:nvSpPr>
        <p:spPr>
          <a:xfrm>
            <a:off x="1330772" y="4666371"/>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5" name="Text Placeholder 8">
            <a:extLst>
              <a:ext uri="{FF2B5EF4-FFF2-40B4-BE49-F238E27FC236}">
                <a16:creationId xmlns:a16="http://schemas.microsoft.com/office/drawing/2014/main" id="{B4A55B30-2834-4D57-B8EC-543B9220F353}"/>
              </a:ext>
            </a:extLst>
          </p:cNvPr>
          <p:cNvSpPr>
            <a:spLocks noGrp="1"/>
          </p:cNvSpPr>
          <p:nvPr>
            <p:ph type="body" sz="quarter" idx="24" hasCustomPrompt="1"/>
          </p:nvPr>
        </p:nvSpPr>
        <p:spPr>
          <a:xfrm>
            <a:off x="374822" y="4315338"/>
            <a:ext cx="740587" cy="720197"/>
          </a:xfrm>
        </p:spPr>
        <p:txBody>
          <a:bodyPr wrap="none" rIns="0" anchor="b">
            <a:spAutoFit/>
          </a:bodyPr>
          <a:lstStyle>
            <a:lvl1pPr marL="0" indent="0" algn="l">
              <a:buNone/>
              <a:defRPr sz="5200" b="1">
                <a:solidFill>
                  <a:schemeClr val="accent1">
                    <a:alpha val="40000"/>
                  </a:schemeClr>
                </a:solidFill>
              </a:defRPr>
            </a:lvl1pPr>
          </a:lstStyle>
          <a:p>
            <a:pPr lvl="0"/>
            <a:r>
              <a:rPr lang="en-US"/>
              <a:t>##</a:t>
            </a:r>
            <a:endParaRPr lang="fr-BE"/>
          </a:p>
        </p:txBody>
      </p:sp>
      <p:sp>
        <p:nvSpPr>
          <p:cNvPr id="28" name="Text Placeholder 8">
            <a:extLst>
              <a:ext uri="{FF2B5EF4-FFF2-40B4-BE49-F238E27FC236}">
                <a16:creationId xmlns:a16="http://schemas.microsoft.com/office/drawing/2014/main" id="{0A39934C-B52C-4EFF-90AD-F58A818C8CF7}"/>
              </a:ext>
            </a:extLst>
          </p:cNvPr>
          <p:cNvSpPr>
            <a:spLocks noGrp="1"/>
          </p:cNvSpPr>
          <p:nvPr>
            <p:ph type="body" sz="quarter" idx="27" hasCustomPrompt="1"/>
          </p:nvPr>
        </p:nvSpPr>
        <p:spPr>
          <a:xfrm>
            <a:off x="4439816" y="6349531"/>
            <a:ext cx="6120678" cy="153888"/>
          </a:xfrm>
        </p:spPr>
        <p:txBody>
          <a:bodyPr wrap="square" rIns="0" anchor="b">
            <a:spAutoFit/>
          </a:bodyPr>
          <a:lstStyle>
            <a:lvl1pPr marL="0" indent="0" algn="r">
              <a:lnSpc>
                <a:spcPct val="100000"/>
              </a:lnSpc>
              <a:spcBef>
                <a:spcPts val="600"/>
              </a:spcBef>
              <a:buNone/>
              <a:defRPr sz="1000" b="0">
                <a:solidFill>
                  <a:schemeClr val="accent5"/>
                </a:solidFill>
              </a:defRPr>
            </a:lvl1pPr>
          </a:lstStyle>
          <a:p>
            <a:pPr lvl="0"/>
            <a:r>
              <a:rPr lang="en-US"/>
              <a:t>Click to edit Master text styles</a:t>
            </a:r>
            <a:endParaRPr lang="fr-BE"/>
          </a:p>
        </p:txBody>
      </p:sp>
    </p:spTree>
    <p:extLst>
      <p:ext uri="{BB962C8B-B14F-4D97-AF65-F5344CB8AC3E}">
        <p14:creationId xmlns:p14="http://schemas.microsoft.com/office/powerpoint/2010/main" val="7383278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ver 9">
    <p:bg>
      <p:bgPr>
        <a:solidFill>
          <a:schemeClr val="bg2"/>
        </a:solidFill>
        <a:effectLst/>
      </p:bgPr>
    </p:bg>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id="{F9A97BBF-9399-153F-484A-01203F6DAD42}"/>
              </a:ext>
            </a:extLst>
          </p:cNvPr>
          <p:cNvSpPr/>
          <p:nvPr userDrawn="1"/>
        </p:nvSpPr>
        <p:spPr>
          <a:xfrm>
            <a:off x="-7938" y="0"/>
            <a:ext cx="7859713" cy="5464175"/>
          </a:xfrm>
          <a:custGeom>
            <a:avLst/>
            <a:gdLst>
              <a:gd name="connsiteX0" fmla="*/ 0 w 7852229"/>
              <a:gd name="connsiteY0" fmla="*/ 0 h 5464629"/>
              <a:gd name="connsiteX1" fmla="*/ 7852229 w 7852229"/>
              <a:gd name="connsiteY1" fmla="*/ 0 h 5464629"/>
              <a:gd name="connsiteX2" fmla="*/ 7852229 w 7852229"/>
              <a:gd name="connsiteY2" fmla="*/ 5464629 h 5464629"/>
              <a:gd name="connsiteX3" fmla="*/ 0 w 7852229"/>
              <a:gd name="connsiteY3" fmla="*/ 5464629 h 5464629"/>
              <a:gd name="connsiteX4" fmla="*/ 0 w 7852229"/>
              <a:gd name="connsiteY4" fmla="*/ 0 h 5464629"/>
              <a:gd name="connsiteX0" fmla="*/ 0 w 7852229"/>
              <a:gd name="connsiteY0" fmla="*/ 0 h 5464629"/>
              <a:gd name="connsiteX1" fmla="*/ 7852229 w 7852229"/>
              <a:gd name="connsiteY1" fmla="*/ 0 h 5464629"/>
              <a:gd name="connsiteX2" fmla="*/ 7844971 w 7852229"/>
              <a:gd name="connsiteY2" fmla="*/ 4034971 h 5464629"/>
              <a:gd name="connsiteX3" fmla="*/ 7852229 w 7852229"/>
              <a:gd name="connsiteY3" fmla="*/ 5464629 h 5464629"/>
              <a:gd name="connsiteX4" fmla="*/ 0 w 7852229"/>
              <a:gd name="connsiteY4" fmla="*/ 5464629 h 5464629"/>
              <a:gd name="connsiteX5" fmla="*/ 0 w 7852229"/>
              <a:gd name="connsiteY5" fmla="*/ 0 h 5464629"/>
              <a:gd name="connsiteX0" fmla="*/ 0 w 7852229"/>
              <a:gd name="connsiteY0" fmla="*/ 0 h 5471886"/>
              <a:gd name="connsiteX1" fmla="*/ 7852229 w 7852229"/>
              <a:gd name="connsiteY1" fmla="*/ 0 h 5471886"/>
              <a:gd name="connsiteX2" fmla="*/ 7844971 w 7852229"/>
              <a:gd name="connsiteY2" fmla="*/ 4034971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28458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93658"/>
              <a:gd name="connsiteX1" fmla="*/ 7859486 w 7859486"/>
              <a:gd name="connsiteY1" fmla="*/ 0 h 5493658"/>
              <a:gd name="connsiteX2" fmla="*/ 6320970 w 7859486"/>
              <a:gd name="connsiteY2" fmla="*/ 4049485 h 5493658"/>
              <a:gd name="connsiteX3" fmla="*/ 4535715 w 7859486"/>
              <a:gd name="connsiteY3" fmla="*/ 5464629 h 5493658"/>
              <a:gd name="connsiteX4" fmla="*/ 1632857 w 7859486"/>
              <a:gd name="connsiteY4" fmla="*/ 5493658 h 5493658"/>
              <a:gd name="connsiteX5" fmla="*/ 0 w 7859486"/>
              <a:gd name="connsiteY5" fmla="*/ 4782458 h 5493658"/>
              <a:gd name="connsiteX6" fmla="*/ 7257 w 7859486"/>
              <a:gd name="connsiteY6" fmla="*/ 0 h 5493658"/>
              <a:gd name="connsiteX0" fmla="*/ 7257 w 7859486"/>
              <a:gd name="connsiteY0" fmla="*/ 0 h 5464629"/>
              <a:gd name="connsiteX1" fmla="*/ 7859486 w 7859486"/>
              <a:gd name="connsiteY1" fmla="*/ 0 h 5464629"/>
              <a:gd name="connsiteX2" fmla="*/ 6320970 w 7859486"/>
              <a:gd name="connsiteY2" fmla="*/ 4049485 h 5464629"/>
              <a:gd name="connsiteX3" fmla="*/ 4535715 w 7859486"/>
              <a:gd name="connsiteY3" fmla="*/ 5464629 h 5464629"/>
              <a:gd name="connsiteX4" fmla="*/ 1516743 w 7859486"/>
              <a:gd name="connsiteY4" fmla="*/ 5457372 h 5464629"/>
              <a:gd name="connsiteX5" fmla="*/ 0 w 7859486"/>
              <a:gd name="connsiteY5" fmla="*/ 4782458 h 5464629"/>
              <a:gd name="connsiteX6" fmla="*/ 7257 w 7859486"/>
              <a:gd name="connsiteY6" fmla="*/ 0 h 546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59486" h="5464629">
                <a:moveTo>
                  <a:pt x="7257" y="0"/>
                </a:moveTo>
                <a:lnTo>
                  <a:pt x="7859486" y="0"/>
                </a:lnTo>
                <a:cubicBezTo>
                  <a:pt x="7320039" y="1446589"/>
                  <a:pt x="6816875" y="2733524"/>
                  <a:pt x="6320970" y="4049485"/>
                </a:cubicBezTo>
                <a:cubicBezTo>
                  <a:pt x="6033104" y="4765524"/>
                  <a:pt x="5396896" y="5445276"/>
                  <a:pt x="4535715" y="5464629"/>
                </a:cubicBezTo>
                <a:lnTo>
                  <a:pt x="1516743" y="5457372"/>
                </a:lnTo>
                <a:cubicBezTo>
                  <a:pt x="984552" y="5452534"/>
                  <a:pt x="488647" y="5346095"/>
                  <a:pt x="0" y="4782458"/>
                </a:cubicBezTo>
                <a:lnTo>
                  <a:pt x="7257"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chibsted Grotesk Bold" pitchFamily="2" charset="77"/>
              <a:ea typeface="+mn-ea"/>
              <a:cs typeface="+mn-cs"/>
            </a:endParaRPr>
          </a:p>
        </p:txBody>
      </p:sp>
      <p:sp>
        <p:nvSpPr>
          <p:cNvPr id="10" name="Picture Placeholder 4"/>
          <p:cNvSpPr>
            <a:spLocks noGrp="1"/>
          </p:cNvSpPr>
          <p:nvPr>
            <p:ph type="pic" sz="quarter" idx="10"/>
          </p:nvPr>
        </p:nvSpPr>
        <p:spPr>
          <a:xfrm>
            <a:off x="3954275" y="478641"/>
            <a:ext cx="8262794" cy="6379359"/>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 name="connsiteX0" fmla="*/ 1645738 w 6103464"/>
              <a:gd name="connsiteY0" fmla="*/ 674629 h 6878229"/>
              <a:gd name="connsiteX1" fmla="*/ 6083189 w 6103464"/>
              <a:gd name="connsiteY1" fmla="*/ 0 h 6878229"/>
              <a:gd name="connsiteX2" fmla="*/ 6103464 w 6103464"/>
              <a:gd name="connsiteY2" fmla="*/ 6878229 h 6878229"/>
              <a:gd name="connsiteX3" fmla="*/ 1532891 w 6103464"/>
              <a:gd name="connsiteY3" fmla="*/ 6857402 h 6878229"/>
              <a:gd name="connsiteX4" fmla="*/ 80053 w 6103464"/>
              <a:gd name="connsiteY4" fmla="*/ 3247427 h 6878229"/>
              <a:gd name="connsiteX5" fmla="*/ 1645738 w 6103464"/>
              <a:gd name="connsiteY5" fmla="*/ 674629 h 6878229"/>
              <a:gd name="connsiteX0" fmla="*/ 2736124 w 7193850"/>
              <a:gd name="connsiteY0" fmla="*/ 674629 h 6878229"/>
              <a:gd name="connsiteX1" fmla="*/ 7173575 w 7193850"/>
              <a:gd name="connsiteY1" fmla="*/ 0 h 6878229"/>
              <a:gd name="connsiteX2" fmla="*/ 7193850 w 7193850"/>
              <a:gd name="connsiteY2" fmla="*/ 6878229 h 6878229"/>
              <a:gd name="connsiteX3" fmla="*/ 118071 w 7193850"/>
              <a:gd name="connsiteY3" fmla="*/ 6876191 h 6878229"/>
              <a:gd name="connsiteX4" fmla="*/ 1170439 w 7193850"/>
              <a:gd name="connsiteY4" fmla="*/ 3247427 h 6878229"/>
              <a:gd name="connsiteX5" fmla="*/ 2736124 w 7193850"/>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052368 w 7075779"/>
              <a:gd name="connsiteY4" fmla="*/ 3247427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2530439 w 7075779"/>
              <a:gd name="connsiteY4" fmla="*/ 2928013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540883 w 7075779"/>
              <a:gd name="connsiteY4" fmla="*/ 2715071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540883 w 7075779"/>
              <a:gd name="connsiteY4" fmla="*/ 2715071 h 6878229"/>
              <a:gd name="connsiteX5" fmla="*/ 2618053 w 7075779"/>
              <a:gd name="connsiteY5" fmla="*/ 674629 h 6878229"/>
              <a:gd name="connsiteX0" fmla="*/ 1359187 w 7075779"/>
              <a:gd name="connsiteY0" fmla="*/ 197801 h 7084070"/>
              <a:gd name="connsiteX1" fmla="*/ 7055504 w 7075779"/>
              <a:gd name="connsiteY1" fmla="*/ 205841 h 7084070"/>
              <a:gd name="connsiteX2" fmla="*/ 7075779 w 7075779"/>
              <a:gd name="connsiteY2" fmla="*/ 7084070 h 7084070"/>
              <a:gd name="connsiteX3" fmla="*/ 0 w 7075779"/>
              <a:gd name="connsiteY3" fmla="*/ 7082032 h 7084070"/>
              <a:gd name="connsiteX4" fmla="*/ 1540883 w 7075779"/>
              <a:gd name="connsiteY4" fmla="*/ 2920912 h 7084070"/>
              <a:gd name="connsiteX5" fmla="*/ 1359187 w 7075779"/>
              <a:gd name="connsiteY5" fmla="*/ 197801 h 7084070"/>
              <a:gd name="connsiteX0" fmla="*/ 1359187 w 7075779"/>
              <a:gd name="connsiteY0" fmla="*/ 11 h 6886280"/>
              <a:gd name="connsiteX1" fmla="*/ 7055504 w 7075779"/>
              <a:gd name="connsiteY1" fmla="*/ 8051 h 6886280"/>
              <a:gd name="connsiteX2" fmla="*/ 7075779 w 7075779"/>
              <a:gd name="connsiteY2" fmla="*/ 6886280 h 6886280"/>
              <a:gd name="connsiteX3" fmla="*/ 0 w 7075779"/>
              <a:gd name="connsiteY3" fmla="*/ 6884242 h 6886280"/>
              <a:gd name="connsiteX4" fmla="*/ 1540883 w 7075779"/>
              <a:gd name="connsiteY4" fmla="*/ 2723122 h 6886280"/>
              <a:gd name="connsiteX5" fmla="*/ 1359187 w 7075779"/>
              <a:gd name="connsiteY5" fmla="*/ 11 h 6886280"/>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378044 w 7075779"/>
              <a:gd name="connsiteY4" fmla="*/ 3086366 h 6886269"/>
              <a:gd name="connsiteX5" fmla="*/ 1359187 w 7075779"/>
              <a:gd name="connsiteY5" fmla="*/ 0 h 6886269"/>
              <a:gd name="connsiteX0" fmla="*/ 2216437 w 7075779"/>
              <a:gd name="connsiteY0" fmla="*/ 512660 h 6878229"/>
              <a:gd name="connsiteX1" fmla="*/ 7055504 w 7075779"/>
              <a:gd name="connsiteY1" fmla="*/ 0 h 6878229"/>
              <a:gd name="connsiteX2" fmla="*/ 7075779 w 7075779"/>
              <a:gd name="connsiteY2" fmla="*/ 6878229 h 6878229"/>
              <a:gd name="connsiteX3" fmla="*/ 0 w 7075779"/>
              <a:gd name="connsiteY3" fmla="*/ 6876191 h 6878229"/>
              <a:gd name="connsiteX4" fmla="*/ 1378044 w 7075779"/>
              <a:gd name="connsiteY4" fmla="*/ 3078326 h 6878229"/>
              <a:gd name="connsiteX5" fmla="*/ 2216437 w 7075779"/>
              <a:gd name="connsiteY5" fmla="*/ 512660 h 6878229"/>
              <a:gd name="connsiteX0" fmla="*/ 2216437 w 7075779"/>
              <a:gd name="connsiteY0" fmla="*/ 512660 h 6878229"/>
              <a:gd name="connsiteX1" fmla="*/ 7055504 w 7075779"/>
              <a:gd name="connsiteY1" fmla="*/ 0 h 6878229"/>
              <a:gd name="connsiteX2" fmla="*/ 7075779 w 7075779"/>
              <a:gd name="connsiteY2" fmla="*/ 6878229 h 6878229"/>
              <a:gd name="connsiteX3" fmla="*/ 0 w 7075779"/>
              <a:gd name="connsiteY3" fmla="*/ 6876191 h 6878229"/>
              <a:gd name="connsiteX4" fmla="*/ 1378044 w 7075779"/>
              <a:gd name="connsiteY4" fmla="*/ 3078326 h 6878229"/>
              <a:gd name="connsiteX5" fmla="*/ 2216437 w 7075779"/>
              <a:gd name="connsiteY5" fmla="*/ 512660 h 6878229"/>
              <a:gd name="connsiteX0" fmla="*/ 2216437 w 7075779"/>
              <a:gd name="connsiteY0" fmla="*/ 17360 h 6382929"/>
              <a:gd name="connsiteX1" fmla="*/ 4623454 w 7075779"/>
              <a:gd name="connsiteY1" fmla="*/ 0 h 6382929"/>
              <a:gd name="connsiteX2" fmla="*/ 7075779 w 7075779"/>
              <a:gd name="connsiteY2" fmla="*/ 6382929 h 6382929"/>
              <a:gd name="connsiteX3" fmla="*/ 0 w 7075779"/>
              <a:gd name="connsiteY3" fmla="*/ 6380891 h 6382929"/>
              <a:gd name="connsiteX4" fmla="*/ 1378044 w 7075779"/>
              <a:gd name="connsiteY4" fmla="*/ 2583026 h 6382929"/>
              <a:gd name="connsiteX5" fmla="*/ 2216437 w 7075779"/>
              <a:gd name="connsiteY5" fmla="*/ 17360 h 6382929"/>
              <a:gd name="connsiteX0" fmla="*/ 2216437 w 7682069"/>
              <a:gd name="connsiteY0" fmla="*/ 17360 h 6492927"/>
              <a:gd name="connsiteX1" fmla="*/ 4623454 w 7682069"/>
              <a:gd name="connsiteY1" fmla="*/ 0 h 6492927"/>
              <a:gd name="connsiteX2" fmla="*/ 7024544 w 7682069"/>
              <a:gd name="connsiteY2" fmla="*/ 5866803 h 6492927"/>
              <a:gd name="connsiteX3" fmla="*/ 7075779 w 7682069"/>
              <a:gd name="connsiteY3" fmla="*/ 6382929 h 6492927"/>
              <a:gd name="connsiteX4" fmla="*/ 0 w 7682069"/>
              <a:gd name="connsiteY4" fmla="*/ 6380891 h 6492927"/>
              <a:gd name="connsiteX5" fmla="*/ 1378044 w 7682069"/>
              <a:gd name="connsiteY5" fmla="*/ 2583026 h 6492927"/>
              <a:gd name="connsiteX6" fmla="*/ 2216437 w 7682069"/>
              <a:gd name="connsiteY6" fmla="*/ 17360 h 6492927"/>
              <a:gd name="connsiteX0" fmla="*/ 2216437 w 7658705"/>
              <a:gd name="connsiteY0" fmla="*/ 17360 h 6435474"/>
              <a:gd name="connsiteX1" fmla="*/ 4623454 w 7658705"/>
              <a:gd name="connsiteY1" fmla="*/ 0 h 6435474"/>
              <a:gd name="connsiteX2" fmla="*/ 5151294 w 7658705"/>
              <a:gd name="connsiteY2" fmla="*/ 901103 h 6435474"/>
              <a:gd name="connsiteX3" fmla="*/ 7024544 w 7658705"/>
              <a:gd name="connsiteY3" fmla="*/ 5866803 h 6435474"/>
              <a:gd name="connsiteX4" fmla="*/ 7075779 w 7658705"/>
              <a:gd name="connsiteY4" fmla="*/ 6382929 h 6435474"/>
              <a:gd name="connsiteX5" fmla="*/ 0 w 7658705"/>
              <a:gd name="connsiteY5" fmla="*/ 6380891 h 6435474"/>
              <a:gd name="connsiteX6" fmla="*/ 1378044 w 7658705"/>
              <a:gd name="connsiteY6" fmla="*/ 2583026 h 6435474"/>
              <a:gd name="connsiteX7" fmla="*/ 2216437 w 7658705"/>
              <a:gd name="connsiteY7" fmla="*/ 17360 h 6435474"/>
              <a:gd name="connsiteX0" fmla="*/ 3384837 w 8827105"/>
              <a:gd name="connsiteY0" fmla="*/ 17360 h 6435474"/>
              <a:gd name="connsiteX1" fmla="*/ 5791854 w 8827105"/>
              <a:gd name="connsiteY1" fmla="*/ 0 h 6435474"/>
              <a:gd name="connsiteX2" fmla="*/ 6319694 w 8827105"/>
              <a:gd name="connsiteY2" fmla="*/ 901103 h 6435474"/>
              <a:gd name="connsiteX3" fmla="*/ 8192944 w 8827105"/>
              <a:gd name="connsiteY3" fmla="*/ 5866803 h 6435474"/>
              <a:gd name="connsiteX4" fmla="*/ 8244179 w 8827105"/>
              <a:gd name="connsiteY4" fmla="*/ 6382929 h 6435474"/>
              <a:gd name="connsiteX5" fmla="*/ 0 w 8827105"/>
              <a:gd name="connsiteY5" fmla="*/ 6374541 h 6435474"/>
              <a:gd name="connsiteX6" fmla="*/ 2546444 w 8827105"/>
              <a:gd name="connsiteY6" fmla="*/ 2583026 h 6435474"/>
              <a:gd name="connsiteX7" fmla="*/ 3384837 w 8827105"/>
              <a:gd name="connsiteY7" fmla="*/ 17360 h 6435474"/>
              <a:gd name="connsiteX0" fmla="*/ 3384837 w 8841176"/>
              <a:gd name="connsiteY0" fmla="*/ 17360 h 6382929"/>
              <a:gd name="connsiteX1" fmla="*/ 5791854 w 8841176"/>
              <a:gd name="connsiteY1" fmla="*/ 0 h 6382929"/>
              <a:gd name="connsiteX2" fmla="*/ 6319694 w 8841176"/>
              <a:gd name="connsiteY2" fmla="*/ 901103 h 6382929"/>
              <a:gd name="connsiteX3" fmla="*/ 8237394 w 8841176"/>
              <a:gd name="connsiteY3" fmla="*/ 3491903 h 6382929"/>
              <a:gd name="connsiteX4" fmla="*/ 8244179 w 8841176"/>
              <a:gd name="connsiteY4" fmla="*/ 6382929 h 6382929"/>
              <a:gd name="connsiteX5" fmla="*/ 0 w 8841176"/>
              <a:gd name="connsiteY5" fmla="*/ 6374541 h 6382929"/>
              <a:gd name="connsiteX6" fmla="*/ 2546444 w 8841176"/>
              <a:gd name="connsiteY6" fmla="*/ 2583026 h 6382929"/>
              <a:gd name="connsiteX7" fmla="*/ 3384837 w 8841176"/>
              <a:gd name="connsiteY7" fmla="*/ 17360 h 6382929"/>
              <a:gd name="connsiteX0" fmla="*/ 3384837 w 8841176"/>
              <a:gd name="connsiteY0" fmla="*/ 17360 h 6382929"/>
              <a:gd name="connsiteX1" fmla="*/ 5791854 w 8841176"/>
              <a:gd name="connsiteY1" fmla="*/ 0 h 6382929"/>
              <a:gd name="connsiteX2" fmla="*/ 6319694 w 8841176"/>
              <a:gd name="connsiteY2" fmla="*/ 901103 h 6382929"/>
              <a:gd name="connsiteX3" fmla="*/ 8237394 w 8841176"/>
              <a:gd name="connsiteY3" fmla="*/ 3491903 h 6382929"/>
              <a:gd name="connsiteX4" fmla="*/ 8244179 w 8841176"/>
              <a:gd name="connsiteY4" fmla="*/ 6382929 h 6382929"/>
              <a:gd name="connsiteX5" fmla="*/ 0 w 8841176"/>
              <a:gd name="connsiteY5" fmla="*/ 6374541 h 6382929"/>
              <a:gd name="connsiteX6" fmla="*/ 2546444 w 8841176"/>
              <a:gd name="connsiteY6" fmla="*/ 2583026 h 6382929"/>
              <a:gd name="connsiteX7" fmla="*/ 3384837 w 8841176"/>
              <a:gd name="connsiteY7" fmla="*/ 17360 h 6382929"/>
              <a:gd name="connsiteX0" fmla="*/ 3384837 w 8760679"/>
              <a:gd name="connsiteY0" fmla="*/ 17360 h 6382929"/>
              <a:gd name="connsiteX1" fmla="*/ 5791854 w 8760679"/>
              <a:gd name="connsiteY1" fmla="*/ 0 h 6382929"/>
              <a:gd name="connsiteX2" fmla="*/ 6319694 w 8760679"/>
              <a:gd name="connsiteY2" fmla="*/ 901103 h 6382929"/>
              <a:gd name="connsiteX3" fmla="*/ 8237394 w 8760679"/>
              <a:gd name="connsiteY3" fmla="*/ 3491903 h 6382929"/>
              <a:gd name="connsiteX4" fmla="*/ 8244179 w 8760679"/>
              <a:gd name="connsiteY4" fmla="*/ 6382929 h 6382929"/>
              <a:gd name="connsiteX5" fmla="*/ 0 w 8760679"/>
              <a:gd name="connsiteY5" fmla="*/ 6374541 h 6382929"/>
              <a:gd name="connsiteX6" fmla="*/ 2546444 w 8760679"/>
              <a:gd name="connsiteY6" fmla="*/ 2583026 h 6382929"/>
              <a:gd name="connsiteX7" fmla="*/ 3384837 w 8760679"/>
              <a:gd name="connsiteY7" fmla="*/ 17360 h 6382929"/>
              <a:gd name="connsiteX0" fmla="*/ 3384837 w 8767257"/>
              <a:gd name="connsiteY0" fmla="*/ 17360 h 6382929"/>
              <a:gd name="connsiteX1" fmla="*/ 5791854 w 8767257"/>
              <a:gd name="connsiteY1" fmla="*/ 0 h 6382929"/>
              <a:gd name="connsiteX2" fmla="*/ 6319694 w 8767257"/>
              <a:gd name="connsiteY2" fmla="*/ 901103 h 6382929"/>
              <a:gd name="connsiteX3" fmla="*/ 8262794 w 8767257"/>
              <a:gd name="connsiteY3" fmla="*/ 3530003 h 6382929"/>
              <a:gd name="connsiteX4" fmla="*/ 8244179 w 8767257"/>
              <a:gd name="connsiteY4" fmla="*/ 6382929 h 6382929"/>
              <a:gd name="connsiteX5" fmla="*/ 0 w 8767257"/>
              <a:gd name="connsiteY5" fmla="*/ 6374541 h 6382929"/>
              <a:gd name="connsiteX6" fmla="*/ 2546444 w 8767257"/>
              <a:gd name="connsiteY6" fmla="*/ 2583026 h 6382929"/>
              <a:gd name="connsiteX7" fmla="*/ 3384837 w 8767257"/>
              <a:gd name="connsiteY7" fmla="*/ 17360 h 6382929"/>
              <a:gd name="connsiteX0" fmla="*/ 3384837 w 8262794"/>
              <a:gd name="connsiteY0" fmla="*/ 17360 h 6382929"/>
              <a:gd name="connsiteX1" fmla="*/ 5791854 w 8262794"/>
              <a:gd name="connsiteY1" fmla="*/ 0 h 6382929"/>
              <a:gd name="connsiteX2" fmla="*/ 6319694 w 8262794"/>
              <a:gd name="connsiteY2" fmla="*/ 9011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79185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79185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79185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120994 w 8262794"/>
              <a:gd name="connsiteY6" fmla="*/ 18464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120994 w 8262794"/>
              <a:gd name="connsiteY6" fmla="*/ 18464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082894 w 8262794"/>
              <a:gd name="connsiteY6" fmla="*/ 18337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082894 w 8262794"/>
              <a:gd name="connsiteY6" fmla="*/ 1833726 h 6382929"/>
              <a:gd name="connsiteX7" fmla="*/ 3384837 w 8262794"/>
              <a:gd name="connsiteY7" fmla="*/ 17360 h 638292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82894 w 8262794"/>
              <a:gd name="connsiteY6" fmla="*/ 1835416 h 6384619"/>
              <a:gd name="connsiteX7" fmla="*/ 3886487 w 8262794"/>
              <a:gd name="connsiteY7"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82894 w 8262794"/>
              <a:gd name="connsiteY6" fmla="*/ 1835416 h 6384619"/>
              <a:gd name="connsiteX7" fmla="*/ 3886487 w 8262794"/>
              <a:gd name="connsiteY7"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82894 w 8262794"/>
              <a:gd name="connsiteY6" fmla="*/ 1835416 h 6384619"/>
              <a:gd name="connsiteX7" fmla="*/ 3886487 w 8262794"/>
              <a:gd name="connsiteY7"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00344 w 8262794"/>
              <a:gd name="connsiteY6" fmla="*/ 1822716 h 6384619"/>
              <a:gd name="connsiteX7" fmla="*/ 3886487 w 8262794"/>
              <a:gd name="connsiteY7"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00344 w 8262794"/>
              <a:gd name="connsiteY6" fmla="*/ 1822716 h 6384619"/>
              <a:gd name="connsiteX7" fmla="*/ 3886487 w 8262794"/>
              <a:gd name="connsiteY7" fmla="*/ 0 h 6384619"/>
              <a:gd name="connsiteX0" fmla="*/ 4394383 w 8770690"/>
              <a:gd name="connsiteY0" fmla="*/ 0 h 6384619"/>
              <a:gd name="connsiteX1" fmla="*/ 6039400 w 8770690"/>
              <a:gd name="connsiteY1" fmla="*/ 1690 h 6384619"/>
              <a:gd name="connsiteX2" fmla="*/ 7691190 w 8770690"/>
              <a:gd name="connsiteY2" fmla="*/ 953593 h 6384619"/>
              <a:gd name="connsiteX3" fmla="*/ 8770690 w 8770690"/>
              <a:gd name="connsiteY3" fmla="*/ 3531693 h 6384619"/>
              <a:gd name="connsiteX4" fmla="*/ 8752075 w 8770690"/>
              <a:gd name="connsiteY4" fmla="*/ 6384619 h 6384619"/>
              <a:gd name="connsiteX5" fmla="*/ 507896 w 8770690"/>
              <a:gd name="connsiteY5" fmla="*/ 6376231 h 6384619"/>
              <a:gd name="connsiteX6" fmla="*/ 1066186 w 8770690"/>
              <a:gd name="connsiteY6" fmla="*/ 4968748 h 6384619"/>
              <a:gd name="connsiteX7" fmla="*/ 2508240 w 8770690"/>
              <a:gd name="connsiteY7" fmla="*/ 1822716 h 6384619"/>
              <a:gd name="connsiteX8" fmla="*/ 4394383 w 8770690"/>
              <a:gd name="connsiteY8"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558290 w 8262794"/>
              <a:gd name="connsiteY6" fmla="*/ 4968748 h 6384619"/>
              <a:gd name="connsiteX7" fmla="*/ 2000344 w 8262794"/>
              <a:gd name="connsiteY7" fmla="*/ 1822716 h 6384619"/>
              <a:gd name="connsiteX8" fmla="*/ 3886487 w 8262794"/>
              <a:gd name="connsiteY8"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558290 w 8262794"/>
              <a:gd name="connsiteY6" fmla="*/ 4968748 h 6384619"/>
              <a:gd name="connsiteX7" fmla="*/ 2000344 w 8262794"/>
              <a:gd name="connsiteY7" fmla="*/ 1822716 h 6384619"/>
              <a:gd name="connsiteX8" fmla="*/ 3886487 w 8262794"/>
              <a:gd name="connsiteY8" fmla="*/ 0 h 6384619"/>
              <a:gd name="connsiteX0" fmla="*/ 3886487 w 8262794"/>
              <a:gd name="connsiteY0" fmla="*/ 127428 h 6512047"/>
              <a:gd name="connsiteX1" fmla="*/ 5531504 w 8262794"/>
              <a:gd name="connsiteY1" fmla="*/ 129118 h 6512047"/>
              <a:gd name="connsiteX2" fmla="*/ 7183294 w 8262794"/>
              <a:gd name="connsiteY2" fmla="*/ 1081021 h 6512047"/>
              <a:gd name="connsiteX3" fmla="*/ 8262794 w 8262794"/>
              <a:gd name="connsiteY3" fmla="*/ 3659121 h 6512047"/>
              <a:gd name="connsiteX4" fmla="*/ 8244179 w 8262794"/>
              <a:gd name="connsiteY4" fmla="*/ 6512047 h 6512047"/>
              <a:gd name="connsiteX5" fmla="*/ 0 w 8262794"/>
              <a:gd name="connsiteY5" fmla="*/ 6503659 h 6512047"/>
              <a:gd name="connsiteX6" fmla="*/ 558290 w 8262794"/>
              <a:gd name="connsiteY6" fmla="*/ 5096176 h 6512047"/>
              <a:gd name="connsiteX7" fmla="*/ 2000344 w 8262794"/>
              <a:gd name="connsiteY7" fmla="*/ 1950144 h 6512047"/>
              <a:gd name="connsiteX8" fmla="*/ 3694213 w 8262794"/>
              <a:gd name="connsiteY8" fmla="*/ 137314 h 6512047"/>
              <a:gd name="connsiteX9" fmla="*/ 3886487 w 8262794"/>
              <a:gd name="connsiteY9" fmla="*/ 127428 h 6512047"/>
              <a:gd name="connsiteX0" fmla="*/ 3886487 w 8262794"/>
              <a:gd name="connsiteY0" fmla="*/ 127428 h 6512047"/>
              <a:gd name="connsiteX1" fmla="*/ 5531504 w 8262794"/>
              <a:gd name="connsiteY1" fmla="*/ 129118 h 6512047"/>
              <a:gd name="connsiteX2" fmla="*/ 7183294 w 8262794"/>
              <a:gd name="connsiteY2" fmla="*/ 1081021 h 6512047"/>
              <a:gd name="connsiteX3" fmla="*/ 8262794 w 8262794"/>
              <a:gd name="connsiteY3" fmla="*/ 3659121 h 6512047"/>
              <a:gd name="connsiteX4" fmla="*/ 8244179 w 8262794"/>
              <a:gd name="connsiteY4" fmla="*/ 6512047 h 6512047"/>
              <a:gd name="connsiteX5" fmla="*/ 0 w 8262794"/>
              <a:gd name="connsiteY5" fmla="*/ 6503659 h 6512047"/>
              <a:gd name="connsiteX6" fmla="*/ 558290 w 8262794"/>
              <a:gd name="connsiteY6" fmla="*/ 5096176 h 6512047"/>
              <a:gd name="connsiteX7" fmla="*/ 2000344 w 8262794"/>
              <a:gd name="connsiteY7" fmla="*/ 1950144 h 6512047"/>
              <a:gd name="connsiteX8" fmla="*/ 3694213 w 8262794"/>
              <a:gd name="connsiteY8" fmla="*/ 137314 h 6512047"/>
              <a:gd name="connsiteX9" fmla="*/ 3886487 w 8262794"/>
              <a:gd name="connsiteY9" fmla="*/ 127428 h 6512047"/>
              <a:gd name="connsiteX0" fmla="*/ 3886487 w 8262794"/>
              <a:gd name="connsiteY0" fmla="*/ 127428 h 6512047"/>
              <a:gd name="connsiteX1" fmla="*/ 5531504 w 8262794"/>
              <a:gd name="connsiteY1" fmla="*/ 129118 h 6512047"/>
              <a:gd name="connsiteX2" fmla="*/ 7183294 w 8262794"/>
              <a:gd name="connsiteY2" fmla="*/ 1081021 h 6512047"/>
              <a:gd name="connsiteX3" fmla="*/ 8262794 w 8262794"/>
              <a:gd name="connsiteY3" fmla="*/ 3659121 h 6512047"/>
              <a:gd name="connsiteX4" fmla="*/ 8244179 w 8262794"/>
              <a:gd name="connsiteY4" fmla="*/ 6512047 h 6512047"/>
              <a:gd name="connsiteX5" fmla="*/ 0 w 8262794"/>
              <a:gd name="connsiteY5" fmla="*/ 6503659 h 6512047"/>
              <a:gd name="connsiteX6" fmla="*/ 558290 w 8262794"/>
              <a:gd name="connsiteY6" fmla="*/ 5096176 h 6512047"/>
              <a:gd name="connsiteX7" fmla="*/ 2516160 w 8262794"/>
              <a:gd name="connsiteY7" fmla="*/ 3714467 h 6512047"/>
              <a:gd name="connsiteX8" fmla="*/ 3694213 w 8262794"/>
              <a:gd name="connsiteY8" fmla="*/ 137314 h 6512047"/>
              <a:gd name="connsiteX9" fmla="*/ 3886487 w 8262794"/>
              <a:gd name="connsiteY9" fmla="*/ 127428 h 6512047"/>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558290 w 8262794"/>
              <a:gd name="connsiteY6" fmla="*/ 4968748 h 6384619"/>
              <a:gd name="connsiteX7" fmla="*/ 2516160 w 8262794"/>
              <a:gd name="connsiteY7" fmla="*/ 3587039 h 6384619"/>
              <a:gd name="connsiteX8" fmla="*/ 3694213 w 8262794"/>
              <a:gd name="connsiteY8" fmla="*/ 9886 h 6384619"/>
              <a:gd name="connsiteX9" fmla="*/ 3886487 w 8262794"/>
              <a:gd name="connsiteY9" fmla="*/ 0 h 6384619"/>
              <a:gd name="connsiteX0" fmla="*/ 3694213 w 8262794"/>
              <a:gd name="connsiteY0" fmla="*/ 306770 h 6681503"/>
              <a:gd name="connsiteX1" fmla="*/ 5531504 w 8262794"/>
              <a:gd name="connsiteY1" fmla="*/ 298574 h 6681503"/>
              <a:gd name="connsiteX2" fmla="*/ 7183294 w 8262794"/>
              <a:gd name="connsiteY2" fmla="*/ 1250477 h 6681503"/>
              <a:gd name="connsiteX3" fmla="*/ 8262794 w 8262794"/>
              <a:gd name="connsiteY3" fmla="*/ 3828577 h 6681503"/>
              <a:gd name="connsiteX4" fmla="*/ 8244179 w 8262794"/>
              <a:gd name="connsiteY4" fmla="*/ 6681503 h 6681503"/>
              <a:gd name="connsiteX5" fmla="*/ 0 w 8262794"/>
              <a:gd name="connsiteY5" fmla="*/ 6673115 h 6681503"/>
              <a:gd name="connsiteX6" fmla="*/ 558290 w 8262794"/>
              <a:gd name="connsiteY6" fmla="*/ 5265632 h 6681503"/>
              <a:gd name="connsiteX7" fmla="*/ 2516160 w 8262794"/>
              <a:gd name="connsiteY7" fmla="*/ 3883923 h 6681503"/>
              <a:gd name="connsiteX8" fmla="*/ 3694213 w 8262794"/>
              <a:gd name="connsiteY8" fmla="*/ 306770 h 6681503"/>
              <a:gd name="connsiteX0" fmla="*/ 3694213 w 8262794"/>
              <a:gd name="connsiteY0" fmla="*/ 78510 h 6453243"/>
              <a:gd name="connsiteX1" fmla="*/ 5531504 w 8262794"/>
              <a:gd name="connsiteY1" fmla="*/ 70314 h 6453243"/>
              <a:gd name="connsiteX2" fmla="*/ 7183294 w 8262794"/>
              <a:gd name="connsiteY2" fmla="*/ 1022217 h 6453243"/>
              <a:gd name="connsiteX3" fmla="*/ 8262794 w 8262794"/>
              <a:gd name="connsiteY3" fmla="*/ 3600317 h 6453243"/>
              <a:gd name="connsiteX4" fmla="*/ 8244179 w 8262794"/>
              <a:gd name="connsiteY4" fmla="*/ 6453243 h 6453243"/>
              <a:gd name="connsiteX5" fmla="*/ 0 w 8262794"/>
              <a:gd name="connsiteY5" fmla="*/ 6444855 h 6453243"/>
              <a:gd name="connsiteX6" fmla="*/ 558290 w 8262794"/>
              <a:gd name="connsiteY6" fmla="*/ 5037372 h 6453243"/>
              <a:gd name="connsiteX7" fmla="*/ 2516160 w 8262794"/>
              <a:gd name="connsiteY7" fmla="*/ 3655663 h 6453243"/>
              <a:gd name="connsiteX8" fmla="*/ 3694213 w 8262794"/>
              <a:gd name="connsiteY8" fmla="*/ 78510 h 6453243"/>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516160 w 8262794"/>
              <a:gd name="connsiteY7" fmla="*/ 3587932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62794" h="6385512">
                <a:moveTo>
                  <a:pt x="3694213" y="10779"/>
                </a:moveTo>
                <a:cubicBezTo>
                  <a:pt x="4454678" y="-625"/>
                  <a:pt x="4955852" y="-2302"/>
                  <a:pt x="5531504" y="2583"/>
                </a:cubicBezTo>
                <a:cubicBezTo>
                  <a:pt x="6084147" y="29223"/>
                  <a:pt x="6757712" y="-16965"/>
                  <a:pt x="7183294" y="954486"/>
                </a:cubicBezTo>
                <a:cubicBezTo>
                  <a:pt x="7583476" y="1932287"/>
                  <a:pt x="7878547" y="2625298"/>
                  <a:pt x="8262794" y="3532586"/>
                </a:cubicBezTo>
                <a:cubicBezTo>
                  <a:pt x="8253341" y="4497024"/>
                  <a:pt x="8252886" y="5683881"/>
                  <a:pt x="8244179" y="6385512"/>
                </a:cubicBezTo>
                <a:lnTo>
                  <a:pt x="0" y="6377124"/>
                </a:lnTo>
                <a:cubicBezTo>
                  <a:pt x="184403" y="5889100"/>
                  <a:pt x="260068" y="5746144"/>
                  <a:pt x="558290" y="4969641"/>
                </a:cubicBezTo>
                <a:cubicBezTo>
                  <a:pt x="1167174" y="4990306"/>
                  <a:pt x="1929029" y="4560948"/>
                  <a:pt x="2352037" y="3529317"/>
                </a:cubicBezTo>
                <a:cubicBezTo>
                  <a:pt x="2775045" y="2497686"/>
                  <a:pt x="3491225" y="566611"/>
                  <a:pt x="3694213" y="10779"/>
                </a:cubicBezTo>
                <a:close/>
              </a:path>
            </a:pathLst>
          </a:custGeom>
          <a:pattFill prst="pct5">
            <a:fgClr>
              <a:schemeClr val="bg1"/>
            </a:fgClr>
            <a:bgClr>
              <a:schemeClr val="bg1">
                <a:lumMod val="65000"/>
              </a:schemeClr>
            </a:bgClr>
          </a:pattFill>
        </p:spPr>
        <p:txBody>
          <a:bodyPr lIns="2340000" tIns="1332000" rIns="720000" rtlCol="0">
            <a:normAutofit/>
          </a:bodyPr>
          <a:lstStyle>
            <a:lvl1pPr marL="0" indent="0" algn="ctr">
              <a:buFontTx/>
              <a:buNone/>
              <a:defRPr sz="1200" b="0" i="0">
                <a:solidFill>
                  <a:schemeClr val="tx2"/>
                </a:solidFill>
                <a:latin typeface="Schibsted Grotesk Bold" pitchFamily="2" charset="77"/>
              </a:defRPr>
            </a:lvl1pPr>
          </a:lstStyle>
          <a:p>
            <a:pPr lvl="0"/>
            <a:r>
              <a:rPr lang="en-US" noProof="0"/>
              <a:t>Click icon to add picture</a:t>
            </a:r>
          </a:p>
        </p:txBody>
      </p:sp>
      <p:sp>
        <p:nvSpPr>
          <p:cNvPr id="6" name="Title 1">
            <a:extLst>
              <a:ext uri="{FF2B5EF4-FFF2-40B4-BE49-F238E27FC236}">
                <a16:creationId xmlns:a16="http://schemas.microsoft.com/office/drawing/2014/main" id="{BA7DFF01-12F2-FCD5-AE18-6450A1F70231}"/>
              </a:ext>
            </a:extLst>
          </p:cNvPr>
          <p:cNvSpPr>
            <a:spLocks noGrp="1"/>
          </p:cNvSpPr>
          <p:nvPr>
            <p:ph type="ctrTitle"/>
          </p:nvPr>
        </p:nvSpPr>
        <p:spPr>
          <a:xfrm>
            <a:off x="426379" y="1916920"/>
            <a:ext cx="5349765" cy="1603933"/>
          </a:xfrm>
          <a:prstGeom prst="rect">
            <a:avLst/>
          </a:prstGeom>
        </p:spPr>
        <p:txBody>
          <a:bodyPr anchor="b"/>
          <a:lstStyle>
            <a:lvl1pPr algn="l">
              <a:defRPr sz="4000" b="0" i="0">
                <a:solidFill>
                  <a:schemeClr val="bg2"/>
                </a:solidFill>
                <a:latin typeface="+mj-lt"/>
              </a:defRPr>
            </a:lvl1pPr>
          </a:lstStyle>
          <a:p>
            <a:r>
              <a:rPr lang="en-US"/>
              <a:t>Click to edit Master title style</a:t>
            </a:r>
          </a:p>
        </p:txBody>
      </p:sp>
      <p:sp>
        <p:nvSpPr>
          <p:cNvPr id="7" name="Subtitle 2">
            <a:extLst>
              <a:ext uri="{FF2B5EF4-FFF2-40B4-BE49-F238E27FC236}">
                <a16:creationId xmlns:a16="http://schemas.microsoft.com/office/drawing/2014/main" id="{5BE17CB9-DBB8-782B-FF7B-7A7F167A2429}"/>
              </a:ext>
            </a:extLst>
          </p:cNvPr>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bg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 name="Picture 1" descr="Yellow letters on a black background&#10;&#10;Description automatically generated">
            <a:extLst>
              <a:ext uri="{FF2B5EF4-FFF2-40B4-BE49-F238E27FC236}">
                <a16:creationId xmlns:a16="http://schemas.microsoft.com/office/drawing/2014/main" id="{2BE40B8F-C8AF-2694-F50B-0C861D3D0A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075" y="196497"/>
            <a:ext cx="2527329" cy="927100"/>
          </a:xfrm>
          <a:prstGeom prst="rect">
            <a:avLst/>
          </a:prstGeom>
        </p:spPr>
      </p:pic>
    </p:spTree>
    <p:extLst>
      <p:ext uri="{BB962C8B-B14F-4D97-AF65-F5344CB8AC3E}">
        <p14:creationId xmlns:p14="http://schemas.microsoft.com/office/powerpoint/2010/main" val="541559279"/>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ver 10">
    <p:bg>
      <p:bgPr>
        <a:solidFill>
          <a:schemeClr val="bg2"/>
        </a:solidFill>
        <a:effectLst/>
      </p:bgPr>
    </p:bg>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AF19DDE3-818E-8644-9E61-B35BED1F2F4F}"/>
              </a:ext>
            </a:extLst>
          </p:cNvPr>
          <p:cNvSpPr txBox="1">
            <a:spLocks/>
          </p:cNvSpPr>
          <p:nvPr userDrawn="1"/>
        </p:nvSpPr>
        <p:spPr>
          <a:xfrm flipH="1">
            <a:off x="-9525" y="-28575"/>
            <a:ext cx="6972300" cy="6891338"/>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 name="connsiteX0" fmla="*/ 1638683 w 6096409"/>
              <a:gd name="connsiteY0" fmla="*/ 72693 h 6276293"/>
              <a:gd name="connsiteX1" fmla="*/ 5287527 w 6096409"/>
              <a:gd name="connsiteY1" fmla="*/ 650626 h 6276293"/>
              <a:gd name="connsiteX2" fmla="*/ 6096409 w 6096409"/>
              <a:gd name="connsiteY2" fmla="*/ 6276293 h 6276293"/>
              <a:gd name="connsiteX3" fmla="*/ 1525836 w 6096409"/>
              <a:gd name="connsiteY3" fmla="*/ 6255466 h 6276293"/>
              <a:gd name="connsiteX4" fmla="*/ 72998 w 6096409"/>
              <a:gd name="connsiteY4" fmla="*/ 2645491 h 6276293"/>
              <a:gd name="connsiteX5" fmla="*/ 1638683 w 6096409"/>
              <a:gd name="connsiteY5" fmla="*/ 72693 h 6276293"/>
              <a:gd name="connsiteX0" fmla="*/ 1641246 w 6098972"/>
              <a:gd name="connsiteY0" fmla="*/ 176561 h 6380161"/>
              <a:gd name="connsiteX1" fmla="*/ 5591887 w 6098972"/>
              <a:gd name="connsiteY1" fmla="*/ 216748 h 6380161"/>
              <a:gd name="connsiteX2" fmla="*/ 6098972 w 6098972"/>
              <a:gd name="connsiteY2" fmla="*/ 6380161 h 6380161"/>
              <a:gd name="connsiteX3" fmla="*/ 1528399 w 6098972"/>
              <a:gd name="connsiteY3" fmla="*/ 6359334 h 6380161"/>
              <a:gd name="connsiteX4" fmla="*/ 75561 w 6098972"/>
              <a:gd name="connsiteY4" fmla="*/ 2749359 h 6380161"/>
              <a:gd name="connsiteX5" fmla="*/ 1641246 w 6098972"/>
              <a:gd name="connsiteY5" fmla="*/ 176561 h 6380161"/>
              <a:gd name="connsiteX0" fmla="*/ 785215 w 6098947"/>
              <a:gd name="connsiteY0" fmla="*/ 193139 h 6330893"/>
              <a:gd name="connsiteX1" fmla="*/ 5591862 w 6098947"/>
              <a:gd name="connsiteY1" fmla="*/ 167480 h 6330893"/>
              <a:gd name="connsiteX2" fmla="*/ 6098947 w 6098947"/>
              <a:gd name="connsiteY2" fmla="*/ 6330893 h 6330893"/>
              <a:gd name="connsiteX3" fmla="*/ 1528374 w 6098947"/>
              <a:gd name="connsiteY3" fmla="*/ 6310066 h 6330893"/>
              <a:gd name="connsiteX4" fmla="*/ 75536 w 6098947"/>
              <a:gd name="connsiteY4" fmla="*/ 2700091 h 6330893"/>
              <a:gd name="connsiteX5" fmla="*/ 785215 w 6098947"/>
              <a:gd name="connsiteY5" fmla="*/ 193139 h 6330893"/>
              <a:gd name="connsiteX0" fmla="*/ 1077816 w 6391548"/>
              <a:gd name="connsiteY0" fmla="*/ 167153 h 6304907"/>
              <a:gd name="connsiteX1" fmla="*/ 5884463 w 6391548"/>
              <a:gd name="connsiteY1" fmla="*/ 141494 h 6304907"/>
              <a:gd name="connsiteX2" fmla="*/ 6391548 w 6391548"/>
              <a:gd name="connsiteY2" fmla="*/ 6304907 h 6304907"/>
              <a:gd name="connsiteX3" fmla="*/ 1820975 w 6391548"/>
              <a:gd name="connsiteY3" fmla="*/ 6284080 h 6304907"/>
              <a:gd name="connsiteX4" fmla="*/ 33417 w 6391548"/>
              <a:gd name="connsiteY4" fmla="*/ 2322923 h 6304907"/>
              <a:gd name="connsiteX5" fmla="*/ 1077816 w 6391548"/>
              <a:gd name="connsiteY5" fmla="*/ 167153 h 6304907"/>
              <a:gd name="connsiteX0" fmla="*/ 1052844 w 6366576"/>
              <a:gd name="connsiteY0" fmla="*/ 167153 h 6304907"/>
              <a:gd name="connsiteX1" fmla="*/ 5859491 w 6366576"/>
              <a:gd name="connsiteY1" fmla="*/ 141494 h 6304907"/>
              <a:gd name="connsiteX2" fmla="*/ 6366576 w 6366576"/>
              <a:gd name="connsiteY2" fmla="*/ 6304907 h 6304907"/>
              <a:gd name="connsiteX3" fmla="*/ 1329591 w 6366576"/>
              <a:gd name="connsiteY3" fmla="*/ 5965822 h 6304907"/>
              <a:gd name="connsiteX4" fmla="*/ 8445 w 6366576"/>
              <a:gd name="connsiteY4" fmla="*/ 2322923 h 6304907"/>
              <a:gd name="connsiteX5" fmla="*/ 1052844 w 6366576"/>
              <a:gd name="connsiteY5" fmla="*/ 167153 h 6304907"/>
              <a:gd name="connsiteX0" fmla="*/ 1052844 w 5859491"/>
              <a:gd name="connsiteY0" fmla="*/ 167153 h 5965822"/>
              <a:gd name="connsiteX1" fmla="*/ 5859491 w 5859491"/>
              <a:gd name="connsiteY1" fmla="*/ 141494 h 5965822"/>
              <a:gd name="connsiteX2" fmla="*/ 5027697 w 5859491"/>
              <a:gd name="connsiteY2" fmla="*/ 4993464 h 5965822"/>
              <a:gd name="connsiteX3" fmla="*/ 1329591 w 5859491"/>
              <a:gd name="connsiteY3" fmla="*/ 5965822 h 5965822"/>
              <a:gd name="connsiteX4" fmla="*/ 8445 w 5859491"/>
              <a:gd name="connsiteY4" fmla="*/ 2322923 h 5965822"/>
              <a:gd name="connsiteX5" fmla="*/ 1052844 w 5859491"/>
              <a:gd name="connsiteY5" fmla="*/ 167153 h 5965822"/>
              <a:gd name="connsiteX0" fmla="*/ 1052844 w 5867242"/>
              <a:gd name="connsiteY0" fmla="*/ 167153 h 5970188"/>
              <a:gd name="connsiteX1" fmla="*/ 5859491 w 5867242"/>
              <a:gd name="connsiteY1" fmla="*/ 141494 h 5970188"/>
              <a:gd name="connsiteX2" fmla="*/ 5867242 w 5867242"/>
              <a:gd name="connsiteY2" fmla="*/ 5970188 h 5970188"/>
              <a:gd name="connsiteX3" fmla="*/ 1329591 w 5867242"/>
              <a:gd name="connsiteY3" fmla="*/ 5965822 h 5970188"/>
              <a:gd name="connsiteX4" fmla="*/ 8445 w 5867242"/>
              <a:gd name="connsiteY4" fmla="*/ 2322923 h 5970188"/>
              <a:gd name="connsiteX5" fmla="*/ 1052844 w 5867242"/>
              <a:gd name="connsiteY5" fmla="*/ 167153 h 5970188"/>
              <a:gd name="connsiteX0" fmla="*/ 1052844 w 5867242"/>
              <a:gd name="connsiteY0" fmla="*/ 25659 h 5828694"/>
              <a:gd name="connsiteX1" fmla="*/ 5859491 w 5867242"/>
              <a:gd name="connsiteY1" fmla="*/ 0 h 5828694"/>
              <a:gd name="connsiteX2" fmla="*/ 5867242 w 5867242"/>
              <a:gd name="connsiteY2" fmla="*/ 5828694 h 5828694"/>
              <a:gd name="connsiteX3" fmla="*/ 1329591 w 5867242"/>
              <a:gd name="connsiteY3" fmla="*/ 5824328 h 5828694"/>
              <a:gd name="connsiteX4" fmla="*/ 8445 w 5867242"/>
              <a:gd name="connsiteY4" fmla="*/ 2181429 h 5828694"/>
              <a:gd name="connsiteX5" fmla="*/ 1052844 w 5867242"/>
              <a:gd name="connsiteY5" fmla="*/ 25659 h 5828694"/>
              <a:gd name="connsiteX0" fmla="*/ 1052844 w 5867242"/>
              <a:gd name="connsiteY0" fmla="*/ 25659 h 5828694"/>
              <a:gd name="connsiteX1" fmla="*/ 5859491 w 5867242"/>
              <a:gd name="connsiteY1" fmla="*/ 0 h 5828694"/>
              <a:gd name="connsiteX2" fmla="*/ 5867242 w 5867242"/>
              <a:gd name="connsiteY2" fmla="*/ 5828694 h 5828694"/>
              <a:gd name="connsiteX3" fmla="*/ 1329591 w 5867242"/>
              <a:gd name="connsiteY3" fmla="*/ 5824328 h 5828694"/>
              <a:gd name="connsiteX4" fmla="*/ 8445 w 5867242"/>
              <a:gd name="connsiteY4" fmla="*/ 2181429 h 5828694"/>
              <a:gd name="connsiteX5" fmla="*/ 1052844 w 5867242"/>
              <a:gd name="connsiteY5" fmla="*/ 25659 h 5828694"/>
              <a:gd name="connsiteX0" fmla="*/ 1110378 w 5924776"/>
              <a:gd name="connsiteY0" fmla="*/ 25659 h 5828694"/>
              <a:gd name="connsiteX1" fmla="*/ 5917025 w 5924776"/>
              <a:gd name="connsiteY1" fmla="*/ 0 h 5828694"/>
              <a:gd name="connsiteX2" fmla="*/ 5924776 w 5924776"/>
              <a:gd name="connsiteY2" fmla="*/ 5828694 h 5828694"/>
              <a:gd name="connsiteX3" fmla="*/ 1387125 w 5924776"/>
              <a:gd name="connsiteY3" fmla="*/ 5824328 h 5828694"/>
              <a:gd name="connsiteX4" fmla="*/ 65979 w 5924776"/>
              <a:gd name="connsiteY4" fmla="*/ 2181429 h 5828694"/>
              <a:gd name="connsiteX5" fmla="*/ 1110378 w 5924776"/>
              <a:gd name="connsiteY5" fmla="*/ 25659 h 5828694"/>
              <a:gd name="connsiteX0" fmla="*/ 1086070 w 5900468"/>
              <a:gd name="connsiteY0" fmla="*/ 25659 h 5828694"/>
              <a:gd name="connsiteX1" fmla="*/ 5892717 w 5900468"/>
              <a:gd name="connsiteY1" fmla="*/ 0 h 5828694"/>
              <a:gd name="connsiteX2" fmla="*/ 5900468 w 5900468"/>
              <a:gd name="connsiteY2" fmla="*/ 5828694 h 5828694"/>
              <a:gd name="connsiteX3" fmla="*/ 1362817 w 5900468"/>
              <a:gd name="connsiteY3" fmla="*/ 5824328 h 5828694"/>
              <a:gd name="connsiteX4" fmla="*/ 69107 w 5900468"/>
              <a:gd name="connsiteY4" fmla="*/ 2351532 h 5828694"/>
              <a:gd name="connsiteX5" fmla="*/ 1086070 w 5900468"/>
              <a:gd name="connsiteY5" fmla="*/ 25659 h 5828694"/>
              <a:gd name="connsiteX0" fmla="*/ 1094837 w 5909235"/>
              <a:gd name="connsiteY0" fmla="*/ 25659 h 5828694"/>
              <a:gd name="connsiteX1" fmla="*/ 5901484 w 5909235"/>
              <a:gd name="connsiteY1" fmla="*/ 0 h 5828694"/>
              <a:gd name="connsiteX2" fmla="*/ 5909235 w 5909235"/>
              <a:gd name="connsiteY2" fmla="*/ 5828694 h 5828694"/>
              <a:gd name="connsiteX3" fmla="*/ 1371584 w 5909235"/>
              <a:gd name="connsiteY3" fmla="*/ 5824328 h 5828694"/>
              <a:gd name="connsiteX4" fmla="*/ 77874 w 5909235"/>
              <a:gd name="connsiteY4" fmla="*/ 2351532 h 5828694"/>
              <a:gd name="connsiteX5" fmla="*/ 1094837 w 5909235"/>
              <a:gd name="connsiteY5" fmla="*/ 25659 h 5828694"/>
              <a:gd name="connsiteX0" fmla="*/ 1070930 w 5885328"/>
              <a:gd name="connsiteY0" fmla="*/ 25659 h 5828694"/>
              <a:gd name="connsiteX1" fmla="*/ 5877577 w 5885328"/>
              <a:gd name="connsiteY1" fmla="*/ 0 h 5828694"/>
              <a:gd name="connsiteX2" fmla="*/ 5885328 w 5885328"/>
              <a:gd name="connsiteY2" fmla="*/ 5828694 h 5828694"/>
              <a:gd name="connsiteX3" fmla="*/ 1347677 w 5885328"/>
              <a:gd name="connsiteY3" fmla="*/ 5824328 h 5828694"/>
              <a:gd name="connsiteX4" fmla="*/ 81403 w 5885328"/>
              <a:gd name="connsiteY4" fmla="*/ 2505174 h 5828694"/>
              <a:gd name="connsiteX5" fmla="*/ 1070930 w 5885328"/>
              <a:gd name="connsiteY5" fmla="*/ 25659 h 5828694"/>
              <a:gd name="connsiteX0" fmla="*/ 1095835 w 5910233"/>
              <a:gd name="connsiteY0" fmla="*/ 25659 h 5828694"/>
              <a:gd name="connsiteX1" fmla="*/ 5902482 w 5910233"/>
              <a:gd name="connsiteY1" fmla="*/ 0 h 5828694"/>
              <a:gd name="connsiteX2" fmla="*/ 5910233 w 5910233"/>
              <a:gd name="connsiteY2" fmla="*/ 5828694 h 5828694"/>
              <a:gd name="connsiteX3" fmla="*/ 1372582 w 5910233"/>
              <a:gd name="connsiteY3" fmla="*/ 5824328 h 5828694"/>
              <a:gd name="connsiteX4" fmla="*/ 106308 w 5910233"/>
              <a:gd name="connsiteY4" fmla="*/ 2505174 h 5828694"/>
              <a:gd name="connsiteX5" fmla="*/ 1095835 w 5910233"/>
              <a:gd name="connsiteY5" fmla="*/ 25659 h 5828694"/>
              <a:gd name="connsiteX0" fmla="*/ 1025203 w 5812165"/>
              <a:gd name="connsiteY0" fmla="*/ 0 h 5830471"/>
              <a:gd name="connsiteX1" fmla="*/ 5804414 w 5812165"/>
              <a:gd name="connsiteY1" fmla="*/ 1777 h 5830471"/>
              <a:gd name="connsiteX2" fmla="*/ 5812165 w 5812165"/>
              <a:gd name="connsiteY2" fmla="*/ 5830471 h 5830471"/>
              <a:gd name="connsiteX3" fmla="*/ 1274514 w 5812165"/>
              <a:gd name="connsiteY3" fmla="*/ 5826105 h 5830471"/>
              <a:gd name="connsiteX4" fmla="*/ 8240 w 5812165"/>
              <a:gd name="connsiteY4" fmla="*/ 2506951 h 5830471"/>
              <a:gd name="connsiteX5" fmla="*/ 1025203 w 5812165"/>
              <a:gd name="connsiteY5" fmla="*/ 0 h 5830471"/>
              <a:gd name="connsiteX0" fmla="*/ 1043591 w 5830553"/>
              <a:gd name="connsiteY0" fmla="*/ 0 h 5830471"/>
              <a:gd name="connsiteX1" fmla="*/ 5822802 w 5830553"/>
              <a:gd name="connsiteY1" fmla="*/ 1777 h 5830471"/>
              <a:gd name="connsiteX2" fmla="*/ 5830553 w 5830553"/>
              <a:gd name="connsiteY2" fmla="*/ 5830471 h 5830471"/>
              <a:gd name="connsiteX3" fmla="*/ 1292902 w 5830553"/>
              <a:gd name="connsiteY3" fmla="*/ 5826105 h 5830471"/>
              <a:gd name="connsiteX4" fmla="*/ 26628 w 5830553"/>
              <a:gd name="connsiteY4" fmla="*/ 2506951 h 5830471"/>
              <a:gd name="connsiteX5" fmla="*/ 1043591 w 5830553"/>
              <a:gd name="connsiteY5" fmla="*/ 0 h 5830471"/>
              <a:gd name="connsiteX0" fmla="*/ 1104951 w 5891913"/>
              <a:gd name="connsiteY0" fmla="*/ 0 h 5830471"/>
              <a:gd name="connsiteX1" fmla="*/ 5884162 w 5891913"/>
              <a:gd name="connsiteY1" fmla="*/ 1777 h 5830471"/>
              <a:gd name="connsiteX2" fmla="*/ 5891913 w 5891913"/>
              <a:gd name="connsiteY2" fmla="*/ 5830471 h 5830471"/>
              <a:gd name="connsiteX3" fmla="*/ 1354262 w 5891913"/>
              <a:gd name="connsiteY3" fmla="*/ 5826105 h 5830471"/>
              <a:gd name="connsiteX4" fmla="*/ 87988 w 5891913"/>
              <a:gd name="connsiteY4" fmla="*/ 2506951 h 5830471"/>
              <a:gd name="connsiteX5" fmla="*/ 1104951 w 5891913"/>
              <a:gd name="connsiteY5" fmla="*/ 0 h 5830471"/>
              <a:gd name="connsiteX0" fmla="*/ 795815 w 5582777"/>
              <a:gd name="connsiteY0" fmla="*/ 0 h 5830471"/>
              <a:gd name="connsiteX1" fmla="*/ 5575026 w 5582777"/>
              <a:gd name="connsiteY1" fmla="*/ 1777 h 5830471"/>
              <a:gd name="connsiteX2" fmla="*/ 5582777 w 5582777"/>
              <a:gd name="connsiteY2" fmla="*/ 5830471 h 5830471"/>
              <a:gd name="connsiteX3" fmla="*/ 1045126 w 5582777"/>
              <a:gd name="connsiteY3" fmla="*/ 5826105 h 5830471"/>
              <a:gd name="connsiteX4" fmla="*/ 239778 w 5582777"/>
              <a:gd name="connsiteY4" fmla="*/ 2726439 h 5830471"/>
              <a:gd name="connsiteX5" fmla="*/ 795815 w 5582777"/>
              <a:gd name="connsiteY5" fmla="*/ 0 h 5830471"/>
              <a:gd name="connsiteX0" fmla="*/ 823831 w 5610793"/>
              <a:gd name="connsiteY0" fmla="*/ 0 h 5830471"/>
              <a:gd name="connsiteX1" fmla="*/ 5603042 w 5610793"/>
              <a:gd name="connsiteY1" fmla="*/ 1777 h 5830471"/>
              <a:gd name="connsiteX2" fmla="*/ 5610793 w 5610793"/>
              <a:gd name="connsiteY2" fmla="*/ 5830471 h 5830471"/>
              <a:gd name="connsiteX3" fmla="*/ 1073142 w 5610793"/>
              <a:gd name="connsiteY3" fmla="*/ 5826105 h 5830471"/>
              <a:gd name="connsiteX4" fmla="*/ 267794 w 5610793"/>
              <a:gd name="connsiteY4" fmla="*/ 2726439 h 5830471"/>
              <a:gd name="connsiteX5" fmla="*/ 823831 w 5610793"/>
              <a:gd name="connsiteY5" fmla="*/ 0 h 5830471"/>
              <a:gd name="connsiteX0" fmla="*/ 1067622 w 5854584"/>
              <a:gd name="connsiteY0" fmla="*/ 0 h 5830471"/>
              <a:gd name="connsiteX1" fmla="*/ 5846833 w 5854584"/>
              <a:gd name="connsiteY1" fmla="*/ 1777 h 5830471"/>
              <a:gd name="connsiteX2" fmla="*/ 5854584 w 5854584"/>
              <a:gd name="connsiteY2" fmla="*/ 5830471 h 5830471"/>
              <a:gd name="connsiteX3" fmla="*/ 1316933 w 5854584"/>
              <a:gd name="connsiteY3" fmla="*/ 5826105 h 5830471"/>
              <a:gd name="connsiteX4" fmla="*/ 138455 w 5854584"/>
              <a:gd name="connsiteY4" fmla="*/ 2726439 h 5830471"/>
              <a:gd name="connsiteX5" fmla="*/ 1067622 w 5854584"/>
              <a:gd name="connsiteY5" fmla="*/ 0 h 5830471"/>
              <a:gd name="connsiteX0" fmla="*/ 1118785 w 5905747"/>
              <a:gd name="connsiteY0" fmla="*/ 0 h 5830471"/>
              <a:gd name="connsiteX1" fmla="*/ 5897996 w 5905747"/>
              <a:gd name="connsiteY1" fmla="*/ 1777 h 5830471"/>
              <a:gd name="connsiteX2" fmla="*/ 5905747 w 5905747"/>
              <a:gd name="connsiteY2" fmla="*/ 5830471 h 5830471"/>
              <a:gd name="connsiteX3" fmla="*/ 1368096 w 5905747"/>
              <a:gd name="connsiteY3" fmla="*/ 5826105 h 5830471"/>
              <a:gd name="connsiteX4" fmla="*/ 189618 w 5905747"/>
              <a:gd name="connsiteY4" fmla="*/ 2726439 h 5830471"/>
              <a:gd name="connsiteX5" fmla="*/ 1118785 w 5905747"/>
              <a:gd name="connsiteY5" fmla="*/ 0 h 5830471"/>
              <a:gd name="connsiteX0" fmla="*/ 1110524 w 5897486"/>
              <a:gd name="connsiteY0" fmla="*/ 0 h 5830471"/>
              <a:gd name="connsiteX1" fmla="*/ 5889735 w 5897486"/>
              <a:gd name="connsiteY1" fmla="*/ 1777 h 5830471"/>
              <a:gd name="connsiteX2" fmla="*/ 5897486 w 5897486"/>
              <a:gd name="connsiteY2" fmla="*/ 5830471 h 5830471"/>
              <a:gd name="connsiteX3" fmla="*/ 1359835 w 5897486"/>
              <a:gd name="connsiteY3" fmla="*/ 5826105 h 5830471"/>
              <a:gd name="connsiteX4" fmla="*/ 192332 w 5897486"/>
              <a:gd name="connsiteY4" fmla="*/ 2847158 h 5830471"/>
              <a:gd name="connsiteX5" fmla="*/ 1110524 w 5897486"/>
              <a:gd name="connsiteY5" fmla="*/ 0 h 5830471"/>
              <a:gd name="connsiteX0" fmla="*/ 1058315 w 5845277"/>
              <a:gd name="connsiteY0" fmla="*/ 0 h 5830471"/>
              <a:gd name="connsiteX1" fmla="*/ 5837526 w 5845277"/>
              <a:gd name="connsiteY1" fmla="*/ 1777 h 5830471"/>
              <a:gd name="connsiteX2" fmla="*/ 5845277 w 5845277"/>
              <a:gd name="connsiteY2" fmla="*/ 5830471 h 5830471"/>
              <a:gd name="connsiteX3" fmla="*/ 1307626 w 5845277"/>
              <a:gd name="connsiteY3" fmla="*/ 5826105 h 5830471"/>
              <a:gd name="connsiteX4" fmla="*/ 140123 w 5845277"/>
              <a:gd name="connsiteY4" fmla="*/ 2847158 h 5830471"/>
              <a:gd name="connsiteX5" fmla="*/ 1058315 w 5845277"/>
              <a:gd name="connsiteY5" fmla="*/ 0 h 5830471"/>
              <a:gd name="connsiteX0" fmla="*/ 1111706 w 5898668"/>
              <a:gd name="connsiteY0" fmla="*/ 0 h 5830471"/>
              <a:gd name="connsiteX1" fmla="*/ 5890917 w 5898668"/>
              <a:gd name="connsiteY1" fmla="*/ 1777 h 5830471"/>
              <a:gd name="connsiteX2" fmla="*/ 5898668 w 5898668"/>
              <a:gd name="connsiteY2" fmla="*/ 5830471 h 5830471"/>
              <a:gd name="connsiteX3" fmla="*/ 1361017 w 5898668"/>
              <a:gd name="connsiteY3" fmla="*/ 5826105 h 5830471"/>
              <a:gd name="connsiteX4" fmla="*/ 193514 w 5898668"/>
              <a:gd name="connsiteY4" fmla="*/ 2847158 h 5830471"/>
              <a:gd name="connsiteX5" fmla="*/ 1111706 w 5898668"/>
              <a:gd name="connsiteY5" fmla="*/ 0 h 5830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8668" h="5830471">
                <a:moveTo>
                  <a:pt x="1111706" y="0"/>
                </a:moveTo>
                <a:lnTo>
                  <a:pt x="5890917" y="1777"/>
                </a:lnTo>
                <a:cubicBezTo>
                  <a:pt x="5893501" y="1944675"/>
                  <a:pt x="5896084" y="3887573"/>
                  <a:pt x="5898668" y="5830471"/>
                </a:cubicBezTo>
                <a:lnTo>
                  <a:pt x="1361017" y="5826105"/>
                </a:lnTo>
                <a:cubicBezTo>
                  <a:pt x="884165" y="4616134"/>
                  <a:pt x="564298" y="3889508"/>
                  <a:pt x="193514" y="2847158"/>
                </a:cubicBezTo>
                <a:cubicBezTo>
                  <a:pt x="-177270" y="1804808"/>
                  <a:pt x="-88443" y="544650"/>
                  <a:pt x="1111706" y="0"/>
                </a:cubicBezTo>
                <a:close/>
              </a:path>
            </a:pathLst>
          </a:custGeom>
          <a:solidFill>
            <a:schemeClr val="accent6"/>
          </a:solidFill>
        </p:spPr>
        <p:txBody>
          <a:bodyPr lIns="720000" tIns="1332000" rIns="720000"/>
          <a:lstStyle>
            <a:lvl1pPr marL="0" indent="0" algn="ctr" rtl="0" fontAlgn="base">
              <a:lnSpc>
                <a:spcPct val="90000"/>
              </a:lnSpc>
              <a:spcBef>
                <a:spcPts val="1000"/>
              </a:spcBef>
              <a:spcAft>
                <a:spcPct val="0"/>
              </a:spcAft>
              <a:buFontTx/>
              <a:buNone/>
              <a:defRPr sz="1200" b="0" i="0" kern="1200">
                <a:solidFill>
                  <a:schemeClr val="tx2"/>
                </a:solidFill>
                <a:latin typeface="Schibsted Grotesk Bold" pitchFamily="2" charset="77"/>
                <a:ea typeface="Schibsted Grotesk Bold" pitchFamily="2" charset="77"/>
                <a:cs typeface="Schibsted Grotesk Bold" pitchFamily="2" charset="77"/>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bg1"/>
                </a:solidFill>
                <a:latin typeface="+mn-lt"/>
                <a:ea typeface="Schibsted Grotesk Bold" pitchFamily="2" charset="77"/>
                <a:cs typeface="Schibsted Grotesk Bold" pitchFamily="2" charset="77"/>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bg1"/>
                </a:solidFill>
                <a:latin typeface="+mn-lt"/>
                <a:ea typeface="Schibsted Grotesk Bold" pitchFamily="2" charset="77"/>
                <a:cs typeface="Schibsted Grotesk Bold" pitchFamily="2" charset="77"/>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bg1"/>
                </a:solidFill>
                <a:latin typeface="+mn-lt"/>
                <a:ea typeface="Schibsted Grotesk Bold" pitchFamily="2" charset="77"/>
                <a:cs typeface="Schibsted Grotesk Bold" pitchFamily="2" charset="77"/>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bg1"/>
                </a:solidFill>
                <a:latin typeface="+mn-lt"/>
                <a:ea typeface="Schibsted Grotesk Bold" pitchFamily="2" charset="77"/>
                <a:cs typeface="Schibsted Grotesk Bold"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1000"/>
              </a:spcBef>
              <a:spcAft>
                <a:spcPct val="0"/>
              </a:spcAft>
              <a:buClrTx/>
              <a:buSzTx/>
              <a:buFontTx/>
              <a:buNone/>
              <a:tabLst/>
              <a:defRPr/>
            </a:pPr>
            <a:endParaRPr kumimoji="0" lang="en-US" sz="1200" b="0" i="0" u="none" strike="noStrike" kern="1200" cap="none" spc="0" normalizeH="0" baseline="0" noProof="0">
              <a:ln>
                <a:noFill/>
              </a:ln>
              <a:solidFill>
                <a:srgbClr val="FFD900"/>
              </a:solidFill>
              <a:effectLst/>
              <a:uLnTx/>
              <a:uFillTx/>
              <a:latin typeface="Schibsted Grotesk Bold" pitchFamily="2" charset="77"/>
              <a:cs typeface="Schibsted Grotesk Bold" pitchFamily="2" charset="77"/>
            </a:endParaRPr>
          </a:p>
        </p:txBody>
      </p:sp>
      <p:sp>
        <p:nvSpPr>
          <p:cNvPr id="8" name="Title 1"/>
          <p:cNvSpPr>
            <a:spLocks noGrp="1"/>
          </p:cNvSpPr>
          <p:nvPr>
            <p:ph type="ctrTitle"/>
          </p:nvPr>
        </p:nvSpPr>
        <p:spPr>
          <a:xfrm>
            <a:off x="426379" y="1916920"/>
            <a:ext cx="5349765" cy="1603933"/>
          </a:xfrm>
          <a:prstGeom prst="rect">
            <a:avLst/>
          </a:prstGeom>
        </p:spPr>
        <p:txBody>
          <a:bodyPr anchor="b"/>
          <a:lstStyle>
            <a:lvl1pPr algn="l">
              <a:defRPr sz="4000" b="0" i="0">
                <a:solidFill>
                  <a:schemeClr val="bg2"/>
                </a:solidFill>
                <a:latin typeface="+mj-lt"/>
              </a:defRPr>
            </a:lvl1pPr>
          </a:lstStyle>
          <a:p>
            <a:r>
              <a:rPr lang="en-US"/>
              <a:t>Click to edit Master title style</a:t>
            </a:r>
          </a:p>
        </p:txBody>
      </p:sp>
      <p:sp>
        <p:nvSpPr>
          <p:cNvPr id="9" name="Subtitle 2"/>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bg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4" descr="Yellow letters on a black background&#10;&#10;Description automatically generated">
            <a:extLst>
              <a:ext uri="{FF2B5EF4-FFF2-40B4-BE49-F238E27FC236}">
                <a16:creationId xmlns:a16="http://schemas.microsoft.com/office/drawing/2014/main" id="{91F0762A-972F-9C3E-834C-8E3C3A5A51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075" y="196497"/>
            <a:ext cx="2527329" cy="927100"/>
          </a:xfrm>
          <a:prstGeom prst="rect">
            <a:avLst/>
          </a:prstGeom>
        </p:spPr>
      </p:pic>
    </p:spTree>
    <p:extLst>
      <p:ext uri="{BB962C8B-B14F-4D97-AF65-F5344CB8AC3E}">
        <p14:creationId xmlns:p14="http://schemas.microsoft.com/office/powerpoint/2010/main" val="2980319790"/>
      </p:ext>
    </p:extLst>
  </p:cSld>
  <p:clrMapOvr>
    <a:overrideClrMapping bg1="lt1" tx1="dk1" bg2="lt2" tx2="dk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ver 11">
    <p:bg>
      <p:bgPr>
        <a:solidFill>
          <a:schemeClr val="bg2"/>
        </a:solidFill>
        <a:effectLst/>
      </p:bgPr>
    </p:bg>
    <p:spTree>
      <p:nvGrpSpPr>
        <p:cNvPr id="1" name=""/>
        <p:cNvGrpSpPr/>
        <p:nvPr/>
      </p:nvGrpSpPr>
      <p:grpSpPr>
        <a:xfrm>
          <a:off x="0" y="0"/>
          <a:ext cx="0" cy="0"/>
          <a:chOff x="0" y="0"/>
          <a:chExt cx="0" cy="0"/>
        </a:xfrm>
      </p:grpSpPr>
      <p:sp>
        <p:nvSpPr>
          <p:cNvPr id="2" name="Rectangle 8">
            <a:extLst>
              <a:ext uri="{FF2B5EF4-FFF2-40B4-BE49-F238E27FC236}">
                <a16:creationId xmlns:a16="http://schemas.microsoft.com/office/drawing/2014/main" id="{D6BA0904-47B7-FD7D-8D8B-F49A5A9F7F11}"/>
              </a:ext>
            </a:extLst>
          </p:cNvPr>
          <p:cNvSpPr/>
          <p:nvPr userDrawn="1"/>
        </p:nvSpPr>
        <p:spPr>
          <a:xfrm rot="10800000">
            <a:off x="4332287" y="1393825"/>
            <a:ext cx="7859713" cy="5464175"/>
          </a:xfrm>
          <a:custGeom>
            <a:avLst/>
            <a:gdLst>
              <a:gd name="connsiteX0" fmla="*/ 0 w 7852229"/>
              <a:gd name="connsiteY0" fmla="*/ 0 h 5464629"/>
              <a:gd name="connsiteX1" fmla="*/ 7852229 w 7852229"/>
              <a:gd name="connsiteY1" fmla="*/ 0 h 5464629"/>
              <a:gd name="connsiteX2" fmla="*/ 7852229 w 7852229"/>
              <a:gd name="connsiteY2" fmla="*/ 5464629 h 5464629"/>
              <a:gd name="connsiteX3" fmla="*/ 0 w 7852229"/>
              <a:gd name="connsiteY3" fmla="*/ 5464629 h 5464629"/>
              <a:gd name="connsiteX4" fmla="*/ 0 w 7852229"/>
              <a:gd name="connsiteY4" fmla="*/ 0 h 5464629"/>
              <a:gd name="connsiteX0" fmla="*/ 0 w 7852229"/>
              <a:gd name="connsiteY0" fmla="*/ 0 h 5464629"/>
              <a:gd name="connsiteX1" fmla="*/ 7852229 w 7852229"/>
              <a:gd name="connsiteY1" fmla="*/ 0 h 5464629"/>
              <a:gd name="connsiteX2" fmla="*/ 7844971 w 7852229"/>
              <a:gd name="connsiteY2" fmla="*/ 4034971 h 5464629"/>
              <a:gd name="connsiteX3" fmla="*/ 7852229 w 7852229"/>
              <a:gd name="connsiteY3" fmla="*/ 5464629 h 5464629"/>
              <a:gd name="connsiteX4" fmla="*/ 0 w 7852229"/>
              <a:gd name="connsiteY4" fmla="*/ 5464629 h 5464629"/>
              <a:gd name="connsiteX5" fmla="*/ 0 w 7852229"/>
              <a:gd name="connsiteY5" fmla="*/ 0 h 5464629"/>
              <a:gd name="connsiteX0" fmla="*/ 0 w 7852229"/>
              <a:gd name="connsiteY0" fmla="*/ 0 h 5471886"/>
              <a:gd name="connsiteX1" fmla="*/ 7852229 w 7852229"/>
              <a:gd name="connsiteY1" fmla="*/ 0 h 5471886"/>
              <a:gd name="connsiteX2" fmla="*/ 7844971 w 7852229"/>
              <a:gd name="connsiteY2" fmla="*/ 4034971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28458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93658"/>
              <a:gd name="connsiteX1" fmla="*/ 7859486 w 7859486"/>
              <a:gd name="connsiteY1" fmla="*/ 0 h 5493658"/>
              <a:gd name="connsiteX2" fmla="*/ 6320970 w 7859486"/>
              <a:gd name="connsiteY2" fmla="*/ 4049485 h 5493658"/>
              <a:gd name="connsiteX3" fmla="*/ 4535715 w 7859486"/>
              <a:gd name="connsiteY3" fmla="*/ 5464629 h 5493658"/>
              <a:gd name="connsiteX4" fmla="*/ 1632857 w 7859486"/>
              <a:gd name="connsiteY4" fmla="*/ 5493658 h 5493658"/>
              <a:gd name="connsiteX5" fmla="*/ 0 w 7859486"/>
              <a:gd name="connsiteY5" fmla="*/ 4782458 h 5493658"/>
              <a:gd name="connsiteX6" fmla="*/ 7257 w 7859486"/>
              <a:gd name="connsiteY6" fmla="*/ 0 h 5493658"/>
              <a:gd name="connsiteX0" fmla="*/ 7257 w 7859486"/>
              <a:gd name="connsiteY0" fmla="*/ 0 h 5464629"/>
              <a:gd name="connsiteX1" fmla="*/ 7859486 w 7859486"/>
              <a:gd name="connsiteY1" fmla="*/ 0 h 5464629"/>
              <a:gd name="connsiteX2" fmla="*/ 6320970 w 7859486"/>
              <a:gd name="connsiteY2" fmla="*/ 4049485 h 5464629"/>
              <a:gd name="connsiteX3" fmla="*/ 4535715 w 7859486"/>
              <a:gd name="connsiteY3" fmla="*/ 5464629 h 5464629"/>
              <a:gd name="connsiteX4" fmla="*/ 1516743 w 7859486"/>
              <a:gd name="connsiteY4" fmla="*/ 5457372 h 5464629"/>
              <a:gd name="connsiteX5" fmla="*/ 0 w 7859486"/>
              <a:gd name="connsiteY5" fmla="*/ 4782458 h 5464629"/>
              <a:gd name="connsiteX6" fmla="*/ 7257 w 7859486"/>
              <a:gd name="connsiteY6" fmla="*/ 0 h 546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59486" h="5464629">
                <a:moveTo>
                  <a:pt x="7257" y="0"/>
                </a:moveTo>
                <a:lnTo>
                  <a:pt x="7859486" y="0"/>
                </a:lnTo>
                <a:cubicBezTo>
                  <a:pt x="7320039" y="1446589"/>
                  <a:pt x="6816875" y="2733524"/>
                  <a:pt x="6320970" y="4049485"/>
                </a:cubicBezTo>
                <a:cubicBezTo>
                  <a:pt x="6033104" y="4765524"/>
                  <a:pt x="5396896" y="5445276"/>
                  <a:pt x="4535715" y="5464629"/>
                </a:cubicBezTo>
                <a:lnTo>
                  <a:pt x="1516743" y="5457372"/>
                </a:lnTo>
                <a:cubicBezTo>
                  <a:pt x="984552" y="5452534"/>
                  <a:pt x="488647" y="5346095"/>
                  <a:pt x="0" y="4782458"/>
                </a:cubicBezTo>
                <a:lnTo>
                  <a:pt x="7257" y="0"/>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chibsted Grotesk Bold" pitchFamily="2" charset="77"/>
              <a:ea typeface="+mn-ea"/>
              <a:cs typeface="+mn-cs"/>
            </a:endParaRPr>
          </a:p>
        </p:txBody>
      </p:sp>
      <p:sp>
        <p:nvSpPr>
          <p:cNvPr id="3" name="Rectangle 8">
            <a:extLst>
              <a:ext uri="{FF2B5EF4-FFF2-40B4-BE49-F238E27FC236}">
                <a16:creationId xmlns:a16="http://schemas.microsoft.com/office/drawing/2014/main" id="{F9A97BBF-9399-153F-484A-01203F6DAD42}"/>
              </a:ext>
            </a:extLst>
          </p:cNvPr>
          <p:cNvSpPr/>
          <p:nvPr userDrawn="1"/>
        </p:nvSpPr>
        <p:spPr>
          <a:xfrm>
            <a:off x="-7938" y="0"/>
            <a:ext cx="7859713" cy="5464175"/>
          </a:xfrm>
          <a:custGeom>
            <a:avLst/>
            <a:gdLst>
              <a:gd name="connsiteX0" fmla="*/ 0 w 7852229"/>
              <a:gd name="connsiteY0" fmla="*/ 0 h 5464629"/>
              <a:gd name="connsiteX1" fmla="*/ 7852229 w 7852229"/>
              <a:gd name="connsiteY1" fmla="*/ 0 h 5464629"/>
              <a:gd name="connsiteX2" fmla="*/ 7852229 w 7852229"/>
              <a:gd name="connsiteY2" fmla="*/ 5464629 h 5464629"/>
              <a:gd name="connsiteX3" fmla="*/ 0 w 7852229"/>
              <a:gd name="connsiteY3" fmla="*/ 5464629 h 5464629"/>
              <a:gd name="connsiteX4" fmla="*/ 0 w 7852229"/>
              <a:gd name="connsiteY4" fmla="*/ 0 h 5464629"/>
              <a:gd name="connsiteX0" fmla="*/ 0 w 7852229"/>
              <a:gd name="connsiteY0" fmla="*/ 0 h 5464629"/>
              <a:gd name="connsiteX1" fmla="*/ 7852229 w 7852229"/>
              <a:gd name="connsiteY1" fmla="*/ 0 h 5464629"/>
              <a:gd name="connsiteX2" fmla="*/ 7844971 w 7852229"/>
              <a:gd name="connsiteY2" fmla="*/ 4034971 h 5464629"/>
              <a:gd name="connsiteX3" fmla="*/ 7852229 w 7852229"/>
              <a:gd name="connsiteY3" fmla="*/ 5464629 h 5464629"/>
              <a:gd name="connsiteX4" fmla="*/ 0 w 7852229"/>
              <a:gd name="connsiteY4" fmla="*/ 5464629 h 5464629"/>
              <a:gd name="connsiteX5" fmla="*/ 0 w 7852229"/>
              <a:gd name="connsiteY5" fmla="*/ 0 h 5464629"/>
              <a:gd name="connsiteX0" fmla="*/ 0 w 7852229"/>
              <a:gd name="connsiteY0" fmla="*/ 0 h 5471886"/>
              <a:gd name="connsiteX1" fmla="*/ 7852229 w 7852229"/>
              <a:gd name="connsiteY1" fmla="*/ 0 h 5471886"/>
              <a:gd name="connsiteX2" fmla="*/ 7844971 w 7852229"/>
              <a:gd name="connsiteY2" fmla="*/ 4034971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28458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93658"/>
              <a:gd name="connsiteX1" fmla="*/ 7859486 w 7859486"/>
              <a:gd name="connsiteY1" fmla="*/ 0 h 5493658"/>
              <a:gd name="connsiteX2" fmla="*/ 6320970 w 7859486"/>
              <a:gd name="connsiteY2" fmla="*/ 4049485 h 5493658"/>
              <a:gd name="connsiteX3" fmla="*/ 4535715 w 7859486"/>
              <a:gd name="connsiteY3" fmla="*/ 5464629 h 5493658"/>
              <a:gd name="connsiteX4" fmla="*/ 1632857 w 7859486"/>
              <a:gd name="connsiteY4" fmla="*/ 5493658 h 5493658"/>
              <a:gd name="connsiteX5" fmla="*/ 0 w 7859486"/>
              <a:gd name="connsiteY5" fmla="*/ 4782458 h 5493658"/>
              <a:gd name="connsiteX6" fmla="*/ 7257 w 7859486"/>
              <a:gd name="connsiteY6" fmla="*/ 0 h 5493658"/>
              <a:gd name="connsiteX0" fmla="*/ 7257 w 7859486"/>
              <a:gd name="connsiteY0" fmla="*/ 0 h 5464629"/>
              <a:gd name="connsiteX1" fmla="*/ 7859486 w 7859486"/>
              <a:gd name="connsiteY1" fmla="*/ 0 h 5464629"/>
              <a:gd name="connsiteX2" fmla="*/ 6320970 w 7859486"/>
              <a:gd name="connsiteY2" fmla="*/ 4049485 h 5464629"/>
              <a:gd name="connsiteX3" fmla="*/ 4535715 w 7859486"/>
              <a:gd name="connsiteY3" fmla="*/ 5464629 h 5464629"/>
              <a:gd name="connsiteX4" fmla="*/ 1516743 w 7859486"/>
              <a:gd name="connsiteY4" fmla="*/ 5457372 h 5464629"/>
              <a:gd name="connsiteX5" fmla="*/ 0 w 7859486"/>
              <a:gd name="connsiteY5" fmla="*/ 4782458 h 5464629"/>
              <a:gd name="connsiteX6" fmla="*/ 7257 w 7859486"/>
              <a:gd name="connsiteY6" fmla="*/ 0 h 546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59486" h="5464629">
                <a:moveTo>
                  <a:pt x="7257" y="0"/>
                </a:moveTo>
                <a:lnTo>
                  <a:pt x="7859486" y="0"/>
                </a:lnTo>
                <a:cubicBezTo>
                  <a:pt x="7320039" y="1446589"/>
                  <a:pt x="6816875" y="2733524"/>
                  <a:pt x="6320970" y="4049485"/>
                </a:cubicBezTo>
                <a:cubicBezTo>
                  <a:pt x="6033104" y="4765524"/>
                  <a:pt x="5396896" y="5445276"/>
                  <a:pt x="4535715" y="5464629"/>
                </a:cubicBezTo>
                <a:lnTo>
                  <a:pt x="1516743" y="5457372"/>
                </a:lnTo>
                <a:cubicBezTo>
                  <a:pt x="984552" y="5452534"/>
                  <a:pt x="488647" y="5346095"/>
                  <a:pt x="0" y="4782458"/>
                </a:cubicBezTo>
                <a:lnTo>
                  <a:pt x="7257" y="0"/>
                </a:ln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chibsted Grotesk Bold" pitchFamily="2" charset="77"/>
              <a:ea typeface="+mn-ea"/>
              <a:cs typeface="+mn-cs"/>
            </a:endParaRPr>
          </a:p>
        </p:txBody>
      </p:sp>
      <p:sp>
        <p:nvSpPr>
          <p:cNvPr id="6" name="Title 1">
            <a:extLst>
              <a:ext uri="{FF2B5EF4-FFF2-40B4-BE49-F238E27FC236}">
                <a16:creationId xmlns:a16="http://schemas.microsoft.com/office/drawing/2014/main" id="{BA7DFF01-12F2-FCD5-AE18-6450A1F70231}"/>
              </a:ext>
            </a:extLst>
          </p:cNvPr>
          <p:cNvSpPr>
            <a:spLocks noGrp="1"/>
          </p:cNvSpPr>
          <p:nvPr>
            <p:ph type="ctrTitle"/>
          </p:nvPr>
        </p:nvSpPr>
        <p:spPr>
          <a:xfrm>
            <a:off x="426379" y="1916920"/>
            <a:ext cx="5349765" cy="1603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defRPr lang="en-US" b="0" i="0" dirty="0">
                <a:solidFill>
                  <a:schemeClr val="bg2"/>
                </a:solidFill>
              </a:defRPr>
            </a:lvl1pPr>
          </a:lstStyle>
          <a:p>
            <a:pPr lvl="0"/>
            <a:r>
              <a:rPr lang="en-US"/>
              <a:t>Click to edit Master title style</a:t>
            </a:r>
          </a:p>
        </p:txBody>
      </p:sp>
      <p:sp>
        <p:nvSpPr>
          <p:cNvPr id="7" name="Subtitle 2">
            <a:extLst>
              <a:ext uri="{FF2B5EF4-FFF2-40B4-BE49-F238E27FC236}">
                <a16:creationId xmlns:a16="http://schemas.microsoft.com/office/drawing/2014/main" id="{5BE17CB9-DBB8-782B-FF7B-7A7F167A2429}"/>
              </a:ext>
            </a:extLst>
          </p:cNvPr>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bg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Yellow letters on a black background&#10;&#10;Description automatically generated">
            <a:extLst>
              <a:ext uri="{FF2B5EF4-FFF2-40B4-BE49-F238E27FC236}">
                <a16:creationId xmlns:a16="http://schemas.microsoft.com/office/drawing/2014/main" id="{137522A2-2742-6C13-ADAB-7C5E513869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075" y="196497"/>
            <a:ext cx="2527329" cy="927100"/>
          </a:xfrm>
          <a:prstGeom prst="rect">
            <a:avLst/>
          </a:prstGeom>
        </p:spPr>
      </p:pic>
    </p:spTree>
    <p:extLst>
      <p:ext uri="{BB962C8B-B14F-4D97-AF65-F5344CB8AC3E}">
        <p14:creationId xmlns:p14="http://schemas.microsoft.com/office/powerpoint/2010/main" val="238915788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ver 12">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26379" y="1600228"/>
            <a:ext cx="5173717" cy="1363462"/>
          </a:xfrm>
        </p:spPr>
        <p:txBody>
          <a:bodyPr/>
          <a:lstStyle>
            <a:lvl1pPr>
              <a:defRPr>
                <a:solidFill>
                  <a:srgbClr val="FFD900"/>
                </a:solidFill>
              </a:defRPr>
            </a:lvl1pPr>
          </a:lstStyle>
          <a:p>
            <a:r>
              <a:rPr lang="en-US"/>
              <a:t>Click to edit Master title style</a:t>
            </a:r>
          </a:p>
        </p:txBody>
      </p:sp>
      <p:sp>
        <p:nvSpPr>
          <p:cNvPr id="6" name="Rectangle 4">
            <a:extLst>
              <a:ext uri="{FF2B5EF4-FFF2-40B4-BE49-F238E27FC236}">
                <a16:creationId xmlns:a16="http://schemas.microsoft.com/office/drawing/2014/main" id="{9E68E71F-6D00-D379-4653-CFBC2E30BB86}"/>
              </a:ext>
            </a:extLst>
          </p:cNvPr>
          <p:cNvSpPr/>
          <p:nvPr userDrawn="1"/>
        </p:nvSpPr>
        <p:spPr>
          <a:xfrm rot="10800000">
            <a:off x="9607550" y="5930900"/>
            <a:ext cx="2584450" cy="927100"/>
          </a:xfrm>
          <a:custGeom>
            <a:avLst/>
            <a:gdLst>
              <a:gd name="connsiteX0" fmla="*/ 0 w 2578101"/>
              <a:gd name="connsiteY0" fmla="*/ 0 h 1130300"/>
              <a:gd name="connsiteX1" fmla="*/ 2578101 w 2578101"/>
              <a:gd name="connsiteY1" fmla="*/ 0 h 1130300"/>
              <a:gd name="connsiteX2" fmla="*/ 2578101 w 2578101"/>
              <a:gd name="connsiteY2" fmla="*/ 1130300 h 1130300"/>
              <a:gd name="connsiteX3" fmla="*/ 0 w 2578101"/>
              <a:gd name="connsiteY3" fmla="*/ 1130300 h 1130300"/>
              <a:gd name="connsiteX4" fmla="*/ 0 w 2578101"/>
              <a:gd name="connsiteY4" fmla="*/ 0 h 1130300"/>
              <a:gd name="connsiteX0" fmla="*/ 0 w 2578101"/>
              <a:gd name="connsiteY0" fmla="*/ 1739900 h 2870200"/>
              <a:gd name="connsiteX1" fmla="*/ 2578101 w 2578101"/>
              <a:gd name="connsiteY1" fmla="*/ 1739900 h 2870200"/>
              <a:gd name="connsiteX2" fmla="*/ 1123951 w 2578101"/>
              <a:gd name="connsiteY2" fmla="*/ 0 h 2870200"/>
              <a:gd name="connsiteX3" fmla="*/ 0 w 2578101"/>
              <a:gd name="connsiteY3" fmla="*/ 2870200 h 2870200"/>
              <a:gd name="connsiteX4" fmla="*/ 0 w 2578101"/>
              <a:gd name="connsiteY4" fmla="*/ 1739900 h 2870200"/>
              <a:gd name="connsiteX0" fmla="*/ 0 w 2578101"/>
              <a:gd name="connsiteY0" fmla="*/ 0 h 1130300"/>
              <a:gd name="connsiteX1" fmla="*/ 2578101 w 2578101"/>
              <a:gd name="connsiteY1" fmla="*/ 0 h 1130300"/>
              <a:gd name="connsiteX2" fmla="*/ 1663701 w 2578101"/>
              <a:gd name="connsiteY2" fmla="*/ 914400 h 1130300"/>
              <a:gd name="connsiteX3" fmla="*/ 0 w 2578101"/>
              <a:gd name="connsiteY3" fmla="*/ 1130300 h 1130300"/>
              <a:gd name="connsiteX4" fmla="*/ 0 w 2578101"/>
              <a:gd name="connsiteY4" fmla="*/ 0 h 1130300"/>
              <a:gd name="connsiteX0" fmla="*/ 0 w 2578101"/>
              <a:gd name="connsiteY0" fmla="*/ 0 h 914400"/>
              <a:gd name="connsiteX1" fmla="*/ 2578101 w 2578101"/>
              <a:gd name="connsiteY1" fmla="*/ 0 h 914400"/>
              <a:gd name="connsiteX2" fmla="*/ 1663701 w 2578101"/>
              <a:gd name="connsiteY2" fmla="*/ 914400 h 914400"/>
              <a:gd name="connsiteX3" fmla="*/ 6350 w 2578101"/>
              <a:gd name="connsiteY3" fmla="*/ 723900 h 914400"/>
              <a:gd name="connsiteX4" fmla="*/ 0 w 2578101"/>
              <a:gd name="connsiteY4" fmla="*/ 0 h 914400"/>
              <a:gd name="connsiteX0" fmla="*/ 6631 w 2584732"/>
              <a:gd name="connsiteY0" fmla="*/ 0 h 927100"/>
              <a:gd name="connsiteX1" fmla="*/ 2584732 w 2584732"/>
              <a:gd name="connsiteY1" fmla="*/ 0 h 927100"/>
              <a:gd name="connsiteX2" fmla="*/ 167033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67033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53698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53698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53698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536982 w 2584732"/>
              <a:gd name="connsiteY2" fmla="*/ 914400 h 927100"/>
              <a:gd name="connsiteX3" fmla="*/ 281 w 2584732"/>
              <a:gd name="connsiteY3" fmla="*/ 927100 h 927100"/>
              <a:gd name="connsiteX4" fmla="*/ 6631 w 2584732"/>
              <a:gd name="connsiteY4" fmla="*/ 0 h 92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4732" h="927100">
                <a:moveTo>
                  <a:pt x="6631" y="0"/>
                </a:moveTo>
                <a:lnTo>
                  <a:pt x="2584732" y="0"/>
                </a:lnTo>
                <a:cubicBezTo>
                  <a:pt x="2432332" y="463550"/>
                  <a:pt x="2222782" y="920750"/>
                  <a:pt x="1536982" y="914400"/>
                </a:cubicBezTo>
                <a:lnTo>
                  <a:pt x="281" y="927100"/>
                </a:lnTo>
                <a:cubicBezTo>
                  <a:pt x="-1836" y="685800"/>
                  <a:pt x="8748" y="241300"/>
                  <a:pt x="6631" y="0"/>
                </a:cubicBezTo>
                <a:close/>
              </a:path>
            </a:pathLst>
          </a:custGeom>
          <a:solidFill>
            <a:srgbClr val="FFD900"/>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chibsted Grotesk Bold" pitchFamily="2" charset="77"/>
              <a:ea typeface="+mn-ea"/>
              <a:cs typeface="+mn-cs"/>
            </a:endParaRPr>
          </a:p>
        </p:txBody>
      </p:sp>
      <p:pic>
        <p:nvPicPr>
          <p:cNvPr id="7" name="Picture 3">
            <a:extLst>
              <a:ext uri="{FF2B5EF4-FFF2-40B4-BE49-F238E27FC236}">
                <a16:creationId xmlns:a16="http://schemas.microsoft.com/office/drawing/2014/main" id="{E49A7B10-8A9B-680E-847F-3CA2ACE5B0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137775" y="6080125"/>
            <a:ext cx="1952625"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2">
            <a:extLst>
              <a:ext uri="{FF2B5EF4-FFF2-40B4-BE49-F238E27FC236}">
                <a16:creationId xmlns:a16="http://schemas.microsoft.com/office/drawing/2014/main" id="{E0BEC3F9-66C5-9650-180E-5EDD144E9CD9}"/>
              </a:ext>
            </a:extLst>
          </p:cNvPr>
          <p:cNvSpPr>
            <a:spLocks noGrp="1"/>
          </p:cNvSpPr>
          <p:nvPr>
            <p:ph type="subTitle" idx="1"/>
          </p:nvPr>
        </p:nvSpPr>
        <p:spPr>
          <a:xfrm>
            <a:off x="426379" y="3396212"/>
            <a:ext cx="4702977" cy="550370"/>
          </a:xfrm>
          <a:prstGeom prst="rect">
            <a:avLst/>
          </a:prstGeom>
        </p:spPr>
        <p:txBody>
          <a:bodyPr>
            <a:normAutofit/>
          </a:bodyPr>
          <a:lstStyle>
            <a:lvl1pPr marL="0" indent="0" algn="l">
              <a:buNone/>
              <a:defRPr sz="2000" b="1" i="0">
                <a:solidFill>
                  <a:schemeClr val="bg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A yellow line in a black background&#10;&#10;Description automatically generated">
            <a:extLst>
              <a:ext uri="{FF2B5EF4-FFF2-40B4-BE49-F238E27FC236}">
                <a16:creationId xmlns:a16="http://schemas.microsoft.com/office/drawing/2014/main" id="{AFC0C4D5-43AF-CB75-A4FA-156EBA12A8B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2000" cy="6858000"/>
          </a:xfrm>
          <a:prstGeom prst="rect">
            <a:avLst/>
          </a:prstGeom>
          <a:noFill/>
          <a:ln>
            <a:noFill/>
          </a:ln>
        </p:spPr>
      </p:pic>
    </p:spTree>
    <p:extLst>
      <p:ext uri="{BB962C8B-B14F-4D97-AF65-F5344CB8AC3E}">
        <p14:creationId xmlns:p14="http://schemas.microsoft.com/office/powerpoint/2010/main" val="331531799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ver 13">
    <p:bg>
      <p:bgPr>
        <a:solidFill>
          <a:schemeClr val="tx2"/>
        </a:solidFill>
        <a:effectLst/>
      </p:bgPr>
    </p:bg>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A3F3CECF-983C-1D7B-4726-7D5437C98932}"/>
              </a:ext>
            </a:extLst>
          </p:cNvPr>
          <p:cNvSpPr txBox="1">
            <a:spLocks/>
          </p:cNvSpPr>
          <p:nvPr userDrawn="1"/>
        </p:nvSpPr>
        <p:spPr>
          <a:xfrm flipH="1" flipV="1">
            <a:off x="-9427" y="-18854"/>
            <a:ext cx="8040687" cy="6872288"/>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 name="connsiteX0" fmla="*/ 3652173 w 8109899"/>
              <a:gd name="connsiteY0" fmla="*/ 6934 h 6857673"/>
              <a:gd name="connsiteX1" fmla="*/ 8102150 w 8109899"/>
              <a:gd name="connsiteY1" fmla="*/ 8710 h 6857673"/>
              <a:gd name="connsiteX2" fmla="*/ 8109899 w 8109899"/>
              <a:gd name="connsiteY2" fmla="*/ 6210534 h 6857673"/>
              <a:gd name="connsiteX3" fmla="*/ 76280 w 8109899"/>
              <a:gd name="connsiteY3" fmla="*/ 6857673 h 6857673"/>
              <a:gd name="connsiteX4" fmla="*/ 2086488 w 8109899"/>
              <a:gd name="connsiteY4" fmla="*/ 2579732 h 6857673"/>
              <a:gd name="connsiteX5" fmla="*/ 3652173 w 8109899"/>
              <a:gd name="connsiteY5" fmla="*/ 6934 h 6857673"/>
              <a:gd name="connsiteX0" fmla="*/ 3652173 w 8116384"/>
              <a:gd name="connsiteY0" fmla="*/ 6934 h 6878500"/>
              <a:gd name="connsiteX1" fmla="*/ 8102150 w 8116384"/>
              <a:gd name="connsiteY1" fmla="*/ 8710 h 6878500"/>
              <a:gd name="connsiteX2" fmla="*/ 8116384 w 8116384"/>
              <a:gd name="connsiteY2" fmla="*/ 6878500 h 6878500"/>
              <a:gd name="connsiteX3" fmla="*/ 76280 w 8116384"/>
              <a:gd name="connsiteY3" fmla="*/ 6857673 h 6878500"/>
              <a:gd name="connsiteX4" fmla="*/ 2086488 w 8116384"/>
              <a:gd name="connsiteY4" fmla="*/ 2579732 h 6878500"/>
              <a:gd name="connsiteX5" fmla="*/ 3652173 w 8116384"/>
              <a:gd name="connsiteY5" fmla="*/ 6934 h 6878500"/>
              <a:gd name="connsiteX0" fmla="*/ 4500050 w 8121197"/>
              <a:gd name="connsiteY0" fmla="*/ 8356 h 6873437"/>
              <a:gd name="connsiteX1" fmla="*/ 8106963 w 8121197"/>
              <a:gd name="connsiteY1" fmla="*/ 3647 h 6873437"/>
              <a:gd name="connsiteX2" fmla="*/ 8121197 w 8121197"/>
              <a:gd name="connsiteY2" fmla="*/ 6873437 h 6873437"/>
              <a:gd name="connsiteX3" fmla="*/ 81093 w 8121197"/>
              <a:gd name="connsiteY3" fmla="*/ 6852610 h 6873437"/>
              <a:gd name="connsiteX4" fmla="*/ 2091301 w 8121197"/>
              <a:gd name="connsiteY4" fmla="*/ 2574669 h 6873437"/>
              <a:gd name="connsiteX5" fmla="*/ 4500050 w 8121197"/>
              <a:gd name="connsiteY5" fmla="*/ 8356 h 6873437"/>
              <a:gd name="connsiteX0" fmla="*/ 4494764 w 8115911"/>
              <a:gd name="connsiteY0" fmla="*/ 122173 h 6987254"/>
              <a:gd name="connsiteX1" fmla="*/ 8101677 w 8115911"/>
              <a:gd name="connsiteY1" fmla="*/ 117464 h 6987254"/>
              <a:gd name="connsiteX2" fmla="*/ 8115911 w 8115911"/>
              <a:gd name="connsiteY2" fmla="*/ 6987254 h 6987254"/>
              <a:gd name="connsiteX3" fmla="*/ 75807 w 8115911"/>
              <a:gd name="connsiteY3" fmla="*/ 6966427 h 6987254"/>
              <a:gd name="connsiteX4" fmla="*/ 2235173 w 8115911"/>
              <a:gd name="connsiteY4" fmla="*/ 1767601 h 6987254"/>
              <a:gd name="connsiteX5" fmla="*/ 4494764 w 8115911"/>
              <a:gd name="connsiteY5" fmla="*/ 122173 h 6987254"/>
              <a:gd name="connsiteX0" fmla="*/ 4494970 w 8116117"/>
              <a:gd name="connsiteY0" fmla="*/ 122173 h 6987254"/>
              <a:gd name="connsiteX1" fmla="*/ 8101883 w 8116117"/>
              <a:gd name="connsiteY1" fmla="*/ 117464 h 6987254"/>
              <a:gd name="connsiteX2" fmla="*/ 8116117 w 8116117"/>
              <a:gd name="connsiteY2" fmla="*/ 6987254 h 6987254"/>
              <a:gd name="connsiteX3" fmla="*/ 76013 w 8116117"/>
              <a:gd name="connsiteY3" fmla="*/ 6966427 h 6987254"/>
              <a:gd name="connsiteX4" fmla="*/ 2235379 w 8116117"/>
              <a:gd name="connsiteY4" fmla="*/ 1767601 h 6987254"/>
              <a:gd name="connsiteX5" fmla="*/ 4494970 w 8116117"/>
              <a:gd name="connsiteY5" fmla="*/ 122173 h 6987254"/>
              <a:gd name="connsiteX0" fmla="*/ 4418957 w 8040104"/>
              <a:gd name="connsiteY0" fmla="*/ 122173 h 6987254"/>
              <a:gd name="connsiteX1" fmla="*/ 8025870 w 8040104"/>
              <a:gd name="connsiteY1" fmla="*/ 117464 h 6987254"/>
              <a:gd name="connsiteX2" fmla="*/ 8040104 w 8040104"/>
              <a:gd name="connsiteY2" fmla="*/ 6987254 h 6987254"/>
              <a:gd name="connsiteX3" fmla="*/ 0 w 8040104"/>
              <a:gd name="connsiteY3" fmla="*/ 6966427 h 6987254"/>
              <a:gd name="connsiteX4" fmla="*/ 2159366 w 8040104"/>
              <a:gd name="connsiteY4" fmla="*/ 1767601 h 6987254"/>
              <a:gd name="connsiteX5" fmla="*/ 4418957 w 8040104"/>
              <a:gd name="connsiteY5" fmla="*/ 122173 h 6987254"/>
              <a:gd name="connsiteX0" fmla="*/ 4418957 w 8040104"/>
              <a:gd name="connsiteY0" fmla="*/ 122173 h 6987254"/>
              <a:gd name="connsiteX1" fmla="*/ 8025870 w 8040104"/>
              <a:gd name="connsiteY1" fmla="*/ 117464 h 6987254"/>
              <a:gd name="connsiteX2" fmla="*/ 8040104 w 8040104"/>
              <a:gd name="connsiteY2" fmla="*/ 6987254 h 6987254"/>
              <a:gd name="connsiteX3" fmla="*/ 0 w 8040104"/>
              <a:gd name="connsiteY3" fmla="*/ 6966427 h 6987254"/>
              <a:gd name="connsiteX4" fmla="*/ 2159366 w 8040104"/>
              <a:gd name="connsiteY4" fmla="*/ 1767601 h 6987254"/>
              <a:gd name="connsiteX5" fmla="*/ 4418957 w 8040104"/>
              <a:gd name="connsiteY5" fmla="*/ 122173 h 6987254"/>
              <a:gd name="connsiteX0" fmla="*/ 4418957 w 8040104"/>
              <a:gd name="connsiteY0" fmla="*/ 116890 h 6981971"/>
              <a:gd name="connsiteX1" fmla="*/ 8025870 w 8040104"/>
              <a:gd name="connsiteY1" fmla="*/ 112181 h 6981971"/>
              <a:gd name="connsiteX2" fmla="*/ 8040104 w 8040104"/>
              <a:gd name="connsiteY2" fmla="*/ 6981971 h 6981971"/>
              <a:gd name="connsiteX3" fmla="*/ 0 w 8040104"/>
              <a:gd name="connsiteY3" fmla="*/ 6961144 h 6981971"/>
              <a:gd name="connsiteX4" fmla="*/ 2859757 w 8040104"/>
              <a:gd name="connsiteY4" fmla="*/ 1690982 h 6981971"/>
              <a:gd name="connsiteX5" fmla="*/ 4418957 w 8040104"/>
              <a:gd name="connsiteY5" fmla="*/ 116890 h 6981971"/>
              <a:gd name="connsiteX0" fmla="*/ 4418957 w 8040104"/>
              <a:gd name="connsiteY0" fmla="*/ 112567 h 6977648"/>
              <a:gd name="connsiteX1" fmla="*/ 8025870 w 8040104"/>
              <a:gd name="connsiteY1" fmla="*/ 107858 h 6977648"/>
              <a:gd name="connsiteX2" fmla="*/ 8040104 w 8040104"/>
              <a:gd name="connsiteY2" fmla="*/ 6977648 h 6977648"/>
              <a:gd name="connsiteX3" fmla="*/ 0 w 8040104"/>
              <a:gd name="connsiteY3" fmla="*/ 6956821 h 6977648"/>
              <a:gd name="connsiteX4" fmla="*/ 2230702 w 8040104"/>
              <a:gd name="connsiteY4" fmla="*/ 1628293 h 6977648"/>
              <a:gd name="connsiteX5" fmla="*/ 4418957 w 8040104"/>
              <a:gd name="connsiteY5" fmla="*/ 112567 h 6977648"/>
              <a:gd name="connsiteX0" fmla="*/ 4418957 w 8040104"/>
              <a:gd name="connsiteY0" fmla="*/ 112567 h 6977648"/>
              <a:gd name="connsiteX1" fmla="*/ 8025870 w 8040104"/>
              <a:gd name="connsiteY1" fmla="*/ 107858 h 6977648"/>
              <a:gd name="connsiteX2" fmla="*/ 8040104 w 8040104"/>
              <a:gd name="connsiteY2" fmla="*/ 6977648 h 6977648"/>
              <a:gd name="connsiteX3" fmla="*/ 0 w 8040104"/>
              <a:gd name="connsiteY3" fmla="*/ 6956821 h 6977648"/>
              <a:gd name="connsiteX4" fmla="*/ 2230702 w 8040104"/>
              <a:gd name="connsiteY4" fmla="*/ 1628293 h 6977648"/>
              <a:gd name="connsiteX5" fmla="*/ 4418957 w 8040104"/>
              <a:gd name="connsiteY5" fmla="*/ 112567 h 6977648"/>
              <a:gd name="connsiteX0" fmla="*/ 4418957 w 8040104"/>
              <a:gd name="connsiteY0" fmla="*/ 112567 h 6977648"/>
              <a:gd name="connsiteX1" fmla="*/ 8025870 w 8040104"/>
              <a:gd name="connsiteY1" fmla="*/ 107858 h 6977648"/>
              <a:gd name="connsiteX2" fmla="*/ 8040104 w 8040104"/>
              <a:gd name="connsiteY2" fmla="*/ 6977648 h 6977648"/>
              <a:gd name="connsiteX3" fmla="*/ 0 w 8040104"/>
              <a:gd name="connsiteY3" fmla="*/ 6956821 h 6977648"/>
              <a:gd name="connsiteX4" fmla="*/ 2230702 w 8040104"/>
              <a:gd name="connsiteY4" fmla="*/ 1628293 h 6977648"/>
              <a:gd name="connsiteX5" fmla="*/ 4418957 w 8040104"/>
              <a:gd name="connsiteY5" fmla="*/ 112567 h 6977648"/>
              <a:gd name="connsiteX0" fmla="*/ 4418957 w 8040104"/>
              <a:gd name="connsiteY0" fmla="*/ 141388 h 7006469"/>
              <a:gd name="connsiteX1" fmla="*/ 8025870 w 8040104"/>
              <a:gd name="connsiteY1" fmla="*/ 136679 h 7006469"/>
              <a:gd name="connsiteX2" fmla="*/ 8040104 w 8040104"/>
              <a:gd name="connsiteY2" fmla="*/ 7006469 h 7006469"/>
              <a:gd name="connsiteX3" fmla="*/ 0 w 8040104"/>
              <a:gd name="connsiteY3" fmla="*/ 6985642 h 7006469"/>
              <a:gd name="connsiteX4" fmla="*/ 2217731 w 8040104"/>
              <a:gd name="connsiteY4" fmla="*/ 2046220 h 7006469"/>
              <a:gd name="connsiteX5" fmla="*/ 4418957 w 8040104"/>
              <a:gd name="connsiteY5" fmla="*/ 141388 h 7006469"/>
              <a:gd name="connsiteX0" fmla="*/ 4418957 w 8040104"/>
              <a:gd name="connsiteY0" fmla="*/ 4709 h 6869790"/>
              <a:gd name="connsiteX1" fmla="*/ 8025870 w 8040104"/>
              <a:gd name="connsiteY1" fmla="*/ 0 h 6869790"/>
              <a:gd name="connsiteX2" fmla="*/ 8040104 w 8040104"/>
              <a:gd name="connsiteY2" fmla="*/ 6869790 h 6869790"/>
              <a:gd name="connsiteX3" fmla="*/ 0 w 8040104"/>
              <a:gd name="connsiteY3" fmla="*/ 6848963 h 6869790"/>
              <a:gd name="connsiteX4" fmla="*/ 2217731 w 8040104"/>
              <a:gd name="connsiteY4" fmla="*/ 1909541 h 6869790"/>
              <a:gd name="connsiteX5" fmla="*/ 4418957 w 8040104"/>
              <a:gd name="connsiteY5" fmla="*/ 4709 h 6869790"/>
              <a:gd name="connsiteX0" fmla="*/ 4470838 w 8040104"/>
              <a:gd name="connsiteY0" fmla="*/ 0 h 6988298"/>
              <a:gd name="connsiteX1" fmla="*/ 8025870 w 8040104"/>
              <a:gd name="connsiteY1" fmla="*/ 118508 h 6988298"/>
              <a:gd name="connsiteX2" fmla="*/ 8040104 w 8040104"/>
              <a:gd name="connsiteY2" fmla="*/ 6988298 h 6988298"/>
              <a:gd name="connsiteX3" fmla="*/ 0 w 8040104"/>
              <a:gd name="connsiteY3" fmla="*/ 6967471 h 6988298"/>
              <a:gd name="connsiteX4" fmla="*/ 2217731 w 8040104"/>
              <a:gd name="connsiteY4" fmla="*/ 2028049 h 6988298"/>
              <a:gd name="connsiteX5" fmla="*/ 4470838 w 8040104"/>
              <a:gd name="connsiteY5" fmla="*/ 0 h 6988298"/>
              <a:gd name="connsiteX0" fmla="*/ 4470838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217731 w 8040104"/>
              <a:gd name="connsiteY4" fmla="*/ 1930772 h 6891021"/>
              <a:gd name="connsiteX5" fmla="*/ 4470838 w 8040104"/>
              <a:gd name="connsiteY5" fmla="*/ 0 h 6891021"/>
              <a:gd name="connsiteX0" fmla="*/ 4470838 w 8040104"/>
              <a:gd name="connsiteY0" fmla="*/ 127550 h 7018571"/>
              <a:gd name="connsiteX1" fmla="*/ 8025870 w 8040104"/>
              <a:gd name="connsiteY1" fmla="*/ 148781 h 7018571"/>
              <a:gd name="connsiteX2" fmla="*/ 8040104 w 8040104"/>
              <a:gd name="connsiteY2" fmla="*/ 7018571 h 7018571"/>
              <a:gd name="connsiteX3" fmla="*/ 0 w 8040104"/>
              <a:gd name="connsiteY3" fmla="*/ 6997744 h 7018571"/>
              <a:gd name="connsiteX4" fmla="*/ 2120454 w 8040104"/>
              <a:gd name="connsiteY4" fmla="*/ 1922135 h 7018571"/>
              <a:gd name="connsiteX5" fmla="*/ 4470838 w 8040104"/>
              <a:gd name="connsiteY5" fmla="*/ 127550 h 7018571"/>
              <a:gd name="connsiteX0" fmla="*/ 4470838 w 8040104"/>
              <a:gd name="connsiteY0" fmla="*/ 127550 h 7018571"/>
              <a:gd name="connsiteX1" fmla="*/ 8025870 w 8040104"/>
              <a:gd name="connsiteY1" fmla="*/ 148781 h 7018571"/>
              <a:gd name="connsiteX2" fmla="*/ 8040104 w 8040104"/>
              <a:gd name="connsiteY2" fmla="*/ 7018571 h 7018571"/>
              <a:gd name="connsiteX3" fmla="*/ 0 w 8040104"/>
              <a:gd name="connsiteY3" fmla="*/ 6997744 h 7018571"/>
              <a:gd name="connsiteX4" fmla="*/ 2120454 w 8040104"/>
              <a:gd name="connsiteY4" fmla="*/ 1922135 h 7018571"/>
              <a:gd name="connsiteX5" fmla="*/ 4470838 w 8040104"/>
              <a:gd name="connsiteY5" fmla="*/ 127550 h 7018571"/>
              <a:gd name="connsiteX0" fmla="*/ 4470838 w 8040104"/>
              <a:gd name="connsiteY0" fmla="*/ 127550 h 7018571"/>
              <a:gd name="connsiteX1" fmla="*/ 8025870 w 8040104"/>
              <a:gd name="connsiteY1" fmla="*/ 148781 h 7018571"/>
              <a:gd name="connsiteX2" fmla="*/ 8040104 w 8040104"/>
              <a:gd name="connsiteY2" fmla="*/ 7018571 h 7018571"/>
              <a:gd name="connsiteX3" fmla="*/ 0 w 8040104"/>
              <a:gd name="connsiteY3" fmla="*/ 6997744 h 7018571"/>
              <a:gd name="connsiteX4" fmla="*/ 2120454 w 8040104"/>
              <a:gd name="connsiteY4" fmla="*/ 1922135 h 7018571"/>
              <a:gd name="connsiteX5" fmla="*/ 4470838 w 8040104"/>
              <a:gd name="connsiteY5" fmla="*/ 127550 h 7018571"/>
              <a:gd name="connsiteX0" fmla="*/ 4470838 w 8040104"/>
              <a:gd name="connsiteY0" fmla="*/ 127550 h 7018571"/>
              <a:gd name="connsiteX1" fmla="*/ 8025870 w 8040104"/>
              <a:gd name="connsiteY1" fmla="*/ 148781 h 7018571"/>
              <a:gd name="connsiteX2" fmla="*/ 8040104 w 8040104"/>
              <a:gd name="connsiteY2" fmla="*/ 7018571 h 7018571"/>
              <a:gd name="connsiteX3" fmla="*/ 0 w 8040104"/>
              <a:gd name="connsiteY3" fmla="*/ 6997744 h 7018571"/>
              <a:gd name="connsiteX4" fmla="*/ 2120454 w 8040104"/>
              <a:gd name="connsiteY4" fmla="*/ 1922135 h 7018571"/>
              <a:gd name="connsiteX5" fmla="*/ 4470838 w 8040104"/>
              <a:gd name="connsiteY5" fmla="*/ 127550 h 7018571"/>
              <a:gd name="connsiteX0" fmla="*/ 4470838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470838 w 8040104"/>
              <a:gd name="connsiteY5" fmla="*/ 0 h 6891021"/>
              <a:gd name="connsiteX0" fmla="*/ 4678361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678361 w 8040104"/>
              <a:gd name="connsiteY5" fmla="*/ 0 h 6891021"/>
              <a:gd name="connsiteX0" fmla="*/ 4412472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412472 w 8040104"/>
              <a:gd name="connsiteY5" fmla="*/ 0 h 6891021"/>
              <a:gd name="connsiteX0" fmla="*/ 4399501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399501 w 8040104"/>
              <a:gd name="connsiteY5" fmla="*/ 0 h 6891021"/>
              <a:gd name="connsiteX0" fmla="*/ 4399501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20454 w 8040104"/>
              <a:gd name="connsiteY4" fmla="*/ 1794585 h 6891021"/>
              <a:gd name="connsiteX5" fmla="*/ 4399501 w 8040104"/>
              <a:gd name="connsiteY5" fmla="*/ 0 h 6891021"/>
              <a:gd name="connsiteX0" fmla="*/ 4399501 w 8040104"/>
              <a:gd name="connsiteY0" fmla="*/ 160672 h 7051693"/>
              <a:gd name="connsiteX1" fmla="*/ 8025870 w 8040104"/>
              <a:gd name="connsiteY1" fmla="*/ 181903 h 7051693"/>
              <a:gd name="connsiteX2" fmla="*/ 8040104 w 8040104"/>
              <a:gd name="connsiteY2" fmla="*/ 7051693 h 7051693"/>
              <a:gd name="connsiteX3" fmla="*/ 0 w 8040104"/>
              <a:gd name="connsiteY3" fmla="*/ 7030866 h 7051693"/>
              <a:gd name="connsiteX4" fmla="*/ 2464165 w 8040104"/>
              <a:gd name="connsiteY4" fmla="*/ 2402730 h 7051693"/>
              <a:gd name="connsiteX5" fmla="*/ 4399501 w 8040104"/>
              <a:gd name="connsiteY5" fmla="*/ 160672 h 7051693"/>
              <a:gd name="connsiteX0" fmla="*/ 4399501 w 8040104"/>
              <a:gd name="connsiteY0" fmla="*/ 120352 h 7011373"/>
              <a:gd name="connsiteX1" fmla="*/ 8025870 w 8040104"/>
              <a:gd name="connsiteY1" fmla="*/ 141583 h 7011373"/>
              <a:gd name="connsiteX2" fmla="*/ 8040104 w 8040104"/>
              <a:gd name="connsiteY2" fmla="*/ 7011373 h 7011373"/>
              <a:gd name="connsiteX3" fmla="*/ 0 w 8040104"/>
              <a:gd name="connsiteY3" fmla="*/ 6990546 h 7011373"/>
              <a:gd name="connsiteX4" fmla="*/ 2172335 w 8040104"/>
              <a:gd name="connsiteY4" fmla="*/ 1817661 h 7011373"/>
              <a:gd name="connsiteX5" fmla="*/ 4399501 w 8040104"/>
              <a:gd name="connsiteY5" fmla="*/ 120352 h 7011373"/>
              <a:gd name="connsiteX0" fmla="*/ 4399501 w 8040104"/>
              <a:gd name="connsiteY0" fmla="*/ 120352 h 7011373"/>
              <a:gd name="connsiteX1" fmla="*/ 8025870 w 8040104"/>
              <a:gd name="connsiteY1" fmla="*/ 141583 h 7011373"/>
              <a:gd name="connsiteX2" fmla="*/ 8040104 w 8040104"/>
              <a:gd name="connsiteY2" fmla="*/ 7011373 h 7011373"/>
              <a:gd name="connsiteX3" fmla="*/ 0 w 8040104"/>
              <a:gd name="connsiteY3" fmla="*/ 6990546 h 7011373"/>
              <a:gd name="connsiteX4" fmla="*/ 2172335 w 8040104"/>
              <a:gd name="connsiteY4" fmla="*/ 1817661 h 7011373"/>
              <a:gd name="connsiteX5" fmla="*/ 4399501 w 8040104"/>
              <a:gd name="connsiteY5" fmla="*/ 120352 h 7011373"/>
              <a:gd name="connsiteX0" fmla="*/ 4399501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72335 w 8040104"/>
              <a:gd name="connsiteY4" fmla="*/ 1697309 h 6891021"/>
              <a:gd name="connsiteX5" fmla="*/ 4399501 w 8040104"/>
              <a:gd name="connsiteY5" fmla="*/ 0 h 6891021"/>
              <a:gd name="connsiteX0" fmla="*/ 4632965 w 8040104"/>
              <a:gd name="connsiteY0" fmla="*/ 0 h 6891021"/>
              <a:gd name="connsiteX1" fmla="*/ 8025870 w 8040104"/>
              <a:gd name="connsiteY1" fmla="*/ 21231 h 6891021"/>
              <a:gd name="connsiteX2" fmla="*/ 8040104 w 8040104"/>
              <a:gd name="connsiteY2" fmla="*/ 6891021 h 6891021"/>
              <a:gd name="connsiteX3" fmla="*/ 0 w 8040104"/>
              <a:gd name="connsiteY3" fmla="*/ 6870194 h 6891021"/>
              <a:gd name="connsiteX4" fmla="*/ 2172335 w 8040104"/>
              <a:gd name="connsiteY4" fmla="*/ 1697309 h 6891021"/>
              <a:gd name="connsiteX5" fmla="*/ 4632965 w 8040104"/>
              <a:gd name="connsiteY5" fmla="*/ 0 h 6891021"/>
              <a:gd name="connsiteX0" fmla="*/ 4509748 w 8040104"/>
              <a:gd name="connsiteY0" fmla="*/ 0 h 6878051"/>
              <a:gd name="connsiteX1" fmla="*/ 8025870 w 8040104"/>
              <a:gd name="connsiteY1" fmla="*/ 8261 h 6878051"/>
              <a:gd name="connsiteX2" fmla="*/ 8040104 w 8040104"/>
              <a:gd name="connsiteY2" fmla="*/ 6878051 h 6878051"/>
              <a:gd name="connsiteX3" fmla="*/ 0 w 8040104"/>
              <a:gd name="connsiteY3" fmla="*/ 6857224 h 6878051"/>
              <a:gd name="connsiteX4" fmla="*/ 2172335 w 8040104"/>
              <a:gd name="connsiteY4" fmla="*/ 1684339 h 6878051"/>
              <a:gd name="connsiteX5" fmla="*/ 4509748 w 8040104"/>
              <a:gd name="connsiteY5" fmla="*/ 0 h 6878051"/>
              <a:gd name="connsiteX0" fmla="*/ 4393016 w 8040104"/>
              <a:gd name="connsiteY0" fmla="*/ 0 h 6878051"/>
              <a:gd name="connsiteX1" fmla="*/ 8025870 w 8040104"/>
              <a:gd name="connsiteY1" fmla="*/ 8261 h 6878051"/>
              <a:gd name="connsiteX2" fmla="*/ 8040104 w 8040104"/>
              <a:gd name="connsiteY2" fmla="*/ 6878051 h 6878051"/>
              <a:gd name="connsiteX3" fmla="*/ 0 w 8040104"/>
              <a:gd name="connsiteY3" fmla="*/ 6857224 h 6878051"/>
              <a:gd name="connsiteX4" fmla="*/ 2172335 w 8040104"/>
              <a:gd name="connsiteY4" fmla="*/ 1684339 h 6878051"/>
              <a:gd name="connsiteX5" fmla="*/ 4393016 w 8040104"/>
              <a:gd name="connsiteY5" fmla="*/ 0 h 6878051"/>
              <a:gd name="connsiteX0" fmla="*/ 4380045 w 8040104"/>
              <a:gd name="connsiteY0" fmla="*/ 0 h 6871566"/>
              <a:gd name="connsiteX1" fmla="*/ 8025870 w 8040104"/>
              <a:gd name="connsiteY1" fmla="*/ 1776 h 6871566"/>
              <a:gd name="connsiteX2" fmla="*/ 8040104 w 8040104"/>
              <a:gd name="connsiteY2" fmla="*/ 6871566 h 6871566"/>
              <a:gd name="connsiteX3" fmla="*/ 0 w 8040104"/>
              <a:gd name="connsiteY3" fmla="*/ 6850739 h 6871566"/>
              <a:gd name="connsiteX4" fmla="*/ 2172335 w 8040104"/>
              <a:gd name="connsiteY4" fmla="*/ 1677854 h 6871566"/>
              <a:gd name="connsiteX5" fmla="*/ 4380045 w 8040104"/>
              <a:gd name="connsiteY5" fmla="*/ 0 h 6871566"/>
              <a:gd name="connsiteX0" fmla="*/ 4380045 w 8040104"/>
              <a:gd name="connsiteY0" fmla="*/ 0 h 6871566"/>
              <a:gd name="connsiteX1" fmla="*/ 8025870 w 8040104"/>
              <a:gd name="connsiteY1" fmla="*/ 1776 h 6871566"/>
              <a:gd name="connsiteX2" fmla="*/ 8040104 w 8040104"/>
              <a:gd name="connsiteY2" fmla="*/ 6871566 h 6871566"/>
              <a:gd name="connsiteX3" fmla="*/ 0 w 8040104"/>
              <a:gd name="connsiteY3" fmla="*/ 6850739 h 6871566"/>
              <a:gd name="connsiteX4" fmla="*/ 2172335 w 8040104"/>
              <a:gd name="connsiteY4" fmla="*/ 1677854 h 6871566"/>
              <a:gd name="connsiteX5" fmla="*/ 4380045 w 8040104"/>
              <a:gd name="connsiteY5" fmla="*/ 0 h 6871566"/>
              <a:gd name="connsiteX0" fmla="*/ 4380045 w 8040104"/>
              <a:gd name="connsiteY0" fmla="*/ 0 h 6871566"/>
              <a:gd name="connsiteX1" fmla="*/ 8025870 w 8040104"/>
              <a:gd name="connsiteY1" fmla="*/ 1776 h 6871566"/>
              <a:gd name="connsiteX2" fmla="*/ 8040104 w 8040104"/>
              <a:gd name="connsiteY2" fmla="*/ 6871566 h 6871566"/>
              <a:gd name="connsiteX3" fmla="*/ 0 w 8040104"/>
              <a:gd name="connsiteY3" fmla="*/ 6850739 h 6871566"/>
              <a:gd name="connsiteX4" fmla="*/ 2172335 w 8040104"/>
              <a:gd name="connsiteY4" fmla="*/ 1677854 h 6871566"/>
              <a:gd name="connsiteX5" fmla="*/ 4380045 w 8040104"/>
              <a:gd name="connsiteY5" fmla="*/ 0 h 6871566"/>
              <a:gd name="connsiteX0" fmla="*/ 4380045 w 8040104"/>
              <a:gd name="connsiteY0" fmla="*/ 132952 h 7004518"/>
              <a:gd name="connsiteX1" fmla="*/ 8025870 w 8040104"/>
              <a:gd name="connsiteY1" fmla="*/ 134728 h 7004518"/>
              <a:gd name="connsiteX2" fmla="*/ 8040104 w 8040104"/>
              <a:gd name="connsiteY2" fmla="*/ 7004518 h 7004518"/>
              <a:gd name="connsiteX3" fmla="*/ 0 w 8040104"/>
              <a:gd name="connsiteY3" fmla="*/ 6983691 h 7004518"/>
              <a:gd name="connsiteX4" fmla="*/ 2126939 w 8040104"/>
              <a:gd name="connsiteY4" fmla="*/ 1934023 h 7004518"/>
              <a:gd name="connsiteX5" fmla="*/ 4380045 w 8040104"/>
              <a:gd name="connsiteY5" fmla="*/ 132952 h 7004518"/>
              <a:gd name="connsiteX0" fmla="*/ 4380045 w 8040104"/>
              <a:gd name="connsiteY0" fmla="*/ 126709 h 6998275"/>
              <a:gd name="connsiteX1" fmla="*/ 8025870 w 8040104"/>
              <a:gd name="connsiteY1" fmla="*/ 128485 h 6998275"/>
              <a:gd name="connsiteX2" fmla="*/ 8040104 w 8040104"/>
              <a:gd name="connsiteY2" fmla="*/ 6998275 h 6998275"/>
              <a:gd name="connsiteX3" fmla="*/ 0 w 8040104"/>
              <a:gd name="connsiteY3" fmla="*/ 6977448 h 6998275"/>
              <a:gd name="connsiteX4" fmla="*/ 2146395 w 8040104"/>
              <a:gd name="connsiteY4" fmla="*/ 1843473 h 6998275"/>
              <a:gd name="connsiteX5" fmla="*/ 4380045 w 8040104"/>
              <a:gd name="connsiteY5" fmla="*/ 126709 h 6998275"/>
              <a:gd name="connsiteX0" fmla="*/ 4380045 w 8040104"/>
              <a:gd name="connsiteY0" fmla="*/ 123346 h 6994912"/>
              <a:gd name="connsiteX1" fmla="*/ 8025870 w 8040104"/>
              <a:gd name="connsiteY1" fmla="*/ 125122 h 6994912"/>
              <a:gd name="connsiteX2" fmla="*/ 8040104 w 8040104"/>
              <a:gd name="connsiteY2" fmla="*/ 6994912 h 6994912"/>
              <a:gd name="connsiteX3" fmla="*/ 0 w 8040104"/>
              <a:gd name="connsiteY3" fmla="*/ 6974085 h 6994912"/>
              <a:gd name="connsiteX4" fmla="*/ 2159365 w 8040104"/>
              <a:gd name="connsiteY4" fmla="*/ 1794714 h 6994912"/>
              <a:gd name="connsiteX5" fmla="*/ 4380045 w 8040104"/>
              <a:gd name="connsiteY5" fmla="*/ 123346 h 6994912"/>
              <a:gd name="connsiteX0" fmla="*/ 4380045 w 8040104"/>
              <a:gd name="connsiteY0" fmla="*/ 202 h 6871768"/>
              <a:gd name="connsiteX1" fmla="*/ 8025870 w 8040104"/>
              <a:gd name="connsiteY1" fmla="*/ 1978 h 6871768"/>
              <a:gd name="connsiteX2" fmla="*/ 8040104 w 8040104"/>
              <a:gd name="connsiteY2" fmla="*/ 6871768 h 6871768"/>
              <a:gd name="connsiteX3" fmla="*/ 0 w 8040104"/>
              <a:gd name="connsiteY3" fmla="*/ 6850941 h 6871768"/>
              <a:gd name="connsiteX4" fmla="*/ 2159365 w 8040104"/>
              <a:gd name="connsiteY4" fmla="*/ 1671570 h 6871768"/>
              <a:gd name="connsiteX5" fmla="*/ 4380045 w 8040104"/>
              <a:gd name="connsiteY5" fmla="*/ 202 h 68717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40104" h="6871768">
                <a:moveTo>
                  <a:pt x="4380045" y="202"/>
                </a:moveTo>
                <a:cubicBezTo>
                  <a:pt x="5377251" y="13767"/>
                  <a:pt x="6810595" y="1386"/>
                  <a:pt x="8025870" y="1978"/>
                </a:cubicBezTo>
                <a:cubicBezTo>
                  <a:pt x="8030615" y="2291908"/>
                  <a:pt x="8035359" y="4581838"/>
                  <a:pt x="8040104" y="6871768"/>
                </a:cubicBezTo>
                <a:lnTo>
                  <a:pt x="0" y="6850941"/>
                </a:lnTo>
                <a:cubicBezTo>
                  <a:pt x="846109" y="4823847"/>
                  <a:pt x="1669307" y="2683658"/>
                  <a:pt x="2159365" y="1671570"/>
                </a:cubicBezTo>
                <a:cubicBezTo>
                  <a:pt x="2649423" y="659482"/>
                  <a:pt x="3382839" y="-13363"/>
                  <a:pt x="4380045" y="202"/>
                </a:cubicBezTo>
                <a:close/>
              </a:path>
            </a:pathLst>
          </a:custGeom>
          <a:solidFill>
            <a:schemeClr val="bg2"/>
          </a:solidFill>
        </p:spPr>
        <p:txBody>
          <a:bodyPr lIns="720000" tIns="1332000" rIns="720000"/>
          <a:lstStyle>
            <a:lvl1pPr marL="0" indent="0" algn="ctr" rtl="0" fontAlgn="base">
              <a:lnSpc>
                <a:spcPct val="90000"/>
              </a:lnSpc>
              <a:spcBef>
                <a:spcPts val="1000"/>
              </a:spcBef>
              <a:spcAft>
                <a:spcPct val="0"/>
              </a:spcAft>
              <a:buFontTx/>
              <a:buNone/>
              <a:defRPr sz="1200" b="0" i="0" kern="1200">
                <a:solidFill>
                  <a:schemeClr val="tx2"/>
                </a:solidFill>
                <a:latin typeface="Schibsted Grotesk Bold" pitchFamily="2" charset="77"/>
                <a:ea typeface="Schibsted Grotesk Bold" pitchFamily="2" charset="77"/>
                <a:cs typeface="Schibsted Grotesk Bold" pitchFamily="2" charset="77"/>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bg1"/>
                </a:solidFill>
                <a:latin typeface="+mn-lt"/>
                <a:ea typeface="Schibsted Grotesk Bold" pitchFamily="2" charset="77"/>
                <a:cs typeface="Schibsted Grotesk Bold" pitchFamily="2" charset="77"/>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bg1"/>
                </a:solidFill>
                <a:latin typeface="+mn-lt"/>
                <a:ea typeface="Schibsted Grotesk Bold" pitchFamily="2" charset="77"/>
                <a:cs typeface="Schibsted Grotesk Bold" pitchFamily="2" charset="77"/>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bg1"/>
                </a:solidFill>
                <a:latin typeface="+mn-lt"/>
                <a:ea typeface="Schibsted Grotesk Bold" pitchFamily="2" charset="77"/>
                <a:cs typeface="Schibsted Grotesk Bold" pitchFamily="2" charset="77"/>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bg1"/>
                </a:solidFill>
                <a:latin typeface="+mn-lt"/>
                <a:ea typeface="Schibsted Grotesk Bold" pitchFamily="2" charset="77"/>
                <a:cs typeface="Schibsted Grotesk Bold"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1000"/>
              </a:spcBef>
              <a:spcAft>
                <a:spcPct val="0"/>
              </a:spcAft>
              <a:buClrTx/>
              <a:buSzTx/>
              <a:buFontTx/>
              <a:buNone/>
              <a:tabLst/>
              <a:defRPr/>
            </a:pPr>
            <a:endParaRPr kumimoji="0" lang="en-US" sz="1200" b="0" i="0" u="none" strike="noStrike" kern="1200" cap="none" spc="0" normalizeH="0" baseline="0" noProof="0">
              <a:ln>
                <a:noFill/>
              </a:ln>
              <a:solidFill>
                <a:srgbClr val="FFD900"/>
              </a:solidFill>
              <a:effectLst/>
              <a:uLnTx/>
              <a:uFillTx/>
              <a:latin typeface="Schibsted Grotesk Bold" pitchFamily="2" charset="77"/>
              <a:cs typeface="Schibsted Grotesk Bold" pitchFamily="2" charset="77"/>
            </a:endParaRPr>
          </a:p>
        </p:txBody>
      </p:sp>
      <p:sp>
        <p:nvSpPr>
          <p:cNvPr id="3" name="Picture Placeholder 4">
            <a:extLst>
              <a:ext uri="{FF2B5EF4-FFF2-40B4-BE49-F238E27FC236}">
                <a16:creationId xmlns:a16="http://schemas.microsoft.com/office/drawing/2014/main" id="{40A75132-6903-E3A7-D56B-D26EB50841A3}"/>
              </a:ext>
            </a:extLst>
          </p:cNvPr>
          <p:cNvSpPr>
            <a:spLocks noGrp="1"/>
          </p:cNvSpPr>
          <p:nvPr>
            <p:ph type="pic" sz="quarter" idx="12"/>
          </p:nvPr>
        </p:nvSpPr>
        <p:spPr>
          <a:xfrm>
            <a:off x="6050977" y="683614"/>
            <a:ext cx="6140288" cy="6187086"/>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40288" h="6210534">
                <a:moveTo>
                  <a:pt x="1682562" y="6934"/>
                </a:moveTo>
                <a:cubicBezTo>
                  <a:pt x="3142372" y="-11995"/>
                  <a:pt x="4509513" y="14468"/>
                  <a:pt x="6132539" y="8710"/>
                </a:cubicBezTo>
                <a:lnTo>
                  <a:pt x="6140288" y="6210534"/>
                </a:lnTo>
                <a:lnTo>
                  <a:pt x="1569715" y="6189707"/>
                </a:lnTo>
                <a:cubicBezTo>
                  <a:pt x="1092863" y="4979736"/>
                  <a:pt x="479069" y="3572094"/>
                  <a:pt x="116877" y="2579732"/>
                </a:cubicBezTo>
                <a:cubicBezTo>
                  <a:pt x="-245315" y="1587370"/>
                  <a:pt x="222752" y="25863"/>
                  <a:pt x="1682562" y="6934"/>
                </a:cubicBezTo>
                <a:close/>
              </a:path>
            </a:pathLst>
          </a:custGeom>
          <a:pattFill prst="pct5">
            <a:fgClr>
              <a:schemeClr val="tx1"/>
            </a:fgClr>
            <a:bgClr>
              <a:schemeClr val="tx1">
                <a:lumMod val="65000"/>
              </a:schemeClr>
            </a:bgClr>
          </a:pattFill>
        </p:spPr>
        <p:txBody>
          <a:bodyPr lIns="720000" tIns="1332000" rIns="720000" rtlCol="0">
            <a:normAutofit/>
          </a:bodyPr>
          <a:lstStyle>
            <a:lvl1pPr marL="0" indent="0" algn="ctr">
              <a:buFontTx/>
              <a:buNone/>
              <a:defRPr sz="1200" b="0" i="0">
                <a:solidFill>
                  <a:schemeClr val="bg2"/>
                </a:solidFill>
                <a:latin typeface="Schibsted Grotesk Bold" pitchFamily="2" charset="77"/>
                <a:cs typeface="Schibsted Grotesk Bold" pitchFamily="2" charset="77"/>
              </a:defRPr>
            </a:lvl1pPr>
          </a:lstStyle>
          <a:p>
            <a:pPr lvl="0"/>
            <a:r>
              <a:rPr lang="en-US" noProof="0"/>
              <a:t>Click icon to add picture</a:t>
            </a:r>
          </a:p>
        </p:txBody>
      </p:sp>
      <p:sp>
        <p:nvSpPr>
          <p:cNvPr id="9" name="Title 1">
            <a:extLst>
              <a:ext uri="{FF2B5EF4-FFF2-40B4-BE49-F238E27FC236}">
                <a16:creationId xmlns:a16="http://schemas.microsoft.com/office/drawing/2014/main" id="{758B154F-DF30-E205-9A36-8F8AA51BCE6F}"/>
              </a:ext>
            </a:extLst>
          </p:cNvPr>
          <p:cNvSpPr>
            <a:spLocks noGrp="1"/>
          </p:cNvSpPr>
          <p:nvPr>
            <p:ph type="ctrTitle"/>
          </p:nvPr>
        </p:nvSpPr>
        <p:spPr>
          <a:xfrm>
            <a:off x="426379" y="1916920"/>
            <a:ext cx="5349765" cy="1603933"/>
          </a:xfrm>
          <a:prstGeom prst="rect">
            <a:avLst/>
          </a:prstGeom>
        </p:spPr>
        <p:txBody>
          <a:bodyPr anchor="b"/>
          <a:lstStyle>
            <a:lvl1pPr algn="l">
              <a:defRPr sz="4000" b="0" i="0">
                <a:solidFill>
                  <a:schemeClr val="tx2"/>
                </a:solidFill>
                <a:latin typeface="+mj-lt"/>
              </a:defRPr>
            </a:lvl1pPr>
          </a:lstStyle>
          <a:p>
            <a:r>
              <a:rPr lang="en-US"/>
              <a:t>Click to edit Master title style</a:t>
            </a:r>
          </a:p>
        </p:txBody>
      </p:sp>
      <p:sp>
        <p:nvSpPr>
          <p:cNvPr id="10" name="Subtitle 2">
            <a:extLst>
              <a:ext uri="{FF2B5EF4-FFF2-40B4-BE49-F238E27FC236}">
                <a16:creationId xmlns:a16="http://schemas.microsoft.com/office/drawing/2014/main" id="{CC8BF864-B4A5-BF3B-17E8-4BB5B1B1B9CC}"/>
              </a:ext>
            </a:extLst>
          </p:cNvPr>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tx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4" name="Picture 3" descr="Yellow letters on a black background&#10;&#10;Description automatically generated">
            <a:extLst>
              <a:ext uri="{FF2B5EF4-FFF2-40B4-BE49-F238E27FC236}">
                <a16:creationId xmlns:a16="http://schemas.microsoft.com/office/drawing/2014/main" id="{B78AE1C9-59FB-4070-AB3E-A12D38D4359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075" y="196497"/>
            <a:ext cx="2527329" cy="927100"/>
          </a:xfrm>
          <a:prstGeom prst="rect">
            <a:avLst/>
          </a:prstGeom>
        </p:spPr>
      </p:pic>
    </p:spTree>
    <p:extLst>
      <p:ext uri="{BB962C8B-B14F-4D97-AF65-F5344CB8AC3E}">
        <p14:creationId xmlns:p14="http://schemas.microsoft.com/office/powerpoint/2010/main" val="3527122488"/>
      </p:ext>
    </p:extLst>
  </p:cSld>
  <p:clrMapOvr>
    <a:overrideClrMapping bg1="dk1" tx1="lt1" bg2="dk2" tx2="lt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ver 14">
    <p:bg>
      <p:bgPr>
        <a:solidFill>
          <a:schemeClr val="tx2"/>
        </a:solidFill>
        <a:effectLst/>
      </p:bgPr>
    </p:bg>
    <p:spTree>
      <p:nvGrpSpPr>
        <p:cNvPr id="1" name=""/>
        <p:cNvGrpSpPr/>
        <p:nvPr/>
      </p:nvGrpSpPr>
      <p:grpSpPr>
        <a:xfrm>
          <a:off x="0" y="0"/>
          <a:ext cx="0" cy="0"/>
          <a:chOff x="0" y="0"/>
          <a:chExt cx="0" cy="0"/>
        </a:xfrm>
      </p:grpSpPr>
      <p:sp>
        <p:nvSpPr>
          <p:cNvPr id="8" name="Title 1"/>
          <p:cNvSpPr>
            <a:spLocks noGrp="1"/>
          </p:cNvSpPr>
          <p:nvPr>
            <p:ph type="ctrTitle"/>
          </p:nvPr>
        </p:nvSpPr>
        <p:spPr>
          <a:xfrm>
            <a:off x="426379" y="1916920"/>
            <a:ext cx="5349765" cy="1603933"/>
          </a:xfrm>
          <a:prstGeom prst="rect">
            <a:avLst/>
          </a:prstGeom>
        </p:spPr>
        <p:txBody>
          <a:bodyPr anchor="b"/>
          <a:lstStyle>
            <a:lvl1pPr algn="l">
              <a:defRPr sz="4000" b="0" i="0">
                <a:solidFill>
                  <a:schemeClr val="bg2"/>
                </a:solidFill>
                <a:latin typeface="+mj-lt"/>
              </a:defRPr>
            </a:lvl1pPr>
          </a:lstStyle>
          <a:p>
            <a:r>
              <a:rPr lang="en-US"/>
              <a:t>Click to edit Master title style</a:t>
            </a:r>
          </a:p>
        </p:txBody>
      </p:sp>
      <p:sp>
        <p:nvSpPr>
          <p:cNvPr id="9" name="Subtitle 2"/>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bg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Picture Placeholder 4"/>
          <p:cNvSpPr>
            <a:spLocks noGrp="1"/>
          </p:cNvSpPr>
          <p:nvPr>
            <p:ph type="pic" sz="quarter" idx="10"/>
          </p:nvPr>
        </p:nvSpPr>
        <p:spPr>
          <a:xfrm>
            <a:off x="5154757" y="0"/>
            <a:ext cx="7062643" cy="6858000"/>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 name="connsiteX0" fmla="*/ 1645738 w 6103464"/>
              <a:gd name="connsiteY0" fmla="*/ 674629 h 6878229"/>
              <a:gd name="connsiteX1" fmla="*/ 6083189 w 6103464"/>
              <a:gd name="connsiteY1" fmla="*/ 0 h 6878229"/>
              <a:gd name="connsiteX2" fmla="*/ 6103464 w 6103464"/>
              <a:gd name="connsiteY2" fmla="*/ 6878229 h 6878229"/>
              <a:gd name="connsiteX3" fmla="*/ 1532891 w 6103464"/>
              <a:gd name="connsiteY3" fmla="*/ 6857402 h 6878229"/>
              <a:gd name="connsiteX4" fmla="*/ 80053 w 6103464"/>
              <a:gd name="connsiteY4" fmla="*/ 3247427 h 6878229"/>
              <a:gd name="connsiteX5" fmla="*/ 1645738 w 6103464"/>
              <a:gd name="connsiteY5" fmla="*/ 674629 h 6878229"/>
              <a:gd name="connsiteX0" fmla="*/ 2736124 w 7193850"/>
              <a:gd name="connsiteY0" fmla="*/ 674629 h 6878229"/>
              <a:gd name="connsiteX1" fmla="*/ 7173575 w 7193850"/>
              <a:gd name="connsiteY1" fmla="*/ 0 h 6878229"/>
              <a:gd name="connsiteX2" fmla="*/ 7193850 w 7193850"/>
              <a:gd name="connsiteY2" fmla="*/ 6878229 h 6878229"/>
              <a:gd name="connsiteX3" fmla="*/ 118071 w 7193850"/>
              <a:gd name="connsiteY3" fmla="*/ 6876191 h 6878229"/>
              <a:gd name="connsiteX4" fmla="*/ 1170439 w 7193850"/>
              <a:gd name="connsiteY4" fmla="*/ 3247427 h 6878229"/>
              <a:gd name="connsiteX5" fmla="*/ 2736124 w 7193850"/>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052368 w 7075779"/>
              <a:gd name="connsiteY4" fmla="*/ 3247427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2530439 w 7075779"/>
              <a:gd name="connsiteY4" fmla="*/ 2928013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540883 w 7075779"/>
              <a:gd name="connsiteY4" fmla="*/ 2715071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540883 w 7075779"/>
              <a:gd name="connsiteY4" fmla="*/ 2715071 h 6878229"/>
              <a:gd name="connsiteX5" fmla="*/ 2618053 w 7075779"/>
              <a:gd name="connsiteY5" fmla="*/ 674629 h 6878229"/>
              <a:gd name="connsiteX0" fmla="*/ 1359187 w 7075779"/>
              <a:gd name="connsiteY0" fmla="*/ 197801 h 7084070"/>
              <a:gd name="connsiteX1" fmla="*/ 7055504 w 7075779"/>
              <a:gd name="connsiteY1" fmla="*/ 205841 h 7084070"/>
              <a:gd name="connsiteX2" fmla="*/ 7075779 w 7075779"/>
              <a:gd name="connsiteY2" fmla="*/ 7084070 h 7084070"/>
              <a:gd name="connsiteX3" fmla="*/ 0 w 7075779"/>
              <a:gd name="connsiteY3" fmla="*/ 7082032 h 7084070"/>
              <a:gd name="connsiteX4" fmla="*/ 1540883 w 7075779"/>
              <a:gd name="connsiteY4" fmla="*/ 2920912 h 7084070"/>
              <a:gd name="connsiteX5" fmla="*/ 1359187 w 7075779"/>
              <a:gd name="connsiteY5" fmla="*/ 197801 h 7084070"/>
              <a:gd name="connsiteX0" fmla="*/ 1359187 w 7075779"/>
              <a:gd name="connsiteY0" fmla="*/ 11 h 6886280"/>
              <a:gd name="connsiteX1" fmla="*/ 7055504 w 7075779"/>
              <a:gd name="connsiteY1" fmla="*/ 8051 h 6886280"/>
              <a:gd name="connsiteX2" fmla="*/ 7075779 w 7075779"/>
              <a:gd name="connsiteY2" fmla="*/ 6886280 h 6886280"/>
              <a:gd name="connsiteX3" fmla="*/ 0 w 7075779"/>
              <a:gd name="connsiteY3" fmla="*/ 6884242 h 6886280"/>
              <a:gd name="connsiteX4" fmla="*/ 1540883 w 7075779"/>
              <a:gd name="connsiteY4" fmla="*/ 2723122 h 6886280"/>
              <a:gd name="connsiteX5" fmla="*/ 1359187 w 7075779"/>
              <a:gd name="connsiteY5" fmla="*/ 11 h 6886280"/>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378044 w 7075779"/>
              <a:gd name="connsiteY4" fmla="*/ 3086366 h 6886269"/>
              <a:gd name="connsiteX5" fmla="*/ 1359187 w 7075779"/>
              <a:gd name="connsiteY5" fmla="*/ 0 h 6886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75779" h="6886269">
                <a:moveTo>
                  <a:pt x="1359187" y="0"/>
                </a:moveTo>
                <a:lnTo>
                  <a:pt x="7055504" y="8040"/>
                </a:lnTo>
                <a:cubicBezTo>
                  <a:pt x="7062262" y="2300783"/>
                  <a:pt x="7069021" y="4593526"/>
                  <a:pt x="7075779" y="6886269"/>
                </a:cubicBezTo>
                <a:lnTo>
                  <a:pt x="0" y="6884231"/>
                </a:lnTo>
                <a:cubicBezTo>
                  <a:pt x="800803" y="4835017"/>
                  <a:pt x="1012724" y="4088015"/>
                  <a:pt x="1378044" y="3086366"/>
                </a:cubicBezTo>
                <a:cubicBezTo>
                  <a:pt x="1743364" y="2084717"/>
                  <a:pt x="1964635" y="1220855"/>
                  <a:pt x="1359187" y="0"/>
                </a:cubicBezTo>
                <a:close/>
              </a:path>
            </a:pathLst>
          </a:custGeom>
          <a:pattFill prst="pct5">
            <a:fgClr>
              <a:schemeClr val="bg1"/>
            </a:fgClr>
            <a:bgClr>
              <a:schemeClr val="bg1">
                <a:lumMod val="65000"/>
              </a:schemeClr>
            </a:bgClr>
          </a:pattFill>
        </p:spPr>
        <p:txBody>
          <a:bodyPr lIns="720000" tIns="1332000" rIns="720000" rtlCol="0">
            <a:normAutofit/>
          </a:bodyPr>
          <a:lstStyle>
            <a:lvl1pPr marL="0" indent="0" algn="ctr">
              <a:buFontTx/>
              <a:buNone/>
              <a:defRPr sz="1200" b="0" i="0">
                <a:solidFill>
                  <a:schemeClr val="tx2"/>
                </a:solidFill>
                <a:latin typeface="Schibsted Grotesk Bold" pitchFamily="2" charset="77"/>
              </a:defRPr>
            </a:lvl1pPr>
          </a:lstStyle>
          <a:p>
            <a:pPr lvl="0"/>
            <a:r>
              <a:rPr lang="en-US" noProof="0"/>
              <a:t>Click icon to add picture</a:t>
            </a:r>
          </a:p>
        </p:txBody>
      </p:sp>
      <p:pic>
        <p:nvPicPr>
          <p:cNvPr id="3" name="Picture 2" descr="Yellow letters on a black background&#10;&#10;Description automatically generated">
            <a:extLst>
              <a:ext uri="{FF2B5EF4-FFF2-40B4-BE49-F238E27FC236}">
                <a16:creationId xmlns:a16="http://schemas.microsoft.com/office/drawing/2014/main" id="{CB534262-B65E-8237-B007-625B2D43CD0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075" y="196497"/>
            <a:ext cx="2527329" cy="927100"/>
          </a:xfrm>
          <a:prstGeom prst="rect">
            <a:avLst/>
          </a:prstGeom>
        </p:spPr>
      </p:pic>
    </p:spTree>
    <p:extLst>
      <p:ext uri="{BB962C8B-B14F-4D97-AF65-F5344CB8AC3E}">
        <p14:creationId xmlns:p14="http://schemas.microsoft.com/office/powerpoint/2010/main" val="81214787"/>
      </p:ext>
    </p:extLst>
  </p:cSld>
  <p:clrMapOvr>
    <a:overrideClrMapping bg1="lt1" tx1="dk1" bg2="lt2" tx2="dk2" accent1="accent1" accent2="accent2" accent3="accent3" accent4="accent4" accent5="accent5" accent6="accent6" hlink="hlink" folHlink="folHlink"/>
  </p:clrMapOvr>
  <p:transition spd="slow"/>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ver 15">
    <p:bg>
      <p:bgPr>
        <a:solidFill>
          <a:schemeClr val="bg2"/>
        </a:solidFill>
        <a:effectLst/>
      </p:bgPr>
    </p:bg>
    <p:spTree>
      <p:nvGrpSpPr>
        <p:cNvPr id="1" name=""/>
        <p:cNvGrpSpPr/>
        <p:nvPr/>
      </p:nvGrpSpPr>
      <p:grpSpPr>
        <a:xfrm>
          <a:off x="0" y="0"/>
          <a:ext cx="0" cy="0"/>
          <a:chOff x="0" y="0"/>
          <a:chExt cx="0" cy="0"/>
        </a:xfrm>
      </p:grpSpPr>
      <p:sp>
        <p:nvSpPr>
          <p:cNvPr id="3" name="Rectangle 8">
            <a:extLst>
              <a:ext uri="{FF2B5EF4-FFF2-40B4-BE49-F238E27FC236}">
                <a16:creationId xmlns:a16="http://schemas.microsoft.com/office/drawing/2014/main" id="{F9A97BBF-9399-153F-484A-01203F6DAD42}"/>
              </a:ext>
            </a:extLst>
          </p:cNvPr>
          <p:cNvSpPr/>
          <p:nvPr userDrawn="1"/>
        </p:nvSpPr>
        <p:spPr>
          <a:xfrm>
            <a:off x="-7938" y="0"/>
            <a:ext cx="7859713" cy="5464175"/>
          </a:xfrm>
          <a:custGeom>
            <a:avLst/>
            <a:gdLst>
              <a:gd name="connsiteX0" fmla="*/ 0 w 7852229"/>
              <a:gd name="connsiteY0" fmla="*/ 0 h 5464629"/>
              <a:gd name="connsiteX1" fmla="*/ 7852229 w 7852229"/>
              <a:gd name="connsiteY1" fmla="*/ 0 h 5464629"/>
              <a:gd name="connsiteX2" fmla="*/ 7852229 w 7852229"/>
              <a:gd name="connsiteY2" fmla="*/ 5464629 h 5464629"/>
              <a:gd name="connsiteX3" fmla="*/ 0 w 7852229"/>
              <a:gd name="connsiteY3" fmla="*/ 5464629 h 5464629"/>
              <a:gd name="connsiteX4" fmla="*/ 0 w 7852229"/>
              <a:gd name="connsiteY4" fmla="*/ 0 h 5464629"/>
              <a:gd name="connsiteX0" fmla="*/ 0 w 7852229"/>
              <a:gd name="connsiteY0" fmla="*/ 0 h 5464629"/>
              <a:gd name="connsiteX1" fmla="*/ 7852229 w 7852229"/>
              <a:gd name="connsiteY1" fmla="*/ 0 h 5464629"/>
              <a:gd name="connsiteX2" fmla="*/ 7844971 w 7852229"/>
              <a:gd name="connsiteY2" fmla="*/ 4034971 h 5464629"/>
              <a:gd name="connsiteX3" fmla="*/ 7852229 w 7852229"/>
              <a:gd name="connsiteY3" fmla="*/ 5464629 h 5464629"/>
              <a:gd name="connsiteX4" fmla="*/ 0 w 7852229"/>
              <a:gd name="connsiteY4" fmla="*/ 5464629 h 5464629"/>
              <a:gd name="connsiteX5" fmla="*/ 0 w 7852229"/>
              <a:gd name="connsiteY5" fmla="*/ 0 h 5464629"/>
              <a:gd name="connsiteX0" fmla="*/ 0 w 7852229"/>
              <a:gd name="connsiteY0" fmla="*/ 0 h 5471886"/>
              <a:gd name="connsiteX1" fmla="*/ 7852229 w 7852229"/>
              <a:gd name="connsiteY1" fmla="*/ 0 h 5471886"/>
              <a:gd name="connsiteX2" fmla="*/ 7844971 w 7852229"/>
              <a:gd name="connsiteY2" fmla="*/ 4034971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28458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93658"/>
              <a:gd name="connsiteX1" fmla="*/ 7859486 w 7859486"/>
              <a:gd name="connsiteY1" fmla="*/ 0 h 5493658"/>
              <a:gd name="connsiteX2" fmla="*/ 6320970 w 7859486"/>
              <a:gd name="connsiteY2" fmla="*/ 4049485 h 5493658"/>
              <a:gd name="connsiteX3" fmla="*/ 4535715 w 7859486"/>
              <a:gd name="connsiteY3" fmla="*/ 5464629 h 5493658"/>
              <a:gd name="connsiteX4" fmla="*/ 1632857 w 7859486"/>
              <a:gd name="connsiteY4" fmla="*/ 5493658 h 5493658"/>
              <a:gd name="connsiteX5" fmla="*/ 0 w 7859486"/>
              <a:gd name="connsiteY5" fmla="*/ 4782458 h 5493658"/>
              <a:gd name="connsiteX6" fmla="*/ 7257 w 7859486"/>
              <a:gd name="connsiteY6" fmla="*/ 0 h 5493658"/>
              <a:gd name="connsiteX0" fmla="*/ 7257 w 7859486"/>
              <a:gd name="connsiteY0" fmla="*/ 0 h 5464629"/>
              <a:gd name="connsiteX1" fmla="*/ 7859486 w 7859486"/>
              <a:gd name="connsiteY1" fmla="*/ 0 h 5464629"/>
              <a:gd name="connsiteX2" fmla="*/ 6320970 w 7859486"/>
              <a:gd name="connsiteY2" fmla="*/ 4049485 h 5464629"/>
              <a:gd name="connsiteX3" fmla="*/ 4535715 w 7859486"/>
              <a:gd name="connsiteY3" fmla="*/ 5464629 h 5464629"/>
              <a:gd name="connsiteX4" fmla="*/ 1516743 w 7859486"/>
              <a:gd name="connsiteY4" fmla="*/ 5457372 h 5464629"/>
              <a:gd name="connsiteX5" fmla="*/ 0 w 7859486"/>
              <a:gd name="connsiteY5" fmla="*/ 4782458 h 5464629"/>
              <a:gd name="connsiteX6" fmla="*/ 7257 w 7859486"/>
              <a:gd name="connsiteY6" fmla="*/ 0 h 546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59486" h="5464629">
                <a:moveTo>
                  <a:pt x="7257" y="0"/>
                </a:moveTo>
                <a:lnTo>
                  <a:pt x="7859486" y="0"/>
                </a:lnTo>
                <a:cubicBezTo>
                  <a:pt x="7320039" y="1446589"/>
                  <a:pt x="6816875" y="2733524"/>
                  <a:pt x="6320970" y="4049485"/>
                </a:cubicBezTo>
                <a:cubicBezTo>
                  <a:pt x="6033104" y="4765524"/>
                  <a:pt x="5396896" y="5445276"/>
                  <a:pt x="4535715" y="5464629"/>
                </a:cubicBezTo>
                <a:lnTo>
                  <a:pt x="1516743" y="5457372"/>
                </a:lnTo>
                <a:cubicBezTo>
                  <a:pt x="984552" y="5452534"/>
                  <a:pt x="488647" y="5346095"/>
                  <a:pt x="0" y="4782458"/>
                </a:cubicBezTo>
                <a:lnTo>
                  <a:pt x="7257" y="0"/>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chibsted Grotesk Bold" pitchFamily="2" charset="77"/>
              <a:ea typeface="+mn-ea"/>
              <a:cs typeface="+mn-cs"/>
            </a:endParaRPr>
          </a:p>
        </p:txBody>
      </p:sp>
      <p:sp>
        <p:nvSpPr>
          <p:cNvPr id="10" name="Picture Placeholder 4"/>
          <p:cNvSpPr>
            <a:spLocks noGrp="1"/>
          </p:cNvSpPr>
          <p:nvPr>
            <p:ph type="pic" sz="quarter" idx="10"/>
          </p:nvPr>
        </p:nvSpPr>
        <p:spPr>
          <a:xfrm>
            <a:off x="3954275" y="478641"/>
            <a:ext cx="8262794" cy="6379359"/>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 name="connsiteX0" fmla="*/ 1645738 w 6103464"/>
              <a:gd name="connsiteY0" fmla="*/ 674629 h 6878229"/>
              <a:gd name="connsiteX1" fmla="*/ 6083189 w 6103464"/>
              <a:gd name="connsiteY1" fmla="*/ 0 h 6878229"/>
              <a:gd name="connsiteX2" fmla="*/ 6103464 w 6103464"/>
              <a:gd name="connsiteY2" fmla="*/ 6878229 h 6878229"/>
              <a:gd name="connsiteX3" fmla="*/ 1532891 w 6103464"/>
              <a:gd name="connsiteY3" fmla="*/ 6857402 h 6878229"/>
              <a:gd name="connsiteX4" fmla="*/ 80053 w 6103464"/>
              <a:gd name="connsiteY4" fmla="*/ 3247427 h 6878229"/>
              <a:gd name="connsiteX5" fmla="*/ 1645738 w 6103464"/>
              <a:gd name="connsiteY5" fmla="*/ 674629 h 6878229"/>
              <a:gd name="connsiteX0" fmla="*/ 2736124 w 7193850"/>
              <a:gd name="connsiteY0" fmla="*/ 674629 h 6878229"/>
              <a:gd name="connsiteX1" fmla="*/ 7173575 w 7193850"/>
              <a:gd name="connsiteY1" fmla="*/ 0 h 6878229"/>
              <a:gd name="connsiteX2" fmla="*/ 7193850 w 7193850"/>
              <a:gd name="connsiteY2" fmla="*/ 6878229 h 6878229"/>
              <a:gd name="connsiteX3" fmla="*/ 118071 w 7193850"/>
              <a:gd name="connsiteY3" fmla="*/ 6876191 h 6878229"/>
              <a:gd name="connsiteX4" fmla="*/ 1170439 w 7193850"/>
              <a:gd name="connsiteY4" fmla="*/ 3247427 h 6878229"/>
              <a:gd name="connsiteX5" fmla="*/ 2736124 w 7193850"/>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052368 w 7075779"/>
              <a:gd name="connsiteY4" fmla="*/ 3247427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2530439 w 7075779"/>
              <a:gd name="connsiteY4" fmla="*/ 2928013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540883 w 7075779"/>
              <a:gd name="connsiteY4" fmla="*/ 2715071 h 6878229"/>
              <a:gd name="connsiteX5" fmla="*/ 2618053 w 7075779"/>
              <a:gd name="connsiteY5" fmla="*/ 674629 h 6878229"/>
              <a:gd name="connsiteX0" fmla="*/ 2618053 w 7075779"/>
              <a:gd name="connsiteY0" fmla="*/ 674629 h 6878229"/>
              <a:gd name="connsiteX1" fmla="*/ 7055504 w 7075779"/>
              <a:gd name="connsiteY1" fmla="*/ 0 h 6878229"/>
              <a:gd name="connsiteX2" fmla="*/ 7075779 w 7075779"/>
              <a:gd name="connsiteY2" fmla="*/ 6878229 h 6878229"/>
              <a:gd name="connsiteX3" fmla="*/ 0 w 7075779"/>
              <a:gd name="connsiteY3" fmla="*/ 6876191 h 6878229"/>
              <a:gd name="connsiteX4" fmla="*/ 1540883 w 7075779"/>
              <a:gd name="connsiteY4" fmla="*/ 2715071 h 6878229"/>
              <a:gd name="connsiteX5" fmla="*/ 2618053 w 7075779"/>
              <a:gd name="connsiteY5" fmla="*/ 674629 h 6878229"/>
              <a:gd name="connsiteX0" fmla="*/ 1359187 w 7075779"/>
              <a:gd name="connsiteY0" fmla="*/ 197801 h 7084070"/>
              <a:gd name="connsiteX1" fmla="*/ 7055504 w 7075779"/>
              <a:gd name="connsiteY1" fmla="*/ 205841 h 7084070"/>
              <a:gd name="connsiteX2" fmla="*/ 7075779 w 7075779"/>
              <a:gd name="connsiteY2" fmla="*/ 7084070 h 7084070"/>
              <a:gd name="connsiteX3" fmla="*/ 0 w 7075779"/>
              <a:gd name="connsiteY3" fmla="*/ 7082032 h 7084070"/>
              <a:gd name="connsiteX4" fmla="*/ 1540883 w 7075779"/>
              <a:gd name="connsiteY4" fmla="*/ 2920912 h 7084070"/>
              <a:gd name="connsiteX5" fmla="*/ 1359187 w 7075779"/>
              <a:gd name="connsiteY5" fmla="*/ 197801 h 7084070"/>
              <a:gd name="connsiteX0" fmla="*/ 1359187 w 7075779"/>
              <a:gd name="connsiteY0" fmla="*/ 11 h 6886280"/>
              <a:gd name="connsiteX1" fmla="*/ 7055504 w 7075779"/>
              <a:gd name="connsiteY1" fmla="*/ 8051 h 6886280"/>
              <a:gd name="connsiteX2" fmla="*/ 7075779 w 7075779"/>
              <a:gd name="connsiteY2" fmla="*/ 6886280 h 6886280"/>
              <a:gd name="connsiteX3" fmla="*/ 0 w 7075779"/>
              <a:gd name="connsiteY3" fmla="*/ 6884242 h 6886280"/>
              <a:gd name="connsiteX4" fmla="*/ 1540883 w 7075779"/>
              <a:gd name="connsiteY4" fmla="*/ 2723122 h 6886280"/>
              <a:gd name="connsiteX5" fmla="*/ 1359187 w 7075779"/>
              <a:gd name="connsiteY5" fmla="*/ 11 h 6886280"/>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540883 w 7075779"/>
              <a:gd name="connsiteY4" fmla="*/ 2723111 h 6886269"/>
              <a:gd name="connsiteX5" fmla="*/ 1359187 w 7075779"/>
              <a:gd name="connsiteY5" fmla="*/ 0 h 6886269"/>
              <a:gd name="connsiteX0" fmla="*/ 1359187 w 7075779"/>
              <a:gd name="connsiteY0" fmla="*/ 0 h 6886269"/>
              <a:gd name="connsiteX1" fmla="*/ 7055504 w 7075779"/>
              <a:gd name="connsiteY1" fmla="*/ 8040 h 6886269"/>
              <a:gd name="connsiteX2" fmla="*/ 7075779 w 7075779"/>
              <a:gd name="connsiteY2" fmla="*/ 6886269 h 6886269"/>
              <a:gd name="connsiteX3" fmla="*/ 0 w 7075779"/>
              <a:gd name="connsiteY3" fmla="*/ 6884231 h 6886269"/>
              <a:gd name="connsiteX4" fmla="*/ 1378044 w 7075779"/>
              <a:gd name="connsiteY4" fmla="*/ 3086366 h 6886269"/>
              <a:gd name="connsiteX5" fmla="*/ 1359187 w 7075779"/>
              <a:gd name="connsiteY5" fmla="*/ 0 h 6886269"/>
              <a:gd name="connsiteX0" fmla="*/ 2216437 w 7075779"/>
              <a:gd name="connsiteY0" fmla="*/ 512660 h 6878229"/>
              <a:gd name="connsiteX1" fmla="*/ 7055504 w 7075779"/>
              <a:gd name="connsiteY1" fmla="*/ 0 h 6878229"/>
              <a:gd name="connsiteX2" fmla="*/ 7075779 w 7075779"/>
              <a:gd name="connsiteY2" fmla="*/ 6878229 h 6878229"/>
              <a:gd name="connsiteX3" fmla="*/ 0 w 7075779"/>
              <a:gd name="connsiteY3" fmla="*/ 6876191 h 6878229"/>
              <a:gd name="connsiteX4" fmla="*/ 1378044 w 7075779"/>
              <a:gd name="connsiteY4" fmla="*/ 3078326 h 6878229"/>
              <a:gd name="connsiteX5" fmla="*/ 2216437 w 7075779"/>
              <a:gd name="connsiteY5" fmla="*/ 512660 h 6878229"/>
              <a:gd name="connsiteX0" fmla="*/ 2216437 w 7075779"/>
              <a:gd name="connsiteY0" fmla="*/ 512660 h 6878229"/>
              <a:gd name="connsiteX1" fmla="*/ 7055504 w 7075779"/>
              <a:gd name="connsiteY1" fmla="*/ 0 h 6878229"/>
              <a:gd name="connsiteX2" fmla="*/ 7075779 w 7075779"/>
              <a:gd name="connsiteY2" fmla="*/ 6878229 h 6878229"/>
              <a:gd name="connsiteX3" fmla="*/ 0 w 7075779"/>
              <a:gd name="connsiteY3" fmla="*/ 6876191 h 6878229"/>
              <a:gd name="connsiteX4" fmla="*/ 1378044 w 7075779"/>
              <a:gd name="connsiteY4" fmla="*/ 3078326 h 6878229"/>
              <a:gd name="connsiteX5" fmla="*/ 2216437 w 7075779"/>
              <a:gd name="connsiteY5" fmla="*/ 512660 h 6878229"/>
              <a:gd name="connsiteX0" fmla="*/ 2216437 w 7075779"/>
              <a:gd name="connsiteY0" fmla="*/ 17360 h 6382929"/>
              <a:gd name="connsiteX1" fmla="*/ 4623454 w 7075779"/>
              <a:gd name="connsiteY1" fmla="*/ 0 h 6382929"/>
              <a:gd name="connsiteX2" fmla="*/ 7075779 w 7075779"/>
              <a:gd name="connsiteY2" fmla="*/ 6382929 h 6382929"/>
              <a:gd name="connsiteX3" fmla="*/ 0 w 7075779"/>
              <a:gd name="connsiteY3" fmla="*/ 6380891 h 6382929"/>
              <a:gd name="connsiteX4" fmla="*/ 1378044 w 7075779"/>
              <a:gd name="connsiteY4" fmla="*/ 2583026 h 6382929"/>
              <a:gd name="connsiteX5" fmla="*/ 2216437 w 7075779"/>
              <a:gd name="connsiteY5" fmla="*/ 17360 h 6382929"/>
              <a:gd name="connsiteX0" fmla="*/ 2216437 w 7682069"/>
              <a:gd name="connsiteY0" fmla="*/ 17360 h 6492927"/>
              <a:gd name="connsiteX1" fmla="*/ 4623454 w 7682069"/>
              <a:gd name="connsiteY1" fmla="*/ 0 h 6492927"/>
              <a:gd name="connsiteX2" fmla="*/ 7024544 w 7682069"/>
              <a:gd name="connsiteY2" fmla="*/ 5866803 h 6492927"/>
              <a:gd name="connsiteX3" fmla="*/ 7075779 w 7682069"/>
              <a:gd name="connsiteY3" fmla="*/ 6382929 h 6492927"/>
              <a:gd name="connsiteX4" fmla="*/ 0 w 7682069"/>
              <a:gd name="connsiteY4" fmla="*/ 6380891 h 6492927"/>
              <a:gd name="connsiteX5" fmla="*/ 1378044 w 7682069"/>
              <a:gd name="connsiteY5" fmla="*/ 2583026 h 6492927"/>
              <a:gd name="connsiteX6" fmla="*/ 2216437 w 7682069"/>
              <a:gd name="connsiteY6" fmla="*/ 17360 h 6492927"/>
              <a:gd name="connsiteX0" fmla="*/ 2216437 w 7658705"/>
              <a:gd name="connsiteY0" fmla="*/ 17360 h 6435474"/>
              <a:gd name="connsiteX1" fmla="*/ 4623454 w 7658705"/>
              <a:gd name="connsiteY1" fmla="*/ 0 h 6435474"/>
              <a:gd name="connsiteX2" fmla="*/ 5151294 w 7658705"/>
              <a:gd name="connsiteY2" fmla="*/ 901103 h 6435474"/>
              <a:gd name="connsiteX3" fmla="*/ 7024544 w 7658705"/>
              <a:gd name="connsiteY3" fmla="*/ 5866803 h 6435474"/>
              <a:gd name="connsiteX4" fmla="*/ 7075779 w 7658705"/>
              <a:gd name="connsiteY4" fmla="*/ 6382929 h 6435474"/>
              <a:gd name="connsiteX5" fmla="*/ 0 w 7658705"/>
              <a:gd name="connsiteY5" fmla="*/ 6380891 h 6435474"/>
              <a:gd name="connsiteX6" fmla="*/ 1378044 w 7658705"/>
              <a:gd name="connsiteY6" fmla="*/ 2583026 h 6435474"/>
              <a:gd name="connsiteX7" fmla="*/ 2216437 w 7658705"/>
              <a:gd name="connsiteY7" fmla="*/ 17360 h 6435474"/>
              <a:gd name="connsiteX0" fmla="*/ 3384837 w 8827105"/>
              <a:gd name="connsiteY0" fmla="*/ 17360 h 6435474"/>
              <a:gd name="connsiteX1" fmla="*/ 5791854 w 8827105"/>
              <a:gd name="connsiteY1" fmla="*/ 0 h 6435474"/>
              <a:gd name="connsiteX2" fmla="*/ 6319694 w 8827105"/>
              <a:gd name="connsiteY2" fmla="*/ 901103 h 6435474"/>
              <a:gd name="connsiteX3" fmla="*/ 8192944 w 8827105"/>
              <a:gd name="connsiteY3" fmla="*/ 5866803 h 6435474"/>
              <a:gd name="connsiteX4" fmla="*/ 8244179 w 8827105"/>
              <a:gd name="connsiteY4" fmla="*/ 6382929 h 6435474"/>
              <a:gd name="connsiteX5" fmla="*/ 0 w 8827105"/>
              <a:gd name="connsiteY5" fmla="*/ 6374541 h 6435474"/>
              <a:gd name="connsiteX6" fmla="*/ 2546444 w 8827105"/>
              <a:gd name="connsiteY6" fmla="*/ 2583026 h 6435474"/>
              <a:gd name="connsiteX7" fmla="*/ 3384837 w 8827105"/>
              <a:gd name="connsiteY7" fmla="*/ 17360 h 6435474"/>
              <a:gd name="connsiteX0" fmla="*/ 3384837 w 8841176"/>
              <a:gd name="connsiteY0" fmla="*/ 17360 h 6382929"/>
              <a:gd name="connsiteX1" fmla="*/ 5791854 w 8841176"/>
              <a:gd name="connsiteY1" fmla="*/ 0 h 6382929"/>
              <a:gd name="connsiteX2" fmla="*/ 6319694 w 8841176"/>
              <a:gd name="connsiteY2" fmla="*/ 901103 h 6382929"/>
              <a:gd name="connsiteX3" fmla="*/ 8237394 w 8841176"/>
              <a:gd name="connsiteY3" fmla="*/ 3491903 h 6382929"/>
              <a:gd name="connsiteX4" fmla="*/ 8244179 w 8841176"/>
              <a:gd name="connsiteY4" fmla="*/ 6382929 h 6382929"/>
              <a:gd name="connsiteX5" fmla="*/ 0 w 8841176"/>
              <a:gd name="connsiteY5" fmla="*/ 6374541 h 6382929"/>
              <a:gd name="connsiteX6" fmla="*/ 2546444 w 8841176"/>
              <a:gd name="connsiteY6" fmla="*/ 2583026 h 6382929"/>
              <a:gd name="connsiteX7" fmla="*/ 3384837 w 8841176"/>
              <a:gd name="connsiteY7" fmla="*/ 17360 h 6382929"/>
              <a:gd name="connsiteX0" fmla="*/ 3384837 w 8841176"/>
              <a:gd name="connsiteY0" fmla="*/ 17360 h 6382929"/>
              <a:gd name="connsiteX1" fmla="*/ 5791854 w 8841176"/>
              <a:gd name="connsiteY1" fmla="*/ 0 h 6382929"/>
              <a:gd name="connsiteX2" fmla="*/ 6319694 w 8841176"/>
              <a:gd name="connsiteY2" fmla="*/ 901103 h 6382929"/>
              <a:gd name="connsiteX3" fmla="*/ 8237394 w 8841176"/>
              <a:gd name="connsiteY3" fmla="*/ 3491903 h 6382929"/>
              <a:gd name="connsiteX4" fmla="*/ 8244179 w 8841176"/>
              <a:gd name="connsiteY4" fmla="*/ 6382929 h 6382929"/>
              <a:gd name="connsiteX5" fmla="*/ 0 w 8841176"/>
              <a:gd name="connsiteY5" fmla="*/ 6374541 h 6382929"/>
              <a:gd name="connsiteX6" fmla="*/ 2546444 w 8841176"/>
              <a:gd name="connsiteY6" fmla="*/ 2583026 h 6382929"/>
              <a:gd name="connsiteX7" fmla="*/ 3384837 w 8841176"/>
              <a:gd name="connsiteY7" fmla="*/ 17360 h 6382929"/>
              <a:gd name="connsiteX0" fmla="*/ 3384837 w 8760679"/>
              <a:gd name="connsiteY0" fmla="*/ 17360 h 6382929"/>
              <a:gd name="connsiteX1" fmla="*/ 5791854 w 8760679"/>
              <a:gd name="connsiteY1" fmla="*/ 0 h 6382929"/>
              <a:gd name="connsiteX2" fmla="*/ 6319694 w 8760679"/>
              <a:gd name="connsiteY2" fmla="*/ 901103 h 6382929"/>
              <a:gd name="connsiteX3" fmla="*/ 8237394 w 8760679"/>
              <a:gd name="connsiteY3" fmla="*/ 3491903 h 6382929"/>
              <a:gd name="connsiteX4" fmla="*/ 8244179 w 8760679"/>
              <a:gd name="connsiteY4" fmla="*/ 6382929 h 6382929"/>
              <a:gd name="connsiteX5" fmla="*/ 0 w 8760679"/>
              <a:gd name="connsiteY5" fmla="*/ 6374541 h 6382929"/>
              <a:gd name="connsiteX6" fmla="*/ 2546444 w 8760679"/>
              <a:gd name="connsiteY6" fmla="*/ 2583026 h 6382929"/>
              <a:gd name="connsiteX7" fmla="*/ 3384837 w 8760679"/>
              <a:gd name="connsiteY7" fmla="*/ 17360 h 6382929"/>
              <a:gd name="connsiteX0" fmla="*/ 3384837 w 8767257"/>
              <a:gd name="connsiteY0" fmla="*/ 17360 h 6382929"/>
              <a:gd name="connsiteX1" fmla="*/ 5791854 w 8767257"/>
              <a:gd name="connsiteY1" fmla="*/ 0 h 6382929"/>
              <a:gd name="connsiteX2" fmla="*/ 6319694 w 8767257"/>
              <a:gd name="connsiteY2" fmla="*/ 901103 h 6382929"/>
              <a:gd name="connsiteX3" fmla="*/ 8262794 w 8767257"/>
              <a:gd name="connsiteY3" fmla="*/ 3530003 h 6382929"/>
              <a:gd name="connsiteX4" fmla="*/ 8244179 w 8767257"/>
              <a:gd name="connsiteY4" fmla="*/ 6382929 h 6382929"/>
              <a:gd name="connsiteX5" fmla="*/ 0 w 8767257"/>
              <a:gd name="connsiteY5" fmla="*/ 6374541 h 6382929"/>
              <a:gd name="connsiteX6" fmla="*/ 2546444 w 8767257"/>
              <a:gd name="connsiteY6" fmla="*/ 2583026 h 6382929"/>
              <a:gd name="connsiteX7" fmla="*/ 3384837 w 8767257"/>
              <a:gd name="connsiteY7" fmla="*/ 17360 h 6382929"/>
              <a:gd name="connsiteX0" fmla="*/ 3384837 w 8262794"/>
              <a:gd name="connsiteY0" fmla="*/ 17360 h 6382929"/>
              <a:gd name="connsiteX1" fmla="*/ 5791854 w 8262794"/>
              <a:gd name="connsiteY1" fmla="*/ 0 h 6382929"/>
              <a:gd name="connsiteX2" fmla="*/ 6319694 w 8262794"/>
              <a:gd name="connsiteY2" fmla="*/ 9011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79185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79185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79185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9644 w 8262794"/>
              <a:gd name="connsiteY2" fmla="*/ 97095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546444 w 8262794"/>
              <a:gd name="connsiteY6" fmla="*/ 25830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120994 w 8262794"/>
              <a:gd name="connsiteY6" fmla="*/ 18464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120994 w 8262794"/>
              <a:gd name="connsiteY6" fmla="*/ 18464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082894 w 8262794"/>
              <a:gd name="connsiteY6" fmla="*/ 1833726 h 6382929"/>
              <a:gd name="connsiteX7" fmla="*/ 3384837 w 8262794"/>
              <a:gd name="connsiteY7" fmla="*/ 17360 h 6382929"/>
              <a:gd name="connsiteX0" fmla="*/ 3384837 w 8262794"/>
              <a:gd name="connsiteY0" fmla="*/ 17360 h 6382929"/>
              <a:gd name="connsiteX1" fmla="*/ 5531504 w 8262794"/>
              <a:gd name="connsiteY1" fmla="*/ 0 h 6382929"/>
              <a:gd name="connsiteX2" fmla="*/ 7183294 w 8262794"/>
              <a:gd name="connsiteY2" fmla="*/ 951903 h 6382929"/>
              <a:gd name="connsiteX3" fmla="*/ 8262794 w 8262794"/>
              <a:gd name="connsiteY3" fmla="*/ 3530003 h 6382929"/>
              <a:gd name="connsiteX4" fmla="*/ 8244179 w 8262794"/>
              <a:gd name="connsiteY4" fmla="*/ 6382929 h 6382929"/>
              <a:gd name="connsiteX5" fmla="*/ 0 w 8262794"/>
              <a:gd name="connsiteY5" fmla="*/ 6374541 h 6382929"/>
              <a:gd name="connsiteX6" fmla="*/ 2082894 w 8262794"/>
              <a:gd name="connsiteY6" fmla="*/ 1833726 h 6382929"/>
              <a:gd name="connsiteX7" fmla="*/ 3384837 w 8262794"/>
              <a:gd name="connsiteY7" fmla="*/ 17360 h 638292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82894 w 8262794"/>
              <a:gd name="connsiteY6" fmla="*/ 1835416 h 6384619"/>
              <a:gd name="connsiteX7" fmla="*/ 3886487 w 8262794"/>
              <a:gd name="connsiteY7"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82894 w 8262794"/>
              <a:gd name="connsiteY6" fmla="*/ 1835416 h 6384619"/>
              <a:gd name="connsiteX7" fmla="*/ 3886487 w 8262794"/>
              <a:gd name="connsiteY7"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82894 w 8262794"/>
              <a:gd name="connsiteY6" fmla="*/ 1835416 h 6384619"/>
              <a:gd name="connsiteX7" fmla="*/ 3886487 w 8262794"/>
              <a:gd name="connsiteY7"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00344 w 8262794"/>
              <a:gd name="connsiteY6" fmla="*/ 1822716 h 6384619"/>
              <a:gd name="connsiteX7" fmla="*/ 3886487 w 8262794"/>
              <a:gd name="connsiteY7"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2000344 w 8262794"/>
              <a:gd name="connsiteY6" fmla="*/ 1822716 h 6384619"/>
              <a:gd name="connsiteX7" fmla="*/ 3886487 w 8262794"/>
              <a:gd name="connsiteY7" fmla="*/ 0 h 6384619"/>
              <a:gd name="connsiteX0" fmla="*/ 4394383 w 8770690"/>
              <a:gd name="connsiteY0" fmla="*/ 0 h 6384619"/>
              <a:gd name="connsiteX1" fmla="*/ 6039400 w 8770690"/>
              <a:gd name="connsiteY1" fmla="*/ 1690 h 6384619"/>
              <a:gd name="connsiteX2" fmla="*/ 7691190 w 8770690"/>
              <a:gd name="connsiteY2" fmla="*/ 953593 h 6384619"/>
              <a:gd name="connsiteX3" fmla="*/ 8770690 w 8770690"/>
              <a:gd name="connsiteY3" fmla="*/ 3531693 h 6384619"/>
              <a:gd name="connsiteX4" fmla="*/ 8752075 w 8770690"/>
              <a:gd name="connsiteY4" fmla="*/ 6384619 h 6384619"/>
              <a:gd name="connsiteX5" fmla="*/ 507896 w 8770690"/>
              <a:gd name="connsiteY5" fmla="*/ 6376231 h 6384619"/>
              <a:gd name="connsiteX6" fmla="*/ 1066186 w 8770690"/>
              <a:gd name="connsiteY6" fmla="*/ 4968748 h 6384619"/>
              <a:gd name="connsiteX7" fmla="*/ 2508240 w 8770690"/>
              <a:gd name="connsiteY7" fmla="*/ 1822716 h 6384619"/>
              <a:gd name="connsiteX8" fmla="*/ 4394383 w 8770690"/>
              <a:gd name="connsiteY8"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558290 w 8262794"/>
              <a:gd name="connsiteY6" fmla="*/ 4968748 h 6384619"/>
              <a:gd name="connsiteX7" fmla="*/ 2000344 w 8262794"/>
              <a:gd name="connsiteY7" fmla="*/ 1822716 h 6384619"/>
              <a:gd name="connsiteX8" fmla="*/ 3886487 w 8262794"/>
              <a:gd name="connsiteY8" fmla="*/ 0 h 6384619"/>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558290 w 8262794"/>
              <a:gd name="connsiteY6" fmla="*/ 4968748 h 6384619"/>
              <a:gd name="connsiteX7" fmla="*/ 2000344 w 8262794"/>
              <a:gd name="connsiteY7" fmla="*/ 1822716 h 6384619"/>
              <a:gd name="connsiteX8" fmla="*/ 3886487 w 8262794"/>
              <a:gd name="connsiteY8" fmla="*/ 0 h 6384619"/>
              <a:gd name="connsiteX0" fmla="*/ 3886487 w 8262794"/>
              <a:gd name="connsiteY0" fmla="*/ 127428 h 6512047"/>
              <a:gd name="connsiteX1" fmla="*/ 5531504 w 8262794"/>
              <a:gd name="connsiteY1" fmla="*/ 129118 h 6512047"/>
              <a:gd name="connsiteX2" fmla="*/ 7183294 w 8262794"/>
              <a:gd name="connsiteY2" fmla="*/ 1081021 h 6512047"/>
              <a:gd name="connsiteX3" fmla="*/ 8262794 w 8262794"/>
              <a:gd name="connsiteY3" fmla="*/ 3659121 h 6512047"/>
              <a:gd name="connsiteX4" fmla="*/ 8244179 w 8262794"/>
              <a:gd name="connsiteY4" fmla="*/ 6512047 h 6512047"/>
              <a:gd name="connsiteX5" fmla="*/ 0 w 8262794"/>
              <a:gd name="connsiteY5" fmla="*/ 6503659 h 6512047"/>
              <a:gd name="connsiteX6" fmla="*/ 558290 w 8262794"/>
              <a:gd name="connsiteY6" fmla="*/ 5096176 h 6512047"/>
              <a:gd name="connsiteX7" fmla="*/ 2000344 w 8262794"/>
              <a:gd name="connsiteY7" fmla="*/ 1950144 h 6512047"/>
              <a:gd name="connsiteX8" fmla="*/ 3694213 w 8262794"/>
              <a:gd name="connsiteY8" fmla="*/ 137314 h 6512047"/>
              <a:gd name="connsiteX9" fmla="*/ 3886487 w 8262794"/>
              <a:gd name="connsiteY9" fmla="*/ 127428 h 6512047"/>
              <a:gd name="connsiteX0" fmla="*/ 3886487 w 8262794"/>
              <a:gd name="connsiteY0" fmla="*/ 127428 h 6512047"/>
              <a:gd name="connsiteX1" fmla="*/ 5531504 w 8262794"/>
              <a:gd name="connsiteY1" fmla="*/ 129118 h 6512047"/>
              <a:gd name="connsiteX2" fmla="*/ 7183294 w 8262794"/>
              <a:gd name="connsiteY2" fmla="*/ 1081021 h 6512047"/>
              <a:gd name="connsiteX3" fmla="*/ 8262794 w 8262794"/>
              <a:gd name="connsiteY3" fmla="*/ 3659121 h 6512047"/>
              <a:gd name="connsiteX4" fmla="*/ 8244179 w 8262794"/>
              <a:gd name="connsiteY4" fmla="*/ 6512047 h 6512047"/>
              <a:gd name="connsiteX5" fmla="*/ 0 w 8262794"/>
              <a:gd name="connsiteY5" fmla="*/ 6503659 h 6512047"/>
              <a:gd name="connsiteX6" fmla="*/ 558290 w 8262794"/>
              <a:gd name="connsiteY6" fmla="*/ 5096176 h 6512047"/>
              <a:gd name="connsiteX7" fmla="*/ 2000344 w 8262794"/>
              <a:gd name="connsiteY7" fmla="*/ 1950144 h 6512047"/>
              <a:gd name="connsiteX8" fmla="*/ 3694213 w 8262794"/>
              <a:gd name="connsiteY8" fmla="*/ 137314 h 6512047"/>
              <a:gd name="connsiteX9" fmla="*/ 3886487 w 8262794"/>
              <a:gd name="connsiteY9" fmla="*/ 127428 h 6512047"/>
              <a:gd name="connsiteX0" fmla="*/ 3886487 w 8262794"/>
              <a:gd name="connsiteY0" fmla="*/ 127428 h 6512047"/>
              <a:gd name="connsiteX1" fmla="*/ 5531504 w 8262794"/>
              <a:gd name="connsiteY1" fmla="*/ 129118 h 6512047"/>
              <a:gd name="connsiteX2" fmla="*/ 7183294 w 8262794"/>
              <a:gd name="connsiteY2" fmla="*/ 1081021 h 6512047"/>
              <a:gd name="connsiteX3" fmla="*/ 8262794 w 8262794"/>
              <a:gd name="connsiteY3" fmla="*/ 3659121 h 6512047"/>
              <a:gd name="connsiteX4" fmla="*/ 8244179 w 8262794"/>
              <a:gd name="connsiteY4" fmla="*/ 6512047 h 6512047"/>
              <a:gd name="connsiteX5" fmla="*/ 0 w 8262794"/>
              <a:gd name="connsiteY5" fmla="*/ 6503659 h 6512047"/>
              <a:gd name="connsiteX6" fmla="*/ 558290 w 8262794"/>
              <a:gd name="connsiteY6" fmla="*/ 5096176 h 6512047"/>
              <a:gd name="connsiteX7" fmla="*/ 2516160 w 8262794"/>
              <a:gd name="connsiteY7" fmla="*/ 3714467 h 6512047"/>
              <a:gd name="connsiteX8" fmla="*/ 3694213 w 8262794"/>
              <a:gd name="connsiteY8" fmla="*/ 137314 h 6512047"/>
              <a:gd name="connsiteX9" fmla="*/ 3886487 w 8262794"/>
              <a:gd name="connsiteY9" fmla="*/ 127428 h 6512047"/>
              <a:gd name="connsiteX0" fmla="*/ 3886487 w 8262794"/>
              <a:gd name="connsiteY0" fmla="*/ 0 h 6384619"/>
              <a:gd name="connsiteX1" fmla="*/ 5531504 w 8262794"/>
              <a:gd name="connsiteY1" fmla="*/ 1690 h 6384619"/>
              <a:gd name="connsiteX2" fmla="*/ 7183294 w 8262794"/>
              <a:gd name="connsiteY2" fmla="*/ 953593 h 6384619"/>
              <a:gd name="connsiteX3" fmla="*/ 8262794 w 8262794"/>
              <a:gd name="connsiteY3" fmla="*/ 3531693 h 6384619"/>
              <a:gd name="connsiteX4" fmla="*/ 8244179 w 8262794"/>
              <a:gd name="connsiteY4" fmla="*/ 6384619 h 6384619"/>
              <a:gd name="connsiteX5" fmla="*/ 0 w 8262794"/>
              <a:gd name="connsiteY5" fmla="*/ 6376231 h 6384619"/>
              <a:gd name="connsiteX6" fmla="*/ 558290 w 8262794"/>
              <a:gd name="connsiteY6" fmla="*/ 4968748 h 6384619"/>
              <a:gd name="connsiteX7" fmla="*/ 2516160 w 8262794"/>
              <a:gd name="connsiteY7" fmla="*/ 3587039 h 6384619"/>
              <a:gd name="connsiteX8" fmla="*/ 3694213 w 8262794"/>
              <a:gd name="connsiteY8" fmla="*/ 9886 h 6384619"/>
              <a:gd name="connsiteX9" fmla="*/ 3886487 w 8262794"/>
              <a:gd name="connsiteY9" fmla="*/ 0 h 6384619"/>
              <a:gd name="connsiteX0" fmla="*/ 3694213 w 8262794"/>
              <a:gd name="connsiteY0" fmla="*/ 306770 h 6681503"/>
              <a:gd name="connsiteX1" fmla="*/ 5531504 w 8262794"/>
              <a:gd name="connsiteY1" fmla="*/ 298574 h 6681503"/>
              <a:gd name="connsiteX2" fmla="*/ 7183294 w 8262794"/>
              <a:gd name="connsiteY2" fmla="*/ 1250477 h 6681503"/>
              <a:gd name="connsiteX3" fmla="*/ 8262794 w 8262794"/>
              <a:gd name="connsiteY3" fmla="*/ 3828577 h 6681503"/>
              <a:gd name="connsiteX4" fmla="*/ 8244179 w 8262794"/>
              <a:gd name="connsiteY4" fmla="*/ 6681503 h 6681503"/>
              <a:gd name="connsiteX5" fmla="*/ 0 w 8262794"/>
              <a:gd name="connsiteY5" fmla="*/ 6673115 h 6681503"/>
              <a:gd name="connsiteX6" fmla="*/ 558290 w 8262794"/>
              <a:gd name="connsiteY6" fmla="*/ 5265632 h 6681503"/>
              <a:gd name="connsiteX7" fmla="*/ 2516160 w 8262794"/>
              <a:gd name="connsiteY7" fmla="*/ 3883923 h 6681503"/>
              <a:gd name="connsiteX8" fmla="*/ 3694213 w 8262794"/>
              <a:gd name="connsiteY8" fmla="*/ 306770 h 6681503"/>
              <a:gd name="connsiteX0" fmla="*/ 3694213 w 8262794"/>
              <a:gd name="connsiteY0" fmla="*/ 78510 h 6453243"/>
              <a:gd name="connsiteX1" fmla="*/ 5531504 w 8262794"/>
              <a:gd name="connsiteY1" fmla="*/ 70314 h 6453243"/>
              <a:gd name="connsiteX2" fmla="*/ 7183294 w 8262794"/>
              <a:gd name="connsiteY2" fmla="*/ 1022217 h 6453243"/>
              <a:gd name="connsiteX3" fmla="*/ 8262794 w 8262794"/>
              <a:gd name="connsiteY3" fmla="*/ 3600317 h 6453243"/>
              <a:gd name="connsiteX4" fmla="*/ 8244179 w 8262794"/>
              <a:gd name="connsiteY4" fmla="*/ 6453243 h 6453243"/>
              <a:gd name="connsiteX5" fmla="*/ 0 w 8262794"/>
              <a:gd name="connsiteY5" fmla="*/ 6444855 h 6453243"/>
              <a:gd name="connsiteX6" fmla="*/ 558290 w 8262794"/>
              <a:gd name="connsiteY6" fmla="*/ 5037372 h 6453243"/>
              <a:gd name="connsiteX7" fmla="*/ 2516160 w 8262794"/>
              <a:gd name="connsiteY7" fmla="*/ 3655663 h 6453243"/>
              <a:gd name="connsiteX8" fmla="*/ 3694213 w 8262794"/>
              <a:gd name="connsiteY8" fmla="*/ 78510 h 6453243"/>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516160 w 8262794"/>
              <a:gd name="connsiteY7" fmla="*/ 3587932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 name="connsiteX0" fmla="*/ 3694213 w 8262794"/>
              <a:gd name="connsiteY0" fmla="*/ 10779 h 6385512"/>
              <a:gd name="connsiteX1" fmla="*/ 5531504 w 8262794"/>
              <a:gd name="connsiteY1" fmla="*/ 2583 h 6385512"/>
              <a:gd name="connsiteX2" fmla="*/ 7183294 w 8262794"/>
              <a:gd name="connsiteY2" fmla="*/ 954486 h 6385512"/>
              <a:gd name="connsiteX3" fmla="*/ 8262794 w 8262794"/>
              <a:gd name="connsiteY3" fmla="*/ 3532586 h 6385512"/>
              <a:gd name="connsiteX4" fmla="*/ 8244179 w 8262794"/>
              <a:gd name="connsiteY4" fmla="*/ 6385512 h 6385512"/>
              <a:gd name="connsiteX5" fmla="*/ 0 w 8262794"/>
              <a:gd name="connsiteY5" fmla="*/ 6377124 h 6385512"/>
              <a:gd name="connsiteX6" fmla="*/ 558290 w 8262794"/>
              <a:gd name="connsiteY6" fmla="*/ 4969641 h 6385512"/>
              <a:gd name="connsiteX7" fmla="*/ 2352037 w 8262794"/>
              <a:gd name="connsiteY7" fmla="*/ 3529317 h 6385512"/>
              <a:gd name="connsiteX8" fmla="*/ 3694213 w 8262794"/>
              <a:gd name="connsiteY8" fmla="*/ 10779 h 6385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262794" h="6385512">
                <a:moveTo>
                  <a:pt x="3694213" y="10779"/>
                </a:moveTo>
                <a:cubicBezTo>
                  <a:pt x="4454678" y="-625"/>
                  <a:pt x="4955852" y="-2302"/>
                  <a:pt x="5531504" y="2583"/>
                </a:cubicBezTo>
                <a:cubicBezTo>
                  <a:pt x="6084147" y="29223"/>
                  <a:pt x="6757712" y="-16965"/>
                  <a:pt x="7183294" y="954486"/>
                </a:cubicBezTo>
                <a:cubicBezTo>
                  <a:pt x="7583476" y="1932287"/>
                  <a:pt x="7878547" y="2625298"/>
                  <a:pt x="8262794" y="3532586"/>
                </a:cubicBezTo>
                <a:cubicBezTo>
                  <a:pt x="8253341" y="4497024"/>
                  <a:pt x="8252886" y="5683881"/>
                  <a:pt x="8244179" y="6385512"/>
                </a:cubicBezTo>
                <a:lnTo>
                  <a:pt x="0" y="6377124"/>
                </a:lnTo>
                <a:cubicBezTo>
                  <a:pt x="184403" y="5889100"/>
                  <a:pt x="260068" y="5746144"/>
                  <a:pt x="558290" y="4969641"/>
                </a:cubicBezTo>
                <a:cubicBezTo>
                  <a:pt x="1167174" y="4990306"/>
                  <a:pt x="1929029" y="4560948"/>
                  <a:pt x="2352037" y="3529317"/>
                </a:cubicBezTo>
                <a:cubicBezTo>
                  <a:pt x="2775045" y="2497686"/>
                  <a:pt x="3491225" y="566611"/>
                  <a:pt x="3694213" y="10779"/>
                </a:cubicBezTo>
                <a:close/>
              </a:path>
            </a:pathLst>
          </a:custGeom>
          <a:pattFill prst="pct5">
            <a:fgClr>
              <a:schemeClr val="bg1"/>
            </a:fgClr>
            <a:bgClr>
              <a:schemeClr val="bg1">
                <a:lumMod val="65000"/>
              </a:schemeClr>
            </a:bgClr>
          </a:pattFill>
        </p:spPr>
        <p:txBody>
          <a:bodyPr lIns="2340000" tIns="1332000" rIns="720000" rtlCol="0">
            <a:normAutofit/>
          </a:bodyPr>
          <a:lstStyle>
            <a:lvl1pPr marL="0" indent="0" algn="ctr">
              <a:buFontTx/>
              <a:buNone/>
              <a:defRPr sz="1200" b="0" i="0">
                <a:solidFill>
                  <a:schemeClr val="tx2"/>
                </a:solidFill>
                <a:latin typeface="Schibsted Grotesk Bold" pitchFamily="2" charset="77"/>
              </a:defRPr>
            </a:lvl1pPr>
          </a:lstStyle>
          <a:p>
            <a:pPr lvl="0"/>
            <a:r>
              <a:rPr lang="en-US" noProof="0"/>
              <a:t>Click icon to add picture</a:t>
            </a:r>
          </a:p>
        </p:txBody>
      </p:sp>
      <p:sp>
        <p:nvSpPr>
          <p:cNvPr id="6" name="Title 1">
            <a:extLst>
              <a:ext uri="{FF2B5EF4-FFF2-40B4-BE49-F238E27FC236}">
                <a16:creationId xmlns:a16="http://schemas.microsoft.com/office/drawing/2014/main" id="{BA7DFF01-12F2-FCD5-AE18-6450A1F70231}"/>
              </a:ext>
            </a:extLst>
          </p:cNvPr>
          <p:cNvSpPr>
            <a:spLocks noGrp="1"/>
          </p:cNvSpPr>
          <p:nvPr>
            <p:ph type="ctrTitle"/>
          </p:nvPr>
        </p:nvSpPr>
        <p:spPr>
          <a:xfrm>
            <a:off x="426379" y="1916920"/>
            <a:ext cx="5349765" cy="1603933"/>
          </a:xfrm>
          <a:prstGeom prst="rect">
            <a:avLst/>
          </a:prstGeom>
        </p:spPr>
        <p:txBody>
          <a:bodyPr anchor="b"/>
          <a:lstStyle>
            <a:lvl1pPr algn="l">
              <a:defRPr sz="4000" b="0" i="0">
                <a:solidFill>
                  <a:schemeClr val="bg2"/>
                </a:solidFill>
                <a:latin typeface="+mj-lt"/>
              </a:defRPr>
            </a:lvl1pPr>
          </a:lstStyle>
          <a:p>
            <a:r>
              <a:rPr lang="en-US"/>
              <a:t>Click to edit Master title style</a:t>
            </a:r>
          </a:p>
        </p:txBody>
      </p:sp>
      <p:sp>
        <p:nvSpPr>
          <p:cNvPr id="7" name="Subtitle 2">
            <a:extLst>
              <a:ext uri="{FF2B5EF4-FFF2-40B4-BE49-F238E27FC236}">
                <a16:creationId xmlns:a16="http://schemas.microsoft.com/office/drawing/2014/main" id="{5BE17CB9-DBB8-782B-FF7B-7A7F167A2429}"/>
              </a:ext>
            </a:extLst>
          </p:cNvPr>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bg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 name="Picture 1" descr="Yellow letters on a black background&#10;&#10;Description automatically generated">
            <a:extLst>
              <a:ext uri="{FF2B5EF4-FFF2-40B4-BE49-F238E27FC236}">
                <a16:creationId xmlns:a16="http://schemas.microsoft.com/office/drawing/2014/main" id="{2BE40B8F-C8AF-2694-F50B-0C861D3D0A9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075" y="196497"/>
            <a:ext cx="2527329" cy="927100"/>
          </a:xfrm>
          <a:prstGeom prst="rect">
            <a:avLst/>
          </a:prstGeom>
        </p:spPr>
      </p:pic>
    </p:spTree>
    <p:extLst>
      <p:ext uri="{BB962C8B-B14F-4D97-AF65-F5344CB8AC3E}">
        <p14:creationId xmlns:p14="http://schemas.microsoft.com/office/powerpoint/2010/main" val="2302858889"/>
      </p:ext>
    </p:extLst>
  </p:cSld>
  <p:clrMapOvr>
    <a:masterClrMapping/>
  </p:clrMapOvr>
  <p:transition spd="slow"/>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Cover 16">
    <p:bg>
      <p:bgPr>
        <a:solidFill>
          <a:schemeClr val="bg2"/>
        </a:solidFill>
        <a:effectLst/>
      </p:bgPr>
    </p:bg>
    <p:spTree>
      <p:nvGrpSpPr>
        <p:cNvPr id="1" name=""/>
        <p:cNvGrpSpPr/>
        <p:nvPr/>
      </p:nvGrpSpPr>
      <p:grpSpPr>
        <a:xfrm>
          <a:off x="0" y="0"/>
          <a:ext cx="0" cy="0"/>
          <a:chOff x="0" y="0"/>
          <a:chExt cx="0" cy="0"/>
        </a:xfrm>
      </p:grpSpPr>
      <p:sp>
        <p:nvSpPr>
          <p:cNvPr id="2" name="Picture Placeholder 4">
            <a:extLst>
              <a:ext uri="{FF2B5EF4-FFF2-40B4-BE49-F238E27FC236}">
                <a16:creationId xmlns:a16="http://schemas.microsoft.com/office/drawing/2014/main" id="{AF19DDE3-818E-8644-9E61-B35BED1F2F4F}"/>
              </a:ext>
            </a:extLst>
          </p:cNvPr>
          <p:cNvSpPr txBox="1">
            <a:spLocks/>
          </p:cNvSpPr>
          <p:nvPr userDrawn="1"/>
        </p:nvSpPr>
        <p:spPr>
          <a:xfrm flipH="1">
            <a:off x="-9525" y="-28575"/>
            <a:ext cx="6972300" cy="6891338"/>
          </a:xfrm>
          <a:custGeom>
            <a:avLst/>
            <a:gdLst>
              <a:gd name="connsiteX0" fmla="*/ 0 w 6256337"/>
              <a:gd name="connsiteY0" fmla="*/ 0 h 6300787"/>
              <a:gd name="connsiteX1" fmla="*/ 6256337 w 6256337"/>
              <a:gd name="connsiteY1" fmla="*/ 0 h 6300787"/>
              <a:gd name="connsiteX2" fmla="*/ 6256337 w 6256337"/>
              <a:gd name="connsiteY2" fmla="*/ 6300787 h 6300787"/>
              <a:gd name="connsiteX3" fmla="*/ 0 w 6256337"/>
              <a:gd name="connsiteY3" fmla="*/ 6300787 h 6300787"/>
              <a:gd name="connsiteX4" fmla="*/ 0 w 6256337"/>
              <a:gd name="connsiteY4" fmla="*/ 0 h 6300787"/>
              <a:gd name="connsiteX0" fmla="*/ 627682 w 6256337"/>
              <a:gd name="connsiteY0" fmla="*/ 116237 h 6300787"/>
              <a:gd name="connsiteX1" fmla="*/ 6256337 w 6256337"/>
              <a:gd name="connsiteY1" fmla="*/ 0 h 6300787"/>
              <a:gd name="connsiteX2" fmla="*/ 6256337 w 6256337"/>
              <a:gd name="connsiteY2" fmla="*/ 6300787 h 6300787"/>
              <a:gd name="connsiteX3" fmla="*/ 0 w 6256337"/>
              <a:gd name="connsiteY3" fmla="*/ 6300787 h 6300787"/>
              <a:gd name="connsiteX4" fmla="*/ 627682 w 6256337"/>
              <a:gd name="connsiteY4" fmla="*/ 116237 h 6300787"/>
              <a:gd name="connsiteX0" fmla="*/ 1383005 w 7011660"/>
              <a:gd name="connsiteY0" fmla="*/ 116237 h 6300787"/>
              <a:gd name="connsiteX1" fmla="*/ 7011660 w 7011660"/>
              <a:gd name="connsiteY1" fmla="*/ 0 h 6300787"/>
              <a:gd name="connsiteX2" fmla="*/ 7011660 w 7011660"/>
              <a:gd name="connsiteY2" fmla="*/ 6300787 h 6300787"/>
              <a:gd name="connsiteX3" fmla="*/ 755323 w 7011660"/>
              <a:gd name="connsiteY3" fmla="*/ 6300787 h 6300787"/>
              <a:gd name="connsiteX4" fmla="*/ 1383005 w 7011660"/>
              <a:gd name="connsiteY4" fmla="*/ 116237 h 6300787"/>
              <a:gd name="connsiteX0" fmla="*/ 994183 w 6622838"/>
              <a:gd name="connsiteY0" fmla="*/ 116237 h 6331783"/>
              <a:gd name="connsiteX1" fmla="*/ 6622838 w 6622838"/>
              <a:gd name="connsiteY1" fmla="*/ 0 h 6331783"/>
              <a:gd name="connsiteX2" fmla="*/ 6622838 w 6622838"/>
              <a:gd name="connsiteY2" fmla="*/ 6300787 h 6331783"/>
              <a:gd name="connsiteX3" fmla="*/ 2063566 w 6622838"/>
              <a:gd name="connsiteY3" fmla="*/ 6331783 h 6331783"/>
              <a:gd name="connsiteX4" fmla="*/ 994183 w 6622838"/>
              <a:gd name="connsiteY4" fmla="*/ 116237 h 6331783"/>
              <a:gd name="connsiteX0" fmla="*/ 1155006 w 6783661"/>
              <a:gd name="connsiteY0" fmla="*/ 116237 h 6331783"/>
              <a:gd name="connsiteX1" fmla="*/ 6783661 w 6783661"/>
              <a:gd name="connsiteY1" fmla="*/ 0 h 6331783"/>
              <a:gd name="connsiteX2" fmla="*/ 6783661 w 6783661"/>
              <a:gd name="connsiteY2" fmla="*/ 6300787 h 6331783"/>
              <a:gd name="connsiteX3" fmla="*/ 2224389 w 6783661"/>
              <a:gd name="connsiteY3" fmla="*/ 6331783 h 6331783"/>
              <a:gd name="connsiteX4" fmla="*/ 1155006 w 6783661"/>
              <a:gd name="connsiteY4" fmla="*/ 116237 h 6331783"/>
              <a:gd name="connsiteX0" fmla="*/ 1542115 w 5799170"/>
              <a:gd name="connsiteY0" fmla="*/ 85241 h 6331783"/>
              <a:gd name="connsiteX1" fmla="*/ 5799170 w 5799170"/>
              <a:gd name="connsiteY1" fmla="*/ 0 h 6331783"/>
              <a:gd name="connsiteX2" fmla="*/ 5799170 w 5799170"/>
              <a:gd name="connsiteY2" fmla="*/ 6300787 h 6331783"/>
              <a:gd name="connsiteX3" fmla="*/ 1239898 w 5799170"/>
              <a:gd name="connsiteY3" fmla="*/ 6331783 h 6331783"/>
              <a:gd name="connsiteX4" fmla="*/ 1542115 w 5799170"/>
              <a:gd name="connsiteY4" fmla="*/ 85241 h 6331783"/>
              <a:gd name="connsiteX0" fmla="*/ 1542115 w 5799170"/>
              <a:gd name="connsiteY0" fmla="*/ 0 h 6246542"/>
              <a:gd name="connsiteX1" fmla="*/ 5791421 w 5799170"/>
              <a:gd name="connsiteY1" fmla="*/ 23247 h 6246542"/>
              <a:gd name="connsiteX2" fmla="*/ 5799170 w 5799170"/>
              <a:gd name="connsiteY2" fmla="*/ 6215546 h 6246542"/>
              <a:gd name="connsiteX3" fmla="*/ 1239898 w 5799170"/>
              <a:gd name="connsiteY3" fmla="*/ 6246542 h 6246542"/>
              <a:gd name="connsiteX4" fmla="*/ 1542115 w 5799170"/>
              <a:gd name="connsiteY4" fmla="*/ 0 h 6246542"/>
              <a:gd name="connsiteX0" fmla="*/ 1890165 w 6147220"/>
              <a:gd name="connsiteY0" fmla="*/ 0 h 6246542"/>
              <a:gd name="connsiteX1" fmla="*/ 6139471 w 6147220"/>
              <a:gd name="connsiteY1" fmla="*/ 23247 h 6246542"/>
              <a:gd name="connsiteX2" fmla="*/ 6147220 w 6147220"/>
              <a:gd name="connsiteY2" fmla="*/ 6215546 h 6246542"/>
              <a:gd name="connsiteX3" fmla="*/ 1587948 w 6147220"/>
              <a:gd name="connsiteY3" fmla="*/ 6246542 h 6246542"/>
              <a:gd name="connsiteX4" fmla="*/ 1890165 w 6147220"/>
              <a:gd name="connsiteY4" fmla="*/ 0 h 6246542"/>
              <a:gd name="connsiteX0" fmla="*/ 1705434 w 5962489"/>
              <a:gd name="connsiteY0" fmla="*/ 39 h 6246581"/>
              <a:gd name="connsiteX1" fmla="*/ 5954740 w 5962489"/>
              <a:gd name="connsiteY1" fmla="*/ 23286 h 6246581"/>
              <a:gd name="connsiteX2" fmla="*/ 5962489 w 5962489"/>
              <a:gd name="connsiteY2" fmla="*/ 6215585 h 6246581"/>
              <a:gd name="connsiteX3" fmla="*/ 1403217 w 5962489"/>
              <a:gd name="connsiteY3" fmla="*/ 6246581 h 6246581"/>
              <a:gd name="connsiteX4" fmla="*/ 1705434 w 5962489"/>
              <a:gd name="connsiteY4" fmla="*/ 39 h 6246581"/>
              <a:gd name="connsiteX0" fmla="*/ 1881192 w 5681047"/>
              <a:gd name="connsiteY0" fmla="*/ 41 h 6238834"/>
              <a:gd name="connsiteX1" fmla="*/ 5673298 w 5681047"/>
              <a:gd name="connsiteY1" fmla="*/ 15539 h 6238834"/>
              <a:gd name="connsiteX2" fmla="*/ 5681047 w 5681047"/>
              <a:gd name="connsiteY2" fmla="*/ 6207838 h 6238834"/>
              <a:gd name="connsiteX3" fmla="*/ 1121775 w 5681047"/>
              <a:gd name="connsiteY3" fmla="*/ 6238834 h 6238834"/>
              <a:gd name="connsiteX4" fmla="*/ 1881192 w 5681047"/>
              <a:gd name="connsiteY4" fmla="*/ 41 h 6238834"/>
              <a:gd name="connsiteX0" fmla="*/ 2307125 w 6106980"/>
              <a:gd name="connsiteY0" fmla="*/ 41 h 6238834"/>
              <a:gd name="connsiteX1" fmla="*/ 6099231 w 6106980"/>
              <a:gd name="connsiteY1" fmla="*/ 15539 h 6238834"/>
              <a:gd name="connsiteX2" fmla="*/ 6106980 w 6106980"/>
              <a:gd name="connsiteY2" fmla="*/ 6207838 h 6238834"/>
              <a:gd name="connsiteX3" fmla="*/ 1547708 w 6106980"/>
              <a:gd name="connsiteY3" fmla="*/ 6238834 h 6238834"/>
              <a:gd name="connsiteX4" fmla="*/ 2307125 w 6106980"/>
              <a:gd name="connsiteY4" fmla="*/ 41 h 6238834"/>
              <a:gd name="connsiteX0" fmla="*/ 2530427 w 5780092"/>
              <a:gd name="connsiteY0" fmla="*/ 41 h 6238834"/>
              <a:gd name="connsiteX1" fmla="*/ 5772343 w 5780092"/>
              <a:gd name="connsiteY1" fmla="*/ 15539 h 6238834"/>
              <a:gd name="connsiteX2" fmla="*/ 5780092 w 5780092"/>
              <a:gd name="connsiteY2" fmla="*/ 6207838 h 6238834"/>
              <a:gd name="connsiteX3" fmla="*/ 1220820 w 5780092"/>
              <a:gd name="connsiteY3" fmla="*/ 6238834 h 6238834"/>
              <a:gd name="connsiteX4" fmla="*/ 2530427 w 5780092"/>
              <a:gd name="connsiteY4" fmla="*/ 41 h 6238834"/>
              <a:gd name="connsiteX0" fmla="*/ 2867260 w 6116925"/>
              <a:gd name="connsiteY0" fmla="*/ 8541 h 6247334"/>
              <a:gd name="connsiteX1" fmla="*/ 6109176 w 6116925"/>
              <a:gd name="connsiteY1" fmla="*/ 24039 h 6247334"/>
              <a:gd name="connsiteX2" fmla="*/ 6116925 w 6116925"/>
              <a:gd name="connsiteY2" fmla="*/ 6216338 h 6247334"/>
              <a:gd name="connsiteX3" fmla="*/ 1557653 w 6116925"/>
              <a:gd name="connsiteY3" fmla="*/ 6247334 h 6247334"/>
              <a:gd name="connsiteX4" fmla="*/ 2867260 w 6116925"/>
              <a:gd name="connsiteY4" fmla="*/ 8541 h 6247334"/>
              <a:gd name="connsiteX0" fmla="*/ 2842431 w 6092096"/>
              <a:gd name="connsiteY0" fmla="*/ 8528 h 6255070"/>
              <a:gd name="connsiteX1" fmla="*/ 6084347 w 6092096"/>
              <a:gd name="connsiteY1" fmla="*/ 24026 h 6255070"/>
              <a:gd name="connsiteX2" fmla="*/ 6092096 w 6092096"/>
              <a:gd name="connsiteY2" fmla="*/ 6216325 h 6255070"/>
              <a:gd name="connsiteX3" fmla="*/ 1594817 w 6092096"/>
              <a:gd name="connsiteY3" fmla="*/ 6255070 h 6255070"/>
              <a:gd name="connsiteX4" fmla="*/ 2842431 w 6092096"/>
              <a:gd name="connsiteY4" fmla="*/ 8528 h 6255070"/>
              <a:gd name="connsiteX0" fmla="*/ 2798557 w 6048222"/>
              <a:gd name="connsiteY0" fmla="*/ 8541 h 6255083"/>
              <a:gd name="connsiteX1" fmla="*/ 6040473 w 6048222"/>
              <a:gd name="connsiteY1" fmla="*/ 24039 h 6255083"/>
              <a:gd name="connsiteX2" fmla="*/ 6048222 w 6048222"/>
              <a:gd name="connsiteY2" fmla="*/ 6216338 h 6255083"/>
              <a:gd name="connsiteX3" fmla="*/ 1550943 w 6048222"/>
              <a:gd name="connsiteY3" fmla="*/ 6255083 h 6255083"/>
              <a:gd name="connsiteX4" fmla="*/ 2798557 w 6048222"/>
              <a:gd name="connsiteY4" fmla="*/ 8541 h 6255083"/>
              <a:gd name="connsiteX0" fmla="*/ 2841061 w 6090726"/>
              <a:gd name="connsiteY0" fmla="*/ 1003 h 6247545"/>
              <a:gd name="connsiteX1" fmla="*/ 6082977 w 6090726"/>
              <a:gd name="connsiteY1" fmla="*/ 16501 h 6247545"/>
              <a:gd name="connsiteX2" fmla="*/ 6090726 w 6090726"/>
              <a:gd name="connsiteY2" fmla="*/ 6208800 h 6247545"/>
              <a:gd name="connsiteX3" fmla="*/ 1593447 w 6090726"/>
              <a:gd name="connsiteY3" fmla="*/ 6247545 h 6247545"/>
              <a:gd name="connsiteX4" fmla="*/ 2841061 w 6090726"/>
              <a:gd name="connsiteY4" fmla="*/ 1003 h 6247545"/>
              <a:gd name="connsiteX0" fmla="*/ 2484782 w 6780583"/>
              <a:gd name="connsiteY0" fmla="*/ 7749 h 6231044"/>
              <a:gd name="connsiteX1" fmla="*/ 6772834 w 6780583"/>
              <a:gd name="connsiteY1" fmla="*/ 0 h 6231044"/>
              <a:gd name="connsiteX2" fmla="*/ 6780583 w 6780583"/>
              <a:gd name="connsiteY2" fmla="*/ 6192299 h 6231044"/>
              <a:gd name="connsiteX3" fmla="*/ 2283304 w 6780583"/>
              <a:gd name="connsiteY3" fmla="*/ 6231044 h 6231044"/>
              <a:gd name="connsiteX4" fmla="*/ 2484782 w 6780583"/>
              <a:gd name="connsiteY4" fmla="*/ 7749 h 6231044"/>
              <a:gd name="connsiteX0" fmla="*/ 1750922 w 6046723"/>
              <a:gd name="connsiteY0" fmla="*/ 7749 h 6231044"/>
              <a:gd name="connsiteX1" fmla="*/ 6038974 w 6046723"/>
              <a:gd name="connsiteY1" fmla="*/ 0 h 6231044"/>
              <a:gd name="connsiteX2" fmla="*/ 6046723 w 6046723"/>
              <a:gd name="connsiteY2" fmla="*/ 6192299 h 6231044"/>
              <a:gd name="connsiteX3" fmla="*/ 1549444 w 6046723"/>
              <a:gd name="connsiteY3" fmla="*/ 6231044 h 6231044"/>
              <a:gd name="connsiteX4" fmla="*/ 1750922 w 6046723"/>
              <a:gd name="connsiteY4" fmla="*/ 7749 h 6231044"/>
              <a:gd name="connsiteX0" fmla="*/ 1768549 w 6064350"/>
              <a:gd name="connsiteY0" fmla="*/ 7749 h 6200047"/>
              <a:gd name="connsiteX1" fmla="*/ 6056601 w 6064350"/>
              <a:gd name="connsiteY1" fmla="*/ 0 h 6200047"/>
              <a:gd name="connsiteX2" fmla="*/ 6064350 w 6064350"/>
              <a:gd name="connsiteY2" fmla="*/ 6192299 h 6200047"/>
              <a:gd name="connsiteX3" fmla="*/ 1512827 w 6064350"/>
              <a:gd name="connsiteY3" fmla="*/ 6200047 h 6200047"/>
              <a:gd name="connsiteX4" fmla="*/ 1768549 w 6064350"/>
              <a:gd name="connsiteY4" fmla="*/ 7749 h 6200047"/>
              <a:gd name="connsiteX0" fmla="*/ 1951901 w 6247702"/>
              <a:gd name="connsiteY0" fmla="*/ 7749 h 6200047"/>
              <a:gd name="connsiteX1" fmla="*/ 6239953 w 6247702"/>
              <a:gd name="connsiteY1" fmla="*/ 0 h 6200047"/>
              <a:gd name="connsiteX2" fmla="*/ 6247702 w 6247702"/>
              <a:gd name="connsiteY2" fmla="*/ 6192299 h 6200047"/>
              <a:gd name="connsiteX3" fmla="*/ 1696179 w 6247702"/>
              <a:gd name="connsiteY3" fmla="*/ 6200047 h 6200047"/>
              <a:gd name="connsiteX4" fmla="*/ 1951901 w 6247702"/>
              <a:gd name="connsiteY4" fmla="*/ 7749 h 6200047"/>
              <a:gd name="connsiteX0" fmla="*/ 1827370 w 6123171"/>
              <a:gd name="connsiteY0" fmla="*/ 7749 h 6200047"/>
              <a:gd name="connsiteX1" fmla="*/ 6115422 w 6123171"/>
              <a:gd name="connsiteY1" fmla="*/ 0 h 6200047"/>
              <a:gd name="connsiteX2" fmla="*/ 6123171 w 6123171"/>
              <a:gd name="connsiteY2" fmla="*/ 6192299 h 6200047"/>
              <a:gd name="connsiteX3" fmla="*/ 1571648 w 6123171"/>
              <a:gd name="connsiteY3" fmla="*/ 6200047 h 6200047"/>
              <a:gd name="connsiteX4" fmla="*/ 1827370 w 6123171"/>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822529 w 6118330"/>
              <a:gd name="connsiteY0" fmla="*/ 7749 h 6200047"/>
              <a:gd name="connsiteX1" fmla="*/ 6110581 w 6118330"/>
              <a:gd name="connsiteY1" fmla="*/ 0 h 6200047"/>
              <a:gd name="connsiteX2" fmla="*/ 6118330 w 6118330"/>
              <a:gd name="connsiteY2" fmla="*/ 6192299 h 6200047"/>
              <a:gd name="connsiteX3" fmla="*/ 1566807 w 6118330"/>
              <a:gd name="connsiteY3" fmla="*/ 6200047 h 6200047"/>
              <a:gd name="connsiteX4" fmla="*/ 1822529 w 6118330"/>
              <a:gd name="connsiteY4" fmla="*/ 7749 h 6200047"/>
              <a:gd name="connsiteX0" fmla="*/ 1654188 w 5949989"/>
              <a:gd name="connsiteY0" fmla="*/ 7749 h 6200047"/>
              <a:gd name="connsiteX1" fmla="*/ 5942240 w 5949989"/>
              <a:gd name="connsiteY1" fmla="*/ 0 h 6200047"/>
              <a:gd name="connsiteX2" fmla="*/ 5949989 w 5949989"/>
              <a:gd name="connsiteY2" fmla="*/ 6192299 h 6200047"/>
              <a:gd name="connsiteX3" fmla="*/ 1398466 w 5949989"/>
              <a:gd name="connsiteY3" fmla="*/ 6200047 h 6200047"/>
              <a:gd name="connsiteX4" fmla="*/ 2778 w 5949989"/>
              <a:gd name="connsiteY4" fmla="*/ 3275872 h 6200047"/>
              <a:gd name="connsiteX5" fmla="*/ 1654188 w 5949989"/>
              <a:gd name="connsiteY5" fmla="*/ 7749 h 6200047"/>
              <a:gd name="connsiteX0" fmla="*/ 2151410 w 6447211"/>
              <a:gd name="connsiteY0" fmla="*/ 7749 h 6200047"/>
              <a:gd name="connsiteX1" fmla="*/ 6439462 w 6447211"/>
              <a:gd name="connsiteY1" fmla="*/ 0 h 6200047"/>
              <a:gd name="connsiteX2" fmla="*/ 6447211 w 6447211"/>
              <a:gd name="connsiteY2" fmla="*/ 6192299 h 6200047"/>
              <a:gd name="connsiteX3" fmla="*/ 1895688 w 6447211"/>
              <a:gd name="connsiteY3" fmla="*/ 6200047 h 6200047"/>
              <a:gd name="connsiteX4" fmla="*/ 500000 w 6447211"/>
              <a:gd name="connsiteY4" fmla="*/ 3275872 h 6200047"/>
              <a:gd name="connsiteX5" fmla="*/ 2151410 w 6447211"/>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92178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177509 w 6473310"/>
              <a:gd name="connsiteY0" fmla="*/ 7749 h 6200047"/>
              <a:gd name="connsiteX1" fmla="*/ 6465561 w 6473310"/>
              <a:gd name="connsiteY1" fmla="*/ 0 h 6200047"/>
              <a:gd name="connsiteX2" fmla="*/ 6473310 w 6473310"/>
              <a:gd name="connsiteY2" fmla="*/ 6192299 h 6200047"/>
              <a:gd name="connsiteX3" fmla="*/ 1483637 w 6473310"/>
              <a:gd name="connsiteY3" fmla="*/ 6200047 h 6200047"/>
              <a:gd name="connsiteX4" fmla="*/ 526099 w 6473310"/>
              <a:gd name="connsiteY4" fmla="*/ 3275872 h 6200047"/>
              <a:gd name="connsiteX5" fmla="*/ 2177509 w 6473310"/>
              <a:gd name="connsiteY5" fmla="*/ 7749 h 6200047"/>
              <a:gd name="connsiteX0" fmla="*/ 2464942 w 6760743"/>
              <a:gd name="connsiteY0" fmla="*/ 7749 h 6200047"/>
              <a:gd name="connsiteX1" fmla="*/ 6752994 w 6760743"/>
              <a:gd name="connsiteY1" fmla="*/ 0 h 6200047"/>
              <a:gd name="connsiteX2" fmla="*/ 6760743 w 6760743"/>
              <a:gd name="connsiteY2" fmla="*/ 6192299 h 6200047"/>
              <a:gd name="connsiteX3" fmla="*/ 1771070 w 6760743"/>
              <a:gd name="connsiteY3" fmla="*/ 6200047 h 6200047"/>
              <a:gd name="connsiteX4" fmla="*/ 261082 w 6760743"/>
              <a:gd name="connsiteY4" fmla="*/ 2304322 h 6200047"/>
              <a:gd name="connsiteX5" fmla="*/ 2464942 w 6760743"/>
              <a:gd name="connsiteY5" fmla="*/ 7749 h 6200047"/>
              <a:gd name="connsiteX0" fmla="*/ 2587995 w 6883796"/>
              <a:gd name="connsiteY0" fmla="*/ 7749 h 6200047"/>
              <a:gd name="connsiteX1" fmla="*/ 6876047 w 6883796"/>
              <a:gd name="connsiteY1" fmla="*/ 0 h 6200047"/>
              <a:gd name="connsiteX2" fmla="*/ 6883796 w 6883796"/>
              <a:gd name="connsiteY2" fmla="*/ 6192299 h 6200047"/>
              <a:gd name="connsiteX3" fmla="*/ 1894123 w 6883796"/>
              <a:gd name="connsiteY3" fmla="*/ 6200047 h 6200047"/>
              <a:gd name="connsiteX4" fmla="*/ 384135 w 6883796"/>
              <a:gd name="connsiteY4" fmla="*/ 2304322 h 6200047"/>
              <a:gd name="connsiteX5" fmla="*/ 2587995 w 6883796"/>
              <a:gd name="connsiteY5" fmla="*/ 7749 h 6200047"/>
              <a:gd name="connsiteX0" fmla="*/ 2624170 w 6919971"/>
              <a:gd name="connsiteY0" fmla="*/ 7749 h 6200047"/>
              <a:gd name="connsiteX1" fmla="*/ 6912222 w 6919971"/>
              <a:gd name="connsiteY1" fmla="*/ 0 h 6200047"/>
              <a:gd name="connsiteX2" fmla="*/ 6919971 w 6919971"/>
              <a:gd name="connsiteY2" fmla="*/ 6192299 h 6200047"/>
              <a:gd name="connsiteX3" fmla="*/ 1930298 w 6919971"/>
              <a:gd name="connsiteY3" fmla="*/ 6200047 h 6200047"/>
              <a:gd name="connsiteX4" fmla="*/ 420310 w 6919971"/>
              <a:gd name="connsiteY4" fmla="*/ 2304322 h 6200047"/>
              <a:gd name="connsiteX5" fmla="*/ 2624170 w 6919971"/>
              <a:gd name="connsiteY5" fmla="*/ 7749 h 6200047"/>
              <a:gd name="connsiteX0" fmla="*/ 2327784 w 6623585"/>
              <a:gd name="connsiteY0" fmla="*/ 7749 h 6200047"/>
              <a:gd name="connsiteX1" fmla="*/ 6615836 w 6623585"/>
              <a:gd name="connsiteY1" fmla="*/ 0 h 6200047"/>
              <a:gd name="connsiteX2" fmla="*/ 6623585 w 6623585"/>
              <a:gd name="connsiteY2" fmla="*/ 6192299 h 6200047"/>
              <a:gd name="connsiteX3" fmla="*/ 1633912 w 6623585"/>
              <a:gd name="connsiteY3" fmla="*/ 6200047 h 6200047"/>
              <a:gd name="connsiteX4" fmla="*/ 123924 w 6623585"/>
              <a:gd name="connsiteY4" fmla="*/ 2304322 h 6200047"/>
              <a:gd name="connsiteX5" fmla="*/ 2327784 w 6623585"/>
              <a:gd name="connsiteY5" fmla="*/ 7749 h 6200047"/>
              <a:gd name="connsiteX0" fmla="*/ 2308527 w 6604328"/>
              <a:gd name="connsiteY0" fmla="*/ 7749 h 6200047"/>
              <a:gd name="connsiteX1" fmla="*/ 6596579 w 6604328"/>
              <a:gd name="connsiteY1" fmla="*/ 0 h 6200047"/>
              <a:gd name="connsiteX2" fmla="*/ 6604328 w 6604328"/>
              <a:gd name="connsiteY2" fmla="*/ 6192299 h 6200047"/>
              <a:gd name="connsiteX3" fmla="*/ 1614655 w 6604328"/>
              <a:gd name="connsiteY3" fmla="*/ 6200047 h 6200047"/>
              <a:gd name="connsiteX4" fmla="*/ 104667 w 6604328"/>
              <a:gd name="connsiteY4" fmla="*/ 2304322 h 6200047"/>
              <a:gd name="connsiteX5" fmla="*/ 2308527 w 6604328"/>
              <a:gd name="connsiteY5" fmla="*/ 7749 h 6200047"/>
              <a:gd name="connsiteX0" fmla="*/ 2186436 w 6482237"/>
              <a:gd name="connsiteY0" fmla="*/ 191187 h 6383485"/>
              <a:gd name="connsiteX1" fmla="*/ 6474488 w 6482237"/>
              <a:gd name="connsiteY1" fmla="*/ 183438 h 6383485"/>
              <a:gd name="connsiteX2" fmla="*/ 6482237 w 6482237"/>
              <a:gd name="connsiteY2" fmla="*/ 6375737 h 6383485"/>
              <a:gd name="connsiteX3" fmla="*/ 1492564 w 6482237"/>
              <a:gd name="connsiteY3" fmla="*/ 6383485 h 6383485"/>
              <a:gd name="connsiteX4" fmla="*/ 39726 w 6482237"/>
              <a:gd name="connsiteY4" fmla="*/ 2744935 h 6383485"/>
              <a:gd name="connsiteX5" fmla="*/ 2186436 w 6482237"/>
              <a:gd name="connsiteY5" fmla="*/ 191187 h 6383485"/>
              <a:gd name="connsiteX0" fmla="*/ 2240494 w 6536295"/>
              <a:gd name="connsiteY0" fmla="*/ 7749 h 6200047"/>
              <a:gd name="connsiteX1" fmla="*/ 6528546 w 6536295"/>
              <a:gd name="connsiteY1" fmla="*/ 0 h 6200047"/>
              <a:gd name="connsiteX2" fmla="*/ 6536295 w 6536295"/>
              <a:gd name="connsiteY2" fmla="*/ 6192299 h 6200047"/>
              <a:gd name="connsiteX3" fmla="*/ 1546622 w 6536295"/>
              <a:gd name="connsiteY3" fmla="*/ 6200047 h 6200047"/>
              <a:gd name="connsiteX4" fmla="*/ 93784 w 6536295"/>
              <a:gd name="connsiteY4" fmla="*/ 2561497 h 6200047"/>
              <a:gd name="connsiteX5" fmla="*/ 2240494 w 6536295"/>
              <a:gd name="connsiteY5" fmla="*/ 7749 h 6200047"/>
              <a:gd name="connsiteX0" fmla="*/ 2297185 w 6592986"/>
              <a:gd name="connsiteY0" fmla="*/ 7749 h 6200047"/>
              <a:gd name="connsiteX1" fmla="*/ 6585237 w 6592986"/>
              <a:gd name="connsiteY1" fmla="*/ 0 h 6200047"/>
              <a:gd name="connsiteX2" fmla="*/ 6592986 w 6592986"/>
              <a:gd name="connsiteY2" fmla="*/ 6192299 h 6200047"/>
              <a:gd name="connsiteX3" fmla="*/ 1603313 w 6592986"/>
              <a:gd name="connsiteY3" fmla="*/ 6200047 h 6200047"/>
              <a:gd name="connsiteX4" fmla="*/ 150475 w 6592986"/>
              <a:gd name="connsiteY4" fmla="*/ 2561497 h 6200047"/>
              <a:gd name="connsiteX5" fmla="*/ 2297185 w 6592986"/>
              <a:gd name="connsiteY5" fmla="*/ 7749 h 6200047"/>
              <a:gd name="connsiteX0" fmla="*/ 2257144 w 6552945"/>
              <a:gd name="connsiteY0" fmla="*/ 7749 h 6200047"/>
              <a:gd name="connsiteX1" fmla="*/ 6545196 w 6552945"/>
              <a:gd name="connsiteY1" fmla="*/ 0 h 6200047"/>
              <a:gd name="connsiteX2" fmla="*/ 6552945 w 6552945"/>
              <a:gd name="connsiteY2" fmla="*/ 6192299 h 6200047"/>
              <a:gd name="connsiteX3" fmla="*/ 1563272 w 6552945"/>
              <a:gd name="connsiteY3" fmla="*/ 6200047 h 6200047"/>
              <a:gd name="connsiteX4" fmla="*/ 110434 w 6552945"/>
              <a:gd name="connsiteY4" fmla="*/ 2561497 h 6200047"/>
              <a:gd name="connsiteX5" fmla="*/ 2257144 w 6552945"/>
              <a:gd name="connsiteY5" fmla="*/ 7749 h 6200047"/>
              <a:gd name="connsiteX0" fmla="*/ 1565948 w 6442774"/>
              <a:gd name="connsiteY0" fmla="*/ 17274 h 6200047"/>
              <a:gd name="connsiteX1" fmla="*/ 6435025 w 6442774"/>
              <a:gd name="connsiteY1" fmla="*/ 0 h 6200047"/>
              <a:gd name="connsiteX2" fmla="*/ 6442774 w 6442774"/>
              <a:gd name="connsiteY2" fmla="*/ 6192299 h 6200047"/>
              <a:gd name="connsiteX3" fmla="*/ 1453101 w 6442774"/>
              <a:gd name="connsiteY3" fmla="*/ 6200047 h 6200047"/>
              <a:gd name="connsiteX4" fmla="*/ 263 w 6442774"/>
              <a:gd name="connsiteY4" fmla="*/ 2561497 h 6200047"/>
              <a:gd name="connsiteX5" fmla="*/ 1565948 w 6442774"/>
              <a:gd name="connsiteY5" fmla="*/ 17274 h 6200047"/>
              <a:gd name="connsiteX0" fmla="*/ 1714622 w 6591448"/>
              <a:gd name="connsiteY0" fmla="*/ 17274 h 6200047"/>
              <a:gd name="connsiteX1" fmla="*/ 6583699 w 6591448"/>
              <a:gd name="connsiteY1" fmla="*/ 0 h 6200047"/>
              <a:gd name="connsiteX2" fmla="*/ 6591448 w 6591448"/>
              <a:gd name="connsiteY2" fmla="*/ 6192299 h 6200047"/>
              <a:gd name="connsiteX3" fmla="*/ 1601775 w 6591448"/>
              <a:gd name="connsiteY3" fmla="*/ 6200047 h 6200047"/>
              <a:gd name="connsiteX4" fmla="*/ 148937 w 6591448"/>
              <a:gd name="connsiteY4" fmla="*/ 2561497 h 6200047"/>
              <a:gd name="connsiteX5" fmla="*/ 1714622 w 6591448"/>
              <a:gd name="connsiteY5" fmla="*/ 17274 h 6200047"/>
              <a:gd name="connsiteX0" fmla="*/ 1650126 w 6526952"/>
              <a:gd name="connsiteY0" fmla="*/ 195115 h 6377888"/>
              <a:gd name="connsiteX1" fmla="*/ 6519203 w 6526952"/>
              <a:gd name="connsiteY1" fmla="*/ 177841 h 6377888"/>
              <a:gd name="connsiteX2" fmla="*/ 6526952 w 6526952"/>
              <a:gd name="connsiteY2" fmla="*/ 6370140 h 6377888"/>
              <a:gd name="connsiteX3" fmla="*/ 1537279 w 6526952"/>
              <a:gd name="connsiteY3" fmla="*/ 6377888 h 6377888"/>
              <a:gd name="connsiteX4" fmla="*/ 84441 w 6526952"/>
              <a:gd name="connsiteY4" fmla="*/ 2767913 h 6377888"/>
              <a:gd name="connsiteX5" fmla="*/ 1650126 w 6526952"/>
              <a:gd name="connsiteY5" fmla="*/ 195115 h 6377888"/>
              <a:gd name="connsiteX0" fmla="*/ 1682905 w 6559731"/>
              <a:gd name="connsiteY0" fmla="*/ 18367 h 6201140"/>
              <a:gd name="connsiteX1" fmla="*/ 6551982 w 6559731"/>
              <a:gd name="connsiteY1" fmla="*/ 1093 h 6201140"/>
              <a:gd name="connsiteX2" fmla="*/ 6559731 w 6559731"/>
              <a:gd name="connsiteY2" fmla="*/ 6193392 h 6201140"/>
              <a:gd name="connsiteX3" fmla="*/ 1570058 w 6559731"/>
              <a:gd name="connsiteY3" fmla="*/ 6201140 h 6201140"/>
              <a:gd name="connsiteX4" fmla="*/ 117220 w 6559731"/>
              <a:gd name="connsiteY4" fmla="*/ 2591165 h 6201140"/>
              <a:gd name="connsiteX5" fmla="*/ 1682905 w 6559731"/>
              <a:gd name="connsiteY5" fmla="*/ 18367 h 6201140"/>
              <a:gd name="connsiteX0" fmla="*/ 1645859 w 6522685"/>
              <a:gd name="connsiteY0" fmla="*/ 188719 h 6371492"/>
              <a:gd name="connsiteX1" fmla="*/ 6095836 w 6522685"/>
              <a:gd name="connsiteY1" fmla="*/ 190495 h 6371492"/>
              <a:gd name="connsiteX2" fmla="*/ 6522685 w 6522685"/>
              <a:gd name="connsiteY2" fmla="*/ 6363744 h 6371492"/>
              <a:gd name="connsiteX3" fmla="*/ 1533012 w 6522685"/>
              <a:gd name="connsiteY3" fmla="*/ 6371492 h 6371492"/>
              <a:gd name="connsiteX4" fmla="*/ 80174 w 6522685"/>
              <a:gd name="connsiteY4" fmla="*/ 2761517 h 6371492"/>
              <a:gd name="connsiteX5" fmla="*/ 1645859 w 6522685"/>
              <a:gd name="connsiteY5" fmla="*/ 188719 h 6371492"/>
              <a:gd name="connsiteX0" fmla="*/ 1645859 w 6103585"/>
              <a:gd name="connsiteY0" fmla="*/ 188719 h 6392319"/>
              <a:gd name="connsiteX1" fmla="*/ 6095836 w 6103585"/>
              <a:gd name="connsiteY1" fmla="*/ 190495 h 6392319"/>
              <a:gd name="connsiteX2" fmla="*/ 6103585 w 6103585"/>
              <a:gd name="connsiteY2" fmla="*/ 6392319 h 6392319"/>
              <a:gd name="connsiteX3" fmla="*/ 1533012 w 6103585"/>
              <a:gd name="connsiteY3" fmla="*/ 6371492 h 6392319"/>
              <a:gd name="connsiteX4" fmla="*/ 80174 w 6103585"/>
              <a:gd name="connsiteY4" fmla="*/ 2761517 h 6392319"/>
              <a:gd name="connsiteX5" fmla="*/ 1645859 w 6103585"/>
              <a:gd name="connsiteY5" fmla="*/ 188719 h 6392319"/>
              <a:gd name="connsiteX0" fmla="*/ 1655695 w 6113421"/>
              <a:gd name="connsiteY0" fmla="*/ 11087 h 6214687"/>
              <a:gd name="connsiteX1" fmla="*/ 6105672 w 6113421"/>
              <a:gd name="connsiteY1" fmla="*/ 12863 h 6214687"/>
              <a:gd name="connsiteX2" fmla="*/ 6113421 w 6113421"/>
              <a:gd name="connsiteY2" fmla="*/ 6214687 h 6214687"/>
              <a:gd name="connsiteX3" fmla="*/ 1542848 w 6113421"/>
              <a:gd name="connsiteY3" fmla="*/ 6193860 h 6214687"/>
              <a:gd name="connsiteX4" fmla="*/ 90010 w 6113421"/>
              <a:gd name="connsiteY4" fmla="*/ 2583885 h 6214687"/>
              <a:gd name="connsiteX5" fmla="*/ 1655695 w 6113421"/>
              <a:gd name="connsiteY5" fmla="*/ 11087 h 6214687"/>
              <a:gd name="connsiteX0" fmla="*/ 1673847 w 6131573"/>
              <a:gd name="connsiteY0" fmla="*/ 15276 h 6218876"/>
              <a:gd name="connsiteX1" fmla="*/ 6123824 w 6131573"/>
              <a:gd name="connsiteY1" fmla="*/ 17052 h 6218876"/>
              <a:gd name="connsiteX2" fmla="*/ 6131573 w 6131573"/>
              <a:gd name="connsiteY2" fmla="*/ 6218876 h 6218876"/>
              <a:gd name="connsiteX3" fmla="*/ 1561000 w 6131573"/>
              <a:gd name="connsiteY3" fmla="*/ 6198049 h 6218876"/>
              <a:gd name="connsiteX4" fmla="*/ 108162 w 6131573"/>
              <a:gd name="connsiteY4" fmla="*/ 2588074 h 6218876"/>
              <a:gd name="connsiteX5" fmla="*/ 1673847 w 6131573"/>
              <a:gd name="connsiteY5" fmla="*/ 15276 h 6218876"/>
              <a:gd name="connsiteX0" fmla="*/ 1682562 w 6140288"/>
              <a:gd name="connsiteY0" fmla="*/ 6934 h 6210534"/>
              <a:gd name="connsiteX1" fmla="*/ 6132539 w 6140288"/>
              <a:gd name="connsiteY1" fmla="*/ 8710 h 6210534"/>
              <a:gd name="connsiteX2" fmla="*/ 6140288 w 6140288"/>
              <a:gd name="connsiteY2" fmla="*/ 6210534 h 6210534"/>
              <a:gd name="connsiteX3" fmla="*/ 1569715 w 6140288"/>
              <a:gd name="connsiteY3" fmla="*/ 6189707 h 6210534"/>
              <a:gd name="connsiteX4" fmla="*/ 116877 w 6140288"/>
              <a:gd name="connsiteY4" fmla="*/ 2579732 h 6210534"/>
              <a:gd name="connsiteX5" fmla="*/ 1682562 w 6140288"/>
              <a:gd name="connsiteY5" fmla="*/ 6934 h 6210534"/>
              <a:gd name="connsiteX0" fmla="*/ 1638683 w 6096409"/>
              <a:gd name="connsiteY0" fmla="*/ 72693 h 6276293"/>
              <a:gd name="connsiteX1" fmla="*/ 5287527 w 6096409"/>
              <a:gd name="connsiteY1" fmla="*/ 650626 h 6276293"/>
              <a:gd name="connsiteX2" fmla="*/ 6096409 w 6096409"/>
              <a:gd name="connsiteY2" fmla="*/ 6276293 h 6276293"/>
              <a:gd name="connsiteX3" fmla="*/ 1525836 w 6096409"/>
              <a:gd name="connsiteY3" fmla="*/ 6255466 h 6276293"/>
              <a:gd name="connsiteX4" fmla="*/ 72998 w 6096409"/>
              <a:gd name="connsiteY4" fmla="*/ 2645491 h 6276293"/>
              <a:gd name="connsiteX5" fmla="*/ 1638683 w 6096409"/>
              <a:gd name="connsiteY5" fmla="*/ 72693 h 6276293"/>
              <a:gd name="connsiteX0" fmla="*/ 1641246 w 6098972"/>
              <a:gd name="connsiteY0" fmla="*/ 176561 h 6380161"/>
              <a:gd name="connsiteX1" fmla="*/ 5591887 w 6098972"/>
              <a:gd name="connsiteY1" fmla="*/ 216748 h 6380161"/>
              <a:gd name="connsiteX2" fmla="*/ 6098972 w 6098972"/>
              <a:gd name="connsiteY2" fmla="*/ 6380161 h 6380161"/>
              <a:gd name="connsiteX3" fmla="*/ 1528399 w 6098972"/>
              <a:gd name="connsiteY3" fmla="*/ 6359334 h 6380161"/>
              <a:gd name="connsiteX4" fmla="*/ 75561 w 6098972"/>
              <a:gd name="connsiteY4" fmla="*/ 2749359 h 6380161"/>
              <a:gd name="connsiteX5" fmla="*/ 1641246 w 6098972"/>
              <a:gd name="connsiteY5" fmla="*/ 176561 h 6380161"/>
              <a:gd name="connsiteX0" fmla="*/ 785215 w 6098947"/>
              <a:gd name="connsiteY0" fmla="*/ 193139 h 6330893"/>
              <a:gd name="connsiteX1" fmla="*/ 5591862 w 6098947"/>
              <a:gd name="connsiteY1" fmla="*/ 167480 h 6330893"/>
              <a:gd name="connsiteX2" fmla="*/ 6098947 w 6098947"/>
              <a:gd name="connsiteY2" fmla="*/ 6330893 h 6330893"/>
              <a:gd name="connsiteX3" fmla="*/ 1528374 w 6098947"/>
              <a:gd name="connsiteY3" fmla="*/ 6310066 h 6330893"/>
              <a:gd name="connsiteX4" fmla="*/ 75536 w 6098947"/>
              <a:gd name="connsiteY4" fmla="*/ 2700091 h 6330893"/>
              <a:gd name="connsiteX5" fmla="*/ 785215 w 6098947"/>
              <a:gd name="connsiteY5" fmla="*/ 193139 h 6330893"/>
              <a:gd name="connsiteX0" fmla="*/ 1077816 w 6391548"/>
              <a:gd name="connsiteY0" fmla="*/ 167153 h 6304907"/>
              <a:gd name="connsiteX1" fmla="*/ 5884463 w 6391548"/>
              <a:gd name="connsiteY1" fmla="*/ 141494 h 6304907"/>
              <a:gd name="connsiteX2" fmla="*/ 6391548 w 6391548"/>
              <a:gd name="connsiteY2" fmla="*/ 6304907 h 6304907"/>
              <a:gd name="connsiteX3" fmla="*/ 1820975 w 6391548"/>
              <a:gd name="connsiteY3" fmla="*/ 6284080 h 6304907"/>
              <a:gd name="connsiteX4" fmla="*/ 33417 w 6391548"/>
              <a:gd name="connsiteY4" fmla="*/ 2322923 h 6304907"/>
              <a:gd name="connsiteX5" fmla="*/ 1077816 w 6391548"/>
              <a:gd name="connsiteY5" fmla="*/ 167153 h 6304907"/>
              <a:gd name="connsiteX0" fmla="*/ 1052844 w 6366576"/>
              <a:gd name="connsiteY0" fmla="*/ 167153 h 6304907"/>
              <a:gd name="connsiteX1" fmla="*/ 5859491 w 6366576"/>
              <a:gd name="connsiteY1" fmla="*/ 141494 h 6304907"/>
              <a:gd name="connsiteX2" fmla="*/ 6366576 w 6366576"/>
              <a:gd name="connsiteY2" fmla="*/ 6304907 h 6304907"/>
              <a:gd name="connsiteX3" fmla="*/ 1329591 w 6366576"/>
              <a:gd name="connsiteY3" fmla="*/ 5965822 h 6304907"/>
              <a:gd name="connsiteX4" fmla="*/ 8445 w 6366576"/>
              <a:gd name="connsiteY4" fmla="*/ 2322923 h 6304907"/>
              <a:gd name="connsiteX5" fmla="*/ 1052844 w 6366576"/>
              <a:gd name="connsiteY5" fmla="*/ 167153 h 6304907"/>
              <a:gd name="connsiteX0" fmla="*/ 1052844 w 5859491"/>
              <a:gd name="connsiteY0" fmla="*/ 167153 h 5965822"/>
              <a:gd name="connsiteX1" fmla="*/ 5859491 w 5859491"/>
              <a:gd name="connsiteY1" fmla="*/ 141494 h 5965822"/>
              <a:gd name="connsiteX2" fmla="*/ 5027697 w 5859491"/>
              <a:gd name="connsiteY2" fmla="*/ 4993464 h 5965822"/>
              <a:gd name="connsiteX3" fmla="*/ 1329591 w 5859491"/>
              <a:gd name="connsiteY3" fmla="*/ 5965822 h 5965822"/>
              <a:gd name="connsiteX4" fmla="*/ 8445 w 5859491"/>
              <a:gd name="connsiteY4" fmla="*/ 2322923 h 5965822"/>
              <a:gd name="connsiteX5" fmla="*/ 1052844 w 5859491"/>
              <a:gd name="connsiteY5" fmla="*/ 167153 h 5965822"/>
              <a:gd name="connsiteX0" fmla="*/ 1052844 w 5867242"/>
              <a:gd name="connsiteY0" fmla="*/ 167153 h 5970188"/>
              <a:gd name="connsiteX1" fmla="*/ 5859491 w 5867242"/>
              <a:gd name="connsiteY1" fmla="*/ 141494 h 5970188"/>
              <a:gd name="connsiteX2" fmla="*/ 5867242 w 5867242"/>
              <a:gd name="connsiteY2" fmla="*/ 5970188 h 5970188"/>
              <a:gd name="connsiteX3" fmla="*/ 1329591 w 5867242"/>
              <a:gd name="connsiteY3" fmla="*/ 5965822 h 5970188"/>
              <a:gd name="connsiteX4" fmla="*/ 8445 w 5867242"/>
              <a:gd name="connsiteY4" fmla="*/ 2322923 h 5970188"/>
              <a:gd name="connsiteX5" fmla="*/ 1052844 w 5867242"/>
              <a:gd name="connsiteY5" fmla="*/ 167153 h 5970188"/>
              <a:gd name="connsiteX0" fmla="*/ 1052844 w 5867242"/>
              <a:gd name="connsiteY0" fmla="*/ 25659 h 5828694"/>
              <a:gd name="connsiteX1" fmla="*/ 5859491 w 5867242"/>
              <a:gd name="connsiteY1" fmla="*/ 0 h 5828694"/>
              <a:gd name="connsiteX2" fmla="*/ 5867242 w 5867242"/>
              <a:gd name="connsiteY2" fmla="*/ 5828694 h 5828694"/>
              <a:gd name="connsiteX3" fmla="*/ 1329591 w 5867242"/>
              <a:gd name="connsiteY3" fmla="*/ 5824328 h 5828694"/>
              <a:gd name="connsiteX4" fmla="*/ 8445 w 5867242"/>
              <a:gd name="connsiteY4" fmla="*/ 2181429 h 5828694"/>
              <a:gd name="connsiteX5" fmla="*/ 1052844 w 5867242"/>
              <a:gd name="connsiteY5" fmla="*/ 25659 h 5828694"/>
              <a:gd name="connsiteX0" fmla="*/ 1052844 w 5867242"/>
              <a:gd name="connsiteY0" fmla="*/ 25659 h 5828694"/>
              <a:gd name="connsiteX1" fmla="*/ 5859491 w 5867242"/>
              <a:gd name="connsiteY1" fmla="*/ 0 h 5828694"/>
              <a:gd name="connsiteX2" fmla="*/ 5867242 w 5867242"/>
              <a:gd name="connsiteY2" fmla="*/ 5828694 h 5828694"/>
              <a:gd name="connsiteX3" fmla="*/ 1329591 w 5867242"/>
              <a:gd name="connsiteY3" fmla="*/ 5824328 h 5828694"/>
              <a:gd name="connsiteX4" fmla="*/ 8445 w 5867242"/>
              <a:gd name="connsiteY4" fmla="*/ 2181429 h 5828694"/>
              <a:gd name="connsiteX5" fmla="*/ 1052844 w 5867242"/>
              <a:gd name="connsiteY5" fmla="*/ 25659 h 5828694"/>
              <a:gd name="connsiteX0" fmla="*/ 1110378 w 5924776"/>
              <a:gd name="connsiteY0" fmla="*/ 25659 h 5828694"/>
              <a:gd name="connsiteX1" fmla="*/ 5917025 w 5924776"/>
              <a:gd name="connsiteY1" fmla="*/ 0 h 5828694"/>
              <a:gd name="connsiteX2" fmla="*/ 5924776 w 5924776"/>
              <a:gd name="connsiteY2" fmla="*/ 5828694 h 5828694"/>
              <a:gd name="connsiteX3" fmla="*/ 1387125 w 5924776"/>
              <a:gd name="connsiteY3" fmla="*/ 5824328 h 5828694"/>
              <a:gd name="connsiteX4" fmla="*/ 65979 w 5924776"/>
              <a:gd name="connsiteY4" fmla="*/ 2181429 h 5828694"/>
              <a:gd name="connsiteX5" fmla="*/ 1110378 w 5924776"/>
              <a:gd name="connsiteY5" fmla="*/ 25659 h 5828694"/>
              <a:gd name="connsiteX0" fmla="*/ 1086070 w 5900468"/>
              <a:gd name="connsiteY0" fmla="*/ 25659 h 5828694"/>
              <a:gd name="connsiteX1" fmla="*/ 5892717 w 5900468"/>
              <a:gd name="connsiteY1" fmla="*/ 0 h 5828694"/>
              <a:gd name="connsiteX2" fmla="*/ 5900468 w 5900468"/>
              <a:gd name="connsiteY2" fmla="*/ 5828694 h 5828694"/>
              <a:gd name="connsiteX3" fmla="*/ 1362817 w 5900468"/>
              <a:gd name="connsiteY3" fmla="*/ 5824328 h 5828694"/>
              <a:gd name="connsiteX4" fmla="*/ 69107 w 5900468"/>
              <a:gd name="connsiteY4" fmla="*/ 2351532 h 5828694"/>
              <a:gd name="connsiteX5" fmla="*/ 1086070 w 5900468"/>
              <a:gd name="connsiteY5" fmla="*/ 25659 h 5828694"/>
              <a:gd name="connsiteX0" fmla="*/ 1094837 w 5909235"/>
              <a:gd name="connsiteY0" fmla="*/ 25659 h 5828694"/>
              <a:gd name="connsiteX1" fmla="*/ 5901484 w 5909235"/>
              <a:gd name="connsiteY1" fmla="*/ 0 h 5828694"/>
              <a:gd name="connsiteX2" fmla="*/ 5909235 w 5909235"/>
              <a:gd name="connsiteY2" fmla="*/ 5828694 h 5828694"/>
              <a:gd name="connsiteX3" fmla="*/ 1371584 w 5909235"/>
              <a:gd name="connsiteY3" fmla="*/ 5824328 h 5828694"/>
              <a:gd name="connsiteX4" fmla="*/ 77874 w 5909235"/>
              <a:gd name="connsiteY4" fmla="*/ 2351532 h 5828694"/>
              <a:gd name="connsiteX5" fmla="*/ 1094837 w 5909235"/>
              <a:gd name="connsiteY5" fmla="*/ 25659 h 5828694"/>
              <a:gd name="connsiteX0" fmla="*/ 1070930 w 5885328"/>
              <a:gd name="connsiteY0" fmla="*/ 25659 h 5828694"/>
              <a:gd name="connsiteX1" fmla="*/ 5877577 w 5885328"/>
              <a:gd name="connsiteY1" fmla="*/ 0 h 5828694"/>
              <a:gd name="connsiteX2" fmla="*/ 5885328 w 5885328"/>
              <a:gd name="connsiteY2" fmla="*/ 5828694 h 5828694"/>
              <a:gd name="connsiteX3" fmla="*/ 1347677 w 5885328"/>
              <a:gd name="connsiteY3" fmla="*/ 5824328 h 5828694"/>
              <a:gd name="connsiteX4" fmla="*/ 81403 w 5885328"/>
              <a:gd name="connsiteY4" fmla="*/ 2505174 h 5828694"/>
              <a:gd name="connsiteX5" fmla="*/ 1070930 w 5885328"/>
              <a:gd name="connsiteY5" fmla="*/ 25659 h 5828694"/>
              <a:gd name="connsiteX0" fmla="*/ 1095835 w 5910233"/>
              <a:gd name="connsiteY0" fmla="*/ 25659 h 5828694"/>
              <a:gd name="connsiteX1" fmla="*/ 5902482 w 5910233"/>
              <a:gd name="connsiteY1" fmla="*/ 0 h 5828694"/>
              <a:gd name="connsiteX2" fmla="*/ 5910233 w 5910233"/>
              <a:gd name="connsiteY2" fmla="*/ 5828694 h 5828694"/>
              <a:gd name="connsiteX3" fmla="*/ 1372582 w 5910233"/>
              <a:gd name="connsiteY3" fmla="*/ 5824328 h 5828694"/>
              <a:gd name="connsiteX4" fmla="*/ 106308 w 5910233"/>
              <a:gd name="connsiteY4" fmla="*/ 2505174 h 5828694"/>
              <a:gd name="connsiteX5" fmla="*/ 1095835 w 5910233"/>
              <a:gd name="connsiteY5" fmla="*/ 25659 h 5828694"/>
              <a:gd name="connsiteX0" fmla="*/ 1025203 w 5812165"/>
              <a:gd name="connsiteY0" fmla="*/ 0 h 5830471"/>
              <a:gd name="connsiteX1" fmla="*/ 5804414 w 5812165"/>
              <a:gd name="connsiteY1" fmla="*/ 1777 h 5830471"/>
              <a:gd name="connsiteX2" fmla="*/ 5812165 w 5812165"/>
              <a:gd name="connsiteY2" fmla="*/ 5830471 h 5830471"/>
              <a:gd name="connsiteX3" fmla="*/ 1274514 w 5812165"/>
              <a:gd name="connsiteY3" fmla="*/ 5826105 h 5830471"/>
              <a:gd name="connsiteX4" fmla="*/ 8240 w 5812165"/>
              <a:gd name="connsiteY4" fmla="*/ 2506951 h 5830471"/>
              <a:gd name="connsiteX5" fmla="*/ 1025203 w 5812165"/>
              <a:gd name="connsiteY5" fmla="*/ 0 h 5830471"/>
              <a:gd name="connsiteX0" fmla="*/ 1043591 w 5830553"/>
              <a:gd name="connsiteY0" fmla="*/ 0 h 5830471"/>
              <a:gd name="connsiteX1" fmla="*/ 5822802 w 5830553"/>
              <a:gd name="connsiteY1" fmla="*/ 1777 h 5830471"/>
              <a:gd name="connsiteX2" fmla="*/ 5830553 w 5830553"/>
              <a:gd name="connsiteY2" fmla="*/ 5830471 h 5830471"/>
              <a:gd name="connsiteX3" fmla="*/ 1292902 w 5830553"/>
              <a:gd name="connsiteY3" fmla="*/ 5826105 h 5830471"/>
              <a:gd name="connsiteX4" fmla="*/ 26628 w 5830553"/>
              <a:gd name="connsiteY4" fmla="*/ 2506951 h 5830471"/>
              <a:gd name="connsiteX5" fmla="*/ 1043591 w 5830553"/>
              <a:gd name="connsiteY5" fmla="*/ 0 h 5830471"/>
              <a:gd name="connsiteX0" fmla="*/ 1104951 w 5891913"/>
              <a:gd name="connsiteY0" fmla="*/ 0 h 5830471"/>
              <a:gd name="connsiteX1" fmla="*/ 5884162 w 5891913"/>
              <a:gd name="connsiteY1" fmla="*/ 1777 h 5830471"/>
              <a:gd name="connsiteX2" fmla="*/ 5891913 w 5891913"/>
              <a:gd name="connsiteY2" fmla="*/ 5830471 h 5830471"/>
              <a:gd name="connsiteX3" fmla="*/ 1354262 w 5891913"/>
              <a:gd name="connsiteY3" fmla="*/ 5826105 h 5830471"/>
              <a:gd name="connsiteX4" fmla="*/ 87988 w 5891913"/>
              <a:gd name="connsiteY4" fmla="*/ 2506951 h 5830471"/>
              <a:gd name="connsiteX5" fmla="*/ 1104951 w 5891913"/>
              <a:gd name="connsiteY5" fmla="*/ 0 h 5830471"/>
              <a:gd name="connsiteX0" fmla="*/ 795815 w 5582777"/>
              <a:gd name="connsiteY0" fmla="*/ 0 h 5830471"/>
              <a:gd name="connsiteX1" fmla="*/ 5575026 w 5582777"/>
              <a:gd name="connsiteY1" fmla="*/ 1777 h 5830471"/>
              <a:gd name="connsiteX2" fmla="*/ 5582777 w 5582777"/>
              <a:gd name="connsiteY2" fmla="*/ 5830471 h 5830471"/>
              <a:gd name="connsiteX3" fmla="*/ 1045126 w 5582777"/>
              <a:gd name="connsiteY3" fmla="*/ 5826105 h 5830471"/>
              <a:gd name="connsiteX4" fmla="*/ 239778 w 5582777"/>
              <a:gd name="connsiteY4" fmla="*/ 2726439 h 5830471"/>
              <a:gd name="connsiteX5" fmla="*/ 795815 w 5582777"/>
              <a:gd name="connsiteY5" fmla="*/ 0 h 5830471"/>
              <a:gd name="connsiteX0" fmla="*/ 823831 w 5610793"/>
              <a:gd name="connsiteY0" fmla="*/ 0 h 5830471"/>
              <a:gd name="connsiteX1" fmla="*/ 5603042 w 5610793"/>
              <a:gd name="connsiteY1" fmla="*/ 1777 h 5830471"/>
              <a:gd name="connsiteX2" fmla="*/ 5610793 w 5610793"/>
              <a:gd name="connsiteY2" fmla="*/ 5830471 h 5830471"/>
              <a:gd name="connsiteX3" fmla="*/ 1073142 w 5610793"/>
              <a:gd name="connsiteY3" fmla="*/ 5826105 h 5830471"/>
              <a:gd name="connsiteX4" fmla="*/ 267794 w 5610793"/>
              <a:gd name="connsiteY4" fmla="*/ 2726439 h 5830471"/>
              <a:gd name="connsiteX5" fmla="*/ 823831 w 5610793"/>
              <a:gd name="connsiteY5" fmla="*/ 0 h 5830471"/>
              <a:gd name="connsiteX0" fmla="*/ 1067622 w 5854584"/>
              <a:gd name="connsiteY0" fmla="*/ 0 h 5830471"/>
              <a:gd name="connsiteX1" fmla="*/ 5846833 w 5854584"/>
              <a:gd name="connsiteY1" fmla="*/ 1777 h 5830471"/>
              <a:gd name="connsiteX2" fmla="*/ 5854584 w 5854584"/>
              <a:gd name="connsiteY2" fmla="*/ 5830471 h 5830471"/>
              <a:gd name="connsiteX3" fmla="*/ 1316933 w 5854584"/>
              <a:gd name="connsiteY3" fmla="*/ 5826105 h 5830471"/>
              <a:gd name="connsiteX4" fmla="*/ 138455 w 5854584"/>
              <a:gd name="connsiteY4" fmla="*/ 2726439 h 5830471"/>
              <a:gd name="connsiteX5" fmla="*/ 1067622 w 5854584"/>
              <a:gd name="connsiteY5" fmla="*/ 0 h 5830471"/>
              <a:gd name="connsiteX0" fmla="*/ 1118785 w 5905747"/>
              <a:gd name="connsiteY0" fmla="*/ 0 h 5830471"/>
              <a:gd name="connsiteX1" fmla="*/ 5897996 w 5905747"/>
              <a:gd name="connsiteY1" fmla="*/ 1777 h 5830471"/>
              <a:gd name="connsiteX2" fmla="*/ 5905747 w 5905747"/>
              <a:gd name="connsiteY2" fmla="*/ 5830471 h 5830471"/>
              <a:gd name="connsiteX3" fmla="*/ 1368096 w 5905747"/>
              <a:gd name="connsiteY3" fmla="*/ 5826105 h 5830471"/>
              <a:gd name="connsiteX4" fmla="*/ 189618 w 5905747"/>
              <a:gd name="connsiteY4" fmla="*/ 2726439 h 5830471"/>
              <a:gd name="connsiteX5" fmla="*/ 1118785 w 5905747"/>
              <a:gd name="connsiteY5" fmla="*/ 0 h 5830471"/>
              <a:gd name="connsiteX0" fmla="*/ 1110524 w 5897486"/>
              <a:gd name="connsiteY0" fmla="*/ 0 h 5830471"/>
              <a:gd name="connsiteX1" fmla="*/ 5889735 w 5897486"/>
              <a:gd name="connsiteY1" fmla="*/ 1777 h 5830471"/>
              <a:gd name="connsiteX2" fmla="*/ 5897486 w 5897486"/>
              <a:gd name="connsiteY2" fmla="*/ 5830471 h 5830471"/>
              <a:gd name="connsiteX3" fmla="*/ 1359835 w 5897486"/>
              <a:gd name="connsiteY3" fmla="*/ 5826105 h 5830471"/>
              <a:gd name="connsiteX4" fmla="*/ 192332 w 5897486"/>
              <a:gd name="connsiteY4" fmla="*/ 2847158 h 5830471"/>
              <a:gd name="connsiteX5" fmla="*/ 1110524 w 5897486"/>
              <a:gd name="connsiteY5" fmla="*/ 0 h 5830471"/>
              <a:gd name="connsiteX0" fmla="*/ 1058315 w 5845277"/>
              <a:gd name="connsiteY0" fmla="*/ 0 h 5830471"/>
              <a:gd name="connsiteX1" fmla="*/ 5837526 w 5845277"/>
              <a:gd name="connsiteY1" fmla="*/ 1777 h 5830471"/>
              <a:gd name="connsiteX2" fmla="*/ 5845277 w 5845277"/>
              <a:gd name="connsiteY2" fmla="*/ 5830471 h 5830471"/>
              <a:gd name="connsiteX3" fmla="*/ 1307626 w 5845277"/>
              <a:gd name="connsiteY3" fmla="*/ 5826105 h 5830471"/>
              <a:gd name="connsiteX4" fmla="*/ 140123 w 5845277"/>
              <a:gd name="connsiteY4" fmla="*/ 2847158 h 5830471"/>
              <a:gd name="connsiteX5" fmla="*/ 1058315 w 5845277"/>
              <a:gd name="connsiteY5" fmla="*/ 0 h 5830471"/>
              <a:gd name="connsiteX0" fmla="*/ 1111706 w 5898668"/>
              <a:gd name="connsiteY0" fmla="*/ 0 h 5830471"/>
              <a:gd name="connsiteX1" fmla="*/ 5890917 w 5898668"/>
              <a:gd name="connsiteY1" fmla="*/ 1777 h 5830471"/>
              <a:gd name="connsiteX2" fmla="*/ 5898668 w 5898668"/>
              <a:gd name="connsiteY2" fmla="*/ 5830471 h 5830471"/>
              <a:gd name="connsiteX3" fmla="*/ 1361017 w 5898668"/>
              <a:gd name="connsiteY3" fmla="*/ 5826105 h 5830471"/>
              <a:gd name="connsiteX4" fmla="*/ 193514 w 5898668"/>
              <a:gd name="connsiteY4" fmla="*/ 2847158 h 5830471"/>
              <a:gd name="connsiteX5" fmla="*/ 1111706 w 5898668"/>
              <a:gd name="connsiteY5" fmla="*/ 0 h 5830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98668" h="5830471">
                <a:moveTo>
                  <a:pt x="1111706" y="0"/>
                </a:moveTo>
                <a:lnTo>
                  <a:pt x="5890917" y="1777"/>
                </a:lnTo>
                <a:cubicBezTo>
                  <a:pt x="5893501" y="1944675"/>
                  <a:pt x="5896084" y="3887573"/>
                  <a:pt x="5898668" y="5830471"/>
                </a:cubicBezTo>
                <a:lnTo>
                  <a:pt x="1361017" y="5826105"/>
                </a:lnTo>
                <a:cubicBezTo>
                  <a:pt x="884165" y="4616134"/>
                  <a:pt x="564298" y="3889508"/>
                  <a:pt x="193514" y="2847158"/>
                </a:cubicBezTo>
                <a:cubicBezTo>
                  <a:pt x="-177270" y="1804808"/>
                  <a:pt x="-88443" y="544650"/>
                  <a:pt x="1111706" y="0"/>
                </a:cubicBezTo>
                <a:close/>
              </a:path>
            </a:pathLst>
          </a:custGeom>
          <a:solidFill>
            <a:schemeClr val="tx2"/>
          </a:solidFill>
        </p:spPr>
        <p:txBody>
          <a:bodyPr lIns="720000" tIns="1332000" rIns="720000"/>
          <a:lstStyle>
            <a:lvl1pPr marL="0" indent="0" algn="ctr" rtl="0" fontAlgn="base">
              <a:lnSpc>
                <a:spcPct val="90000"/>
              </a:lnSpc>
              <a:spcBef>
                <a:spcPts val="1000"/>
              </a:spcBef>
              <a:spcAft>
                <a:spcPct val="0"/>
              </a:spcAft>
              <a:buFontTx/>
              <a:buNone/>
              <a:defRPr sz="1200" b="0" i="0" kern="1200">
                <a:solidFill>
                  <a:schemeClr val="tx2"/>
                </a:solidFill>
                <a:latin typeface="Schibsted Grotesk Bold" pitchFamily="2" charset="77"/>
                <a:ea typeface="Schibsted Grotesk Bold" pitchFamily="2" charset="77"/>
                <a:cs typeface="Schibsted Grotesk Bold" pitchFamily="2" charset="77"/>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bg1"/>
                </a:solidFill>
                <a:latin typeface="+mn-lt"/>
                <a:ea typeface="Schibsted Grotesk Bold" pitchFamily="2" charset="77"/>
                <a:cs typeface="Schibsted Grotesk Bold" pitchFamily="2" charset="77"/>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bg1"/>
                </a:solidFill>
                <a:latin typeface="+mn-lt"/>
                <a:ea typeface="Schibsted Grotesk Bold" pitchFamily="2" charset="77"/>
                <a:cs typeface="Schibsted Grotesk Bold" pitchFamily="2" charset="77"/>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bg1"/>
                </a:solidFill>
                <a:latin typeface="+mn-lt"/>
                <a:ea typeface="Schibsted Grotesk Bold" pitchFamily="2" charset="77"/>
                <a:cs typeface="Schibsted Grotesk Bold" pitchFamily="2" charset="77"/>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bg1"/>
                </a:solidFill>
                <a:latin typeface="+mn-lt"/>
                <a:ea typeface="Schibsted Grotesk Bold" pitchFamily="2" charset="77"/>
                <a:cs typeface="Schibsted Grotesk Bold" pitchFamily="2" charset="77"/>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ts val="1000"/>
              </a:spcBef>
              <a:spcAft>
                <a:spcPct val="0"/>
              </a:spcAft>
              <a:buClrTx/>
              <a:buSzTx/>
              <a:buFontTx/>
              <a:buNone/>
              <a:tabLst/>
              <a:defRPr/>
            </a:pPr>
            <a:endParaRPr kumimoji="0" lang="en-US" sz="1200" b="0" i="0" u="none" strike="noStrike" kern="1200" cap="none" spc="0" normalizeH="0" baseline="0" noProof="0">
              <a:ln>
                <a:noFill/>
              </a:ln>
              <a:solidFill>
                <a:srgbClr val="FFD900"/>
              </a:solidFill>
              <a:effectLst/>
              <a:uLnTx/>
              <a:uFillTx/>
              <a:latin typeface="Schibsted Grotesk Bold" pitchFamily="2" charset="77"/>
              <a:cs typeface="Schibsted Grotesk Bold" pitchFamily="2" charset="77"/>
            </a:endParaRPr>
          </a:p>
        </p:txBody>
      </p:sp>
      <p:sp>
        <p:nvSpPr>
          <p:cNvPr id="8" name="Title 1"/>
          <p:cNvSpPr>
            <a:spLocks noGrp="1"/>
          </p:cNvSpPr>
          <p:nvPr>
            <p:ph type="ctrTitle"/>
          </p:nvPr>
        </p:nvSpPr>
        <p:spPr>
          <a:xfrm>
            <a:off x="426379" y="1916920"/>
            <a:ext cx="5349765" cy="1603933"/>
          </a:xfrm>
          <a:prstGeom prst="rect">
            <a:avLst/>
          </a:prstGeom>
        </p:spPr>
        <p:txBody>
          <a:bodyPr anchor="b"/>
          <a:lstStyle>
            <a:lvl1pPr algn="l">
              <a:defRPr sz="4000" b="0" i="0">
                <a:solidFill>
                  <a:schemeClr val="bg2"/>
                </a:solidFill>
                <a:latin typeface="+mj-lt"/>
              </a:defRPr>
            </a:lvl1pPr>
          </a:lstStyle>
          <a:p>
            <a:r>
              <a:rPr lang="en-US"/>
              <a:t>Click to edit Master title style</a:t>
            </a:r>
          </a:p>
        </p:txBody>
      </p:sp>
      <p:sp>
        <p:nvSpPr>
          <p:cNvPr id="9" name="Subtitle 2"/>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bg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5" name="Picture 4" descr="Yellow letters on a black background&#10;&#10;Description automatically generated">
            <a:extLst>
              <a:ext uri="{FF2B5EF4-FFF2-40B4-BE49-F238E27FC236}">
                <a16:creationId xmlns:a16="http://schemas.microsoft.com/office/drawing/2014/main" id="{91F0762A-972F-9C3E-834C-8E3C3A5A515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075" y="196497"/>
            <a:ext cx="2527329" cy="927100"/>
          </a:xfrm>
          <a:prstGeom prst="rect">
            <a:avLst/>
          </a:prstGeom>
        </p:spPr>
      </p:pic>
    </p:spTree>
    <p:extLst>
      <p:ext uri="{BB962C8B-B14F-4D97-AF65-F5344CB8AC3E}">
        <p14:creationId xmlns:p14="http://schemas.microsoft.com/office/powerpoint/2010/main" val="3374305064"/>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over 17">
    <p:bg>
      <p:bgPr>
        <a:solidFill>
          <a:schemeClr val="bg2"/>
        </a:solidFill>
        <a:effectLst/>
      </p:bgPr>
    </p:bg>
    <p:spTree>
      <p:nvGrpSpPr>
        <p:cNvPr id="1" name=""/>
        <p:cNvGrpSpPr/>
        <p:nvPr/>
      </p:nvGrpSpPr>
      <p:grpSpPr>
        <a:xfrm>
          <a:off x="0" y="0"/>
          <a:ext cx="0" cy="0"/>
          <a:chOff x="0" y="0"/>
          <a:chExt cx="0" cy="0"/>
        </a:xfrm>
      </p:grpSpPr>
      <p:sp>
        <p:nvSpPr>
          <p:cNvPr id="2" name="Rectangle 8">
            <a:extLst>
              <a:ext uri="{FF2B5EF4-FFF2-40B4-BE49-F238E27FC236}">
                <a16:creationId xmlns:a16="http://schemas.microsoft.com/office/drawing/2014/main" id="{D6BA0904-47B7-FD7D-8D8B-F49A5A9F7F11}"/>
              </a:ext>
            </a:extLst>
          </p:cNvPr>
          <p:cNvSpPr/>
          <p:nvPr userDrawn="1"/>
        </p:nvSpPr>
        <p:spPr>
          <a:xfrm rot="10800000">
            <a:off x="4332287" y="1393825"/>
            <a:ext cx="7859713" cy="5464175"/>
          </a:xfrm>
          <a:custGeom>
            <a:avLst/>
            <a:gdLst>
              <a:gd name="connsiteX0" fmla="*/ 0 w 7852229"/>
              <a:gd name="connsiteY0" fmla="*/ 0 h 5464629"/>
              <a:gd name="connsiteX1" fmla="*/ 7852229 w 7852229"/>
              <a:gd name="connsiteY1" fmla="*/ 0 h 5464629"/>
              <a:gd name="connsiteX2" fmla="*/ 7852229 w 7852229"/>
              <a:gd name="connsiteY2" fmla="*/ 5464629 h 5464629"/>
              <a:gd name="connsiteX3" fmla="*/ 0 w 7852229"/>
              <a:gd name="connsiteY3" fmla="*/ 5464629 h 5464629"/>
              <a:gd name="connsiteX4" fmla="*/ 0 w 7852229"/>
              <a:gd name="connsiteY4" fmla="*/ 0 h 5464629"/>
              <a:gd name="connsiteX0" fmla="*/ 0 w 7852229"/>
              <a:gd name="connsiteY0" fmla="*/ 0 h 5464629"/>
              <a:gd name="connsiteX1" fmla="*/ 7852229 w 7852229"/>
              <a:gd name="connsiteY1" fmla="*/ 0 h 5464629"/>
              <a:gd name="connsiteX2" fmla="*/ 7844971 w 7852229"/>
              <a:gd name="connsiteY2" fmla="*/ 4034971 h 5464629"/>
              <a:gd name="connsiteX3" fmla="*/ 7852229 w 7852229"/>
              <a:gd name="connsiteY3" fmla="*/ 5464629 h 5464629"/>
              <a:gd name="connsiteX4" fmla="*/ 0 w 7852229"/>
              <a:gd name="connsiteY4" fmla="*/ 5464629 h 5464629"/>
              <a:gd name="connsiteX5" fmla="*/ 0 w 7852229"/>
              <a:gd name="connsiteY5" fmla="*/ 0 h 5464629"/>
              <a:gd name="connsiteX0" fmla="*/ 0 w 7852229"/>
              <a:gd name="connsiteY0" fmla="*/ 0 h 5471886"/>
              <a:gd name="connsiteX1" fmla="*/ 7852229 w 7852229"/>
              <a:gd name="connsiteY1" fmla="*/ 0 h 5471886"/>
              <a:gd name="connsiteX2" fmla="*/ 7844971 w 7852229"/>
              <a:gd name="connsiteY2" fmla="*/ 4034971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28458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93658"/>
              <a:gd name="connsiteX1" fmla="*/ 7859486 w 7859486"/>
              <a:gd name="connsiteY1" fmla="*/ 0 h 5493658"/>
              <a:gd name="connsiteX2" fmla="*/ 6320970 w 7859486"/>
              <a:gd name="connsiteY2" fmla="*/ 4049485 h 5493658"/>
              <a:gd name="connsiteX3" fmla="*/ 4535715 w 7859486"/>
              <a:gd name="connsiteY3" fmla="*/ 5464629 h 5493658"/>
              <a:gd name="connsiteX4" fmla="*/ 1632857 w 7859486"/>
              <a:gd name="connsiteY4" fmla="*/ 5493658 h 5493658"/>
              <a:gd name="connsiteX5" fmla="*/ 0 w 7859486"/>
              <a:gd name="connsiteY5" fmla="*/ 4782458 h 5493658"/>
              <a:gd name="connsiteX6" fmla="*/ 7257 w 7859486"/>
              <a:gd name="connsiteY6" fmla="*/ 0 h 5493658"/>
              <a:gd name="connsiteX0" fmla="*/ 7257 w 7859486"/>
              <a:gd name="connsiteY0" fmla="*/ 0 h 5464629"/>
              <a:gd name="connsiteX1" fmla="*/ 7859486 w 7859486"/>
              <a:gd name="connsiteY1" fmla="*/ 0 h 5464629"/>
              <a:gd name="connsiteX2" fmla="*/ 6320970 w 7859486"/>
              <a:gd name="connsiteY2" fmla="*/ 4049485 h 5464629"/>
              <a:gd name="connsiteX3" fmla="*/ 4535715 w 7859486"/>
              <a:gd name="connsiteY3" fmla="*/ 5464629 h 5464629"/>
              <a:gd name="connsiteX4" fmla="*/ 1516743 w 7859486"/>
              <a:gd name="connsiteY4" fmla="*/ 5457372 h 5464629"/>
              <a:gd name="connsiteX5" fmla="*/ 0 w 7859486"/>
              <a:gd name="connsiteY5" fmla="*/ 4782458 h 5464629"/>
              <a:gd name="connsiteX6" fmla="*/ 7257 w 7859486"/>
              <a:gd name="connsiteY6" fmla="*/ 0 h 546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59486" h="5464629">
                <a:moveTo>
                  <a:pt x="7257" y="0"/>
                </a:moveTo>
                <a:lnTo>
                  <a:pt x="7859486" y="0"/>
                </a:lnTo>
                <a:cubicBezTo>
                  <a:pt x="7320039" y="1446589"/>
                  <a:pt x="6816875" y="2733524"/>
                  <a:pt x="6320970" y="4049485"/>
                </a:cubicBezTo>
                <a:cubicBezTo>
                  <a:pt x="6033104" y="4765524"/>
                  <a:pt x="5396896" y="5445276"/>
                  <a:pt x="4535715" y="5464629"/>
                </a:cubicBezTo>
                <a:lnTo>
                  <a:pt x="1516743" y="5457372"/>
                </a:lnTo>
                <a:cubicBezTo>
                  <a:pt x="984552" y="5452534"/>
                  <a:pt x="488647" y="5346095"/>
                  <a:pt x="0" y="4782458"/>
                </a:cubicBezTo>
                <a:lnTo>
                  <a:pt x="7257" y="0"/>
                </a:ln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chibsted Grotesk Bold" pitchFamily="2" charset="77"/>
              <a:ea typeface="+mn-ea"/>
              <a:cs typeface="+mn-cs"/>
            </a:endParaRPr>
          </a:p>
        </p:txBody>
      </p:sp>
      <p:sp>
        <p:nvSpPr>
          <p:cNvPr id="3" name="Rectangle 8">
            <a:extLst>
              <a:ext uri="{FF2B5EF4-FFF2-40B4-BE49-F238E27FC236}">
                <a16:creationId xmlns:a16="http://schemas.microsoft.com/office/drawing/2014/main" id="{F9A97BBF-9399-153F-484A-01203F6DAD42}"/>
              </a:ext>
            </a:extLst>
          </p:cNvPr>
          <p:cNvSpPr/>
          <p:nvPr userDrawn="1"/>
        </p:nvSpPr>
        <p:spPr>
          <a:xfrm>
            <a:off x="-7938" y="0"/>
            <a:ext cx="7859713" cy="5464175"/>
          </a:xfrm>
          <a:custGeom>
            <a:avLst/>
            <a:gdLst>
              <a:gd name="connsiteX0" fmla="*/ 0 w 7852229"/>
              <a:gd name="connsiteY0" fmla="*/ 0 h 5464629"/>
              <a:gd name="connsiteX1" fmla="*/ 7852229 w 7852229"/>
              <a:gd name="connsiteY1" fmla="*/ 0 h 5464629"/>
              <a:gd name="connsiteX2" fmla="*/ 7852229 w 7852229"/>
              <a:gd name="connsiteY2" fmla="*/ 5464629 h 5464629"/>
              <a:gd name="connsiteX3" fmla="*/ 0 w 7852229"/>
              <a:gd name="connsiteY3" fmla="*/ 5464629 h 5464629"/>
              <a:gd name="connsiteX4" fmla="*/ 0 w 7852229"/>
              <a:gd name="connsiteY4" fmla="*/ 0 h 5464629"/>
              <a:gd name="connsiteX0" fmla="*/ 0 w 7852229"/>
              <a:gd name="connsiteY0" fmla="*/ 0 h 5464629"/>
              <a:gd name="connsiteX1" fmla="*/ 7852229 w 7852229"/>
              <a:gd name="connsiteY1" fmla="*/ 0 h 5464629"/>
              <a:gd name="connsiteX2" fmla="*/ 7844971 w 7852229"/>
              <a:gd name="connsiteY2" fmla="*/ 4034971 h 5464629"/>
              <a:gd name="connsiteX3" fmla="*/ 7852229 w 7852229"/>
              <a:gd name="connsiteY3" fmla="*/ 5464629 h 5464629"/>
              <a:gd name="connsiteX4" fmla="*/ 0 w 7852229"/>
              <a:gd name="connsiteY4" fmla="*/ 5464629 h 5464629"/>
              <a:gd name="connsiteX5" fmla="*/ 0 w 7852229"/>
              <a:gd name="connsiteY5" fmla="*/ 0 h 5464629"/>
              <a:gd name="connsiteX0" fmla="*/ 0 w 7852229"/>
              <a:gd name="connsiteY0" fmla="*/ 0 h 5471886"/>
              <a:gd name="connsiteX1" fmla="*/ 7852229 w 7852229"/>
              <a:gd name="connsiteY1" fmla="*/ 0 h 5471886"/>
              <a:gd name="connsiteX2" fmla="*/ 7844971 w 7852229"/>
              <a:gd name="connsiteY2" fmla="*/ 4034971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7852229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86515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0 w 7852229"/>
              <a:gd name="connsiteY0" fmla="*/ 0 h 5471886"/>
              <a:gd name="connsiteX1" fmla="*/ 7852229 w 7852229"/>
              <a:gd name="connsiteY1" fmla="*/ 0 h 5471886"/>
              <a:gd name="connsiteX2" fmla="*/ 6313713 w 7852229"/>
              <a:gd name="connsiteY2" fmla="*/ 4049485 h 5471886"/>
              <a:gd name="connsiteX3" fmla="*/ 4528458 w 7852229"/>
              <a:gd name="connsiteY3" fmla="*/ 5464629 h 5471886"/>
              <a:gd name="connsiteX4" fmla="*/ 1415143 w 7852229"/>
              <a:gd name="connsiteY4" fmla="*/ 5471886 h 5471886"/>
              <a:gd name="connsiteX5" fmla="*/ 0 w 7852229"/>
              <a:gd name="connsiteY5" fmla="*/ 5464629 h 5471886"/>
              <a:gd name="connsiteX6" fmla="*/ 0 w 7852229"/>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71886"/>
              <a:gd name="connsiteX1" fmla="*/ 7859486 w 7859486"/>
              <a:gd name="connsiteY1" fmla="*/ 0 h 5471886"/>
              <a:gd name="connsiteX2" fmla="*/ 6320970 w 7859486"/>
              <a:gd name="connsiteY2" fmla="*/ 4049485 h 5471886"/>
              <a:gd name="connsiteX3" fmla="*/ 4535715 w 7859486"/>
              <a:gd name="connsiteY3" fmla="*/ 5464629 h 5471886"/>
              <a:gd name="connsiteX4" fmla="*/ 1422400 w 7859486"/>
              <a:gd name="connsiteY4" fmla="*/ 5471886 h 5471886"/>
              <a:gd name="connsiteX5" fmla="*/ 0 w 7859486"/>
              <a:gd name="connsiteY5" fmla="*/ 4782458 h 5471886"/>
              <a:gd name="connsiteX6" fmla="*/ 7257 w 7859486"/>
              <a:gd name="connsiteY6" fmla="*/ 0 h 5471886"/>
              <a:gd name="connsiteX0" fmla="*/ 7257 w 7859486"/>
              <a:gd name="connsiteY0" fmla="*/ 0 h 5493658"/>
              <a:gd name="connsiteX1" fmla="*/ 7859486 w 7859486"/>
              <a:gd name="connsiteY1" fmla="*/ 0 h 5493658"/>
              <a:gd name="connsiteX2" fmla="*/ 6320970 w 7859486"/>
              <a:gd name="connsiteY2" fmla="*/ 4049485 h 5493658"/>
              <a:gd name="connsiteX3" fmla="*/ 4535715 w 7859486"/>
              <a:gd name="connsiteY3" fmla="*/ 5464629 h 5493658"/>
              <a:gd name="connsiteX4" fmla="*/ 1632857 w 7859486"/>
              <a:gd name="connsiteY4" fmla="*/ 5493658 h 5493658"/>
              <a:gd name="connsiteX5" fmla="*/ 0 w 7859486"/>
              <a:gd name="connsiteY5" fmla="*/ 4782458 h 5493658"/>
              <a:gd name="connsiteX6" fmla="*/ 7257 w 7859486"/>
              <a:gd name="connsiteY6" fmla="*/ 0 h 5493658"/>
              <a:gd name="connsiteX0" fmla="*/ 7257 w 7859486"/>
              <a:gd name="connsiteY0" fmla="*/ 0 h 5464629"/>
              <a:gd name="connsiteX1" fmla="*/ 7859486 w 7859486"/>
              <a:gd name="connsiteY1" fmla="*/ 0 h 5464629"/>
              <a:gd name="connsiteX2" fmla="*/ 6320970 w 7859486"/>
              <a:gd name="connsiteY2" fmla="*/ 4049485 h 5464629"/>
              <a:gd name="connsiteX3" fmla="*/ 4535715 w 7859486"/>
              <a:gd name="connsiteY3" fmla="*/ 5464629 h 5464629"/>
              <a:gd name="connsiteX4" fmla="*/ 1516743 w 7859486"/>
              <a:gd name="connsiteY4" fmla="*/ 5457372 h 5464629"/>
              <a:gd name="connsiteX5" fmla="*/ 0 w 7859486"/>
              <a:gd name="connsiteY5" fmla="*/ 4782458 h 5464629"/>
              <a:gd name="connsiteX6" fmla="*/ 7257 w 7859486"/>
              <a:gd name="connsiteY6" fmla="*/ 0 h 5464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859486" h="5464629">
                <a:moveTo>
                  <a:pt x="7257" y="0"/>
                </a:moveTo>
                <a:lnTo>
                  <a:pt x="7859486" y="0"/>
                </a:lnTo>
                <a:cubicBezTo>
                  <a:pt x="7320039" y="1446589"/>
                  <a:pt x="6816875" y="2733524"/>
                  <a:pt x="6320970" y="4049485"/>
                </a:cubicBezTo>
                <a:cubicBezTo>
                  <a:pt x="6033104" y="4765524"/>
                  <a:pt x="5396896" y="5445276"/>
                  <a:pt x="4535715" y="5464629"/>
                </a:cubicBezTo>
                <a:lnTo>
                  <a:pt x="1516743" y="5457372"/>
                </a:lnTo>
                <a:cubicBezTo>
                  <a:pt x="984552" y="5452534"/>
                  <a:pt x="488647" y="5346095"/>
                  <a:pt x="0" y="4782458"/>
                </a:cubicBezTo>
                <a:lnTo>
                  <a:pt x="7257" y="0"/>
                </a:lnTo>
                <a:close/>
              </a:path>
            </a:pathLst>
          </a:cu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chibsted Grotesk Bold" pitchFamily="2" charset="77"/>
              <a:ea typeface="+mn-ea"/>
              <a:cs typeface="+mn-cs"/>
            </a:endParaRPr>
          </a:p>
        </p:txBody>
      </p:sp>
      <p:sp>
        <p:nvSpPr>
          <p:cNvPr id="6" name="Title 1">
            <a:extLst>
              <a:ext uri="{FF2B5EF4-FFF2-40B4-BE49-F238E27FC236}">
                <a16:creationId xmlns:a16="http://schemas.microsoft.com/office/drawing/2014/main" id="{BA7DFF01-12F2-FCD5-AE18-6450A1F70231}"/>
              </a:ext>
            </a:extLst>
          </p:cNvPr>
          <p:cNvSpPr>
            <a:spLocks noGrp="1"/>
          </p:cNvSpPr>
          <p:nvPr>
            <p:ph type="ctrTitle"/>
          </p:nvPr>
        </p:nvSpPr>
        <p:spPr>
          <a:xfrm>
            <a:off x="426379" y="1916920"/>
            <a:ext cx="5349765" cy="1603933"/>
          </a:xfrm>
          <a:prstGeom prst="rect">
            <a:avLst/>
          </a:prstGeom>
        </p:spPr>
        <p:txBody>
          <a:bodyPr anchor="b"/>
          <a:lstStyle>
            <a:lvl1pPr algn="l">
              <a:defRPr sz="4000" b="0" i="0">
                <a:solidFill>
                  <a:schemeClr val="bg2"/>
                </a:solidFill>
                <a:latin typeface="+mj-lt"/>
              </a:defRPr>
            </a:lvl1pPr>
          </a:lstStyle>
          <a:p>
            <a:r>
              <a:rPr lang="en-US"/>
              <a:t>Click to edit Master title style</a:t>
            </a:r>
          </a:p>
        </p:txBody>
      </p:sp>
      <p:sp>
        <p:nvSpPr>
          <p:cNvPr id="7" name="Subtitle 2">
            <a:extLst>
              <a:ext uri="{FF2B5EF4-FFF2-40B4-BE49-F238E27FC236}">
                <a16:creationId xmlns:a16="http://schemas.microsoft.com/office/drawing/2014/main" id="{5BE17CB9-DBB8-782B-FF7B-7A7F167A2429}"/>
              </a:ext>
            </a:extLst>
          </p:cNvPr>
          <p:cNvSpPr>
            <a:spLocks noGrp="1"/>
          </p:cNvSpPr>
          <p:nvPr>
            <p:ph type="subTitle" idx="1"/>
          </p:nvPr>
        </p:nvSpPr>
        <p:spPr>
          <a:xfrm>
            <a:off x="426379" y="3837576"/>
            <a:ext cx="4702977" cy="550370"/>
          </a:xfrm>
          <a:prstGeom prst="rect">
            <a:avLst/>
          </a:prstGeom>
        </p:spPr>
        <p:txBody>
          <a:bodyPr>
            <a:normAutofit/>
          </a:bodyPr>
          <a:lstStyle>
            <a:lvl1pPr marL="0" indent="0" algn="l">
              <a:buNone/>
              <a:defRPr sz="2000" b="1" i="0">
                <a:solidFill>
                  <a:schemeClr val="bg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8" name="Picture 7" descr="Yellow letters on a black background&#10;&#10;Description automatically generated">
            <a:extLst>
              <a:ext uri="{FF2B5EF4-FFF2-40B4-BE49-F238E27FC236}">
                <a16:creationId xmlns:a16="http://schemas.microsoft.com/office/drawing/2014/main" id="{137522A2-2742-6C13-ADAB-7C5E513869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9075" y="196497"/>
            <a:ext cx="2527329" cy="927100"/>
          </a:xfrm>
          <a:prstGeom prst="rect">
            <a:avLst/>
          </a:prstGeom>
        </p:spPr>
      </p:pic>
    </p:spTree>
    <p:extLst>
      <p:ext uri="{BB962C8B-B14F-4D97-AF65-F5344CB8AC3E}">
        <p14:creationId xmlns:p14="http://schemas.microsoft.com/office/powerpoint/2010/main" val="255255966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over 18">
    <p:bg>
      <p:bgPr>
        <a:solidFill>
          <a:schemeClr val="tx2"/>
        </a:solidFill>
        <a:effectLst/>
      </p:bgPr>
    </p:bg>
    <p:spTree>
      <p:nvGrpSpPr>
        <p:cNvPr id="1" name=""/>
        <p:cNvGrpSpPr/>
        <p:nvPr/>
      </p:nvGrpSpPr>
      <p:grpSpPr>
        <a:xfrm>
          <a:off x="0" y="0"/>
          <a:ext cx="0" cy="0"/>
          <a:chOff x="0" y="0"/>
          <a:chExt cx="0" cy="0"/>
        </a:xfrm>
      </p:grpSpPr>
      <p:pic>
        <p:nvPicPr>
          <p:cNvPr id="4" name="Picture 3" descr="A yellow line in a black background&#10;&#10;Description automatically generated">
            <a:extLst>
              <a:ext uri="{FF2B5EF4-FFF2-40B4-BE49-F238E27FC236}">
                <a16:creationId xmlns:a16="http://schemas.microsoft.com/office/drawing/2014/main" id="{7CFD59A8-E720-759B-01A5-C8AC101017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title"/>
          </p:nvPr>
        </p:nvSpPr>
        <p:spPr>
          <a:xfrm>
            <a:off x="426379" y="1600228"/>
            <a:ext cx="5173717" cy="1363462"/>
          </a:xfrm>
        </p:spPr>
        <p:txBody>
          <a:bodyPr/>
          <a:lstStyle>
            <a:lvl1pPr>
              <a:defRPr>
                <a:solidFill>
                  <a:srgbClr val="FFD900"/>
                </a:solidFill>
              </a:defRPr>
            </a:lvl1pPr>
          </a:lstStyle>
          <a:p>
            <a:r>
              <a:rPr lang="en-US"/>
              <a:t>Click to edit Master title style</a:t>
            </a:r>
          </a:p>
        </p:txBody>
      </p:sp>
      <p:sp>
        <p:nvSpPr>
          <p:cNvPr id="6" name="Rectangle 4">
            <a:extLst>
              <a:ext uri="{FF2B5EF4-FFF2-40B4-BE49-F238E27FC236}">
                <a16:creationId xmlns:a16="http://schemas.microsoft.com/office/drawing/2014/main" id="{9E68E71F-6D00-D379-4653-CFBC2E30BB86}"/>
              </a:ext>
            </a:extLst>
          </p:cNvPr>
          <p:cNvSpPr/>
          <p:nvPr userDrawn="1"/>
        </p:nvSpPr>
        <p:spPr>
          <a:xfrm rot="10800000">
            <a:off x="9607550" y="5930900"/>
            <a:ext cx="2584450" cy="927100"/>
          </a:xfrm>
          <a:custGeom>
            <a:avLst/>
            <a:gdLst>
              <a:gd name="connsiteX0" fmla="*/ 0 w 2578101"/>
              <a:gd name="connsiteY0" fmla="*/ 0 h 1130300"/>
              <a:gd name="connsiteX1" fmla="*/ 2578101 w 2578101"/>
              <a:gd name="connsiteY1" fmla="*/ 0 h 1130300"/>
              <a:gd name="connsiteX2" fmla="*/ 2578101 w 2578101"/>
              <a:gd name="connsiteY2" fmla="*/ 1130300 h 1130300"/>
              <a:gd name="connsiteX3" fmla="*/ 0 w 2578101"/>
              <a:gd name="connsiteY3" fmla="*/ 1130300 h 1130300"/>
              <a:gd name="connsiteX4" fmla="*/ 0 w 2578101"/>
              <a:gd name="connsiteY4" fmla="*/ 0 h 1130300"/>
              <a:gd name="connsiteX0" fmla="*/ 0 w 2578101"/>
              <a:gd name="connsiteY0" fmla="*/ 1739900 h 2870200"/>
              <a:gd name="connsiteX1" fmla="*/ 2578101 w 2578101"/>
              <a:gd name="connsiteY1" fmla="*/ 1739900 h 2870200"/>
              <a:gd name="connsiteX2" fmla="*/ 1123951 w 2578101"/>
              <a:gd name="connsiteY2" fmla="*/ 0 h 2870200"/>
              <a:gd name="connsiteX3" fmla="*/ 0 w 2578101"/>
              <a:gd name="connsiteY3" fmla="*/ 2870200 h 2870200"/>
              <a:gd name="connsiteX4" fmla="*/ 0 w 2578101"/>
              <a:gd name="connsiteY4" fmla="*/ 1739900 h 2870200"/>
              <a:gd name="connsiteX0" fmla="*/ 0 w 2578101"/>
              <a:gd name="connsiteY0" fmla="*/ 0 h 1130300"/>
              <a:gd name="connsiteX1" fmla="*/ 2578101 w 2578101"/>
              <a:gd name="connsiteY1" fmla="*/ 0 h 1130300"/>
              <a:gd name="connsiteX2" fmla="*/ 1663701 w 2578101"/>
              <a:gd name="connsiteY2" fmla="*/ 914400 h 1130300"/>
              <a:gd name="connsiteX3" fmla="*/ 0 w 2578101"/>
              <a:gd name="connsiteY3" fmla="*/ 1130300 h 1130300"/>
              <a:gd name="connsiteX4" fmla="*/ 0 w 2578101"/>
              <a:gd name="connsiteY4" fmla="*/ 0 h 1130300"/>
              <a:gd name="connsiteX0" fmla="*/ 0 w 2578101"/>
              <a:gd name="connsiteY0" fmla="*/ 0 h 914400"/>
              <a:gd name="connsiteX1" fmla="*/ 2578101 w 2578101"/>
              <a:gd name="connsiteY1" fmla="*/ 0 h 914400"/>
              <a:gd name="connsiteX2" fmla="*/ 1663701 w 2578101"/>
              <a:gd name="connsiteY2" fmla="*/ 914400 h 914400"/>
              <a:gd name="connsiteX3" fmla="*/ 6350 w 2578101"/>
              <a:gd name="connsiteY3" fmla="*/ 723900 h 914400"/>
              <a:gd name="connsiteX4" fmla="*/ 0 w 2578101"/>
              <a:gd name="connsiteY4" fmla="*/ 0 h 914400"/>
              <a:gd name="connsiteX0" fmla="*/ 6631 w 2584732"/>
              <a:gd name="connsiteY0" fmla="*/ 0 h 927100"/>
              <a:gd name="connsiteX1" fmla="*/ 2584732 w 2584732"/>
              <a:gd name="connsiteY1" fmla="*/ 0 h 927100"/>
              <a:gd name="connsiteX2" fmla="*/ 167033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67033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53698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53698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536982 w 2584732"/>
              <a:gd name="connsiteY2" fmla="*/ 914400 h 927100"/>
              <a:gd name="connsiteX3" fmla="*/ 281 w 2584732"/>
              <a:gd name="connsiteY3" fmla="*/ 927100 h 927100"/>
              <a:gd name="connsiteX4" fmla="*/ 6631 w 2584732"/>
              <a:gd name="connsiteY4" fmla="*/ 0 h 927100"/>
              <a:gd name="connsiteX0" fmla="*/ 6631 w 2584732"/>
              <a:gd name="connsiteY0" fmla="*/ 0 h 927100"/>
              <a:gd name="connsiteX1" fmla="*/ 2584732 w 2584732"/>
              <a:gd name="connsiteY1" fmla="*/ 0 h 927100"/>
              <a:gd name="connsiteX2" fmla="*/ 1536982 w 2584732"/>
              <a:gd name="connsiteY2" fmla="*/ 914400 h 927100"/>
              <a:gd name="connsiteX3" fmla="*/ 281 w 2584732"/>
              <a:gd name="connsiteY3" fmla="*/ 927100 h 927100"/>
              <a:gd name="connsiteX4" fmla="*/ 6631 w 2584732"/>
              <a:gd name="connsiteY4" fmla="*/ 0 h 927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4732" h="927100">
                <a:moveTo>
                  <a:pt x="6631" y="0"/>
                </a:moveTo>
                <a:lnTo>
                  <a:pt x="2584732" y="0"/>
                </a:lnTo>
                <a:cubicBezTo>
                  <a:pt x="2432332" y="463550"/>
                  <a:pt x="2222782" y="920750"/>
                  <a:pt x="1536982" y="914400"/>
                </a:cubicBezTo>
                <a:lnTo>
                  <a:pt x="281" y="927100"/>
                </a:lnTo>
                <a:cubicBezTo>
                  <a:pt x="-1836" y="685800"/>
                  <a:pt x="8748" y="241300"/>
                  <a:pt x="6631" y="0"/>
                </a:cubicBezTo>
                <a:close/>
              </a:path>
            </a:pathLst>
          </a:custGeom>
          <a:solidFill>
            <a:srgbClr val="FFD900"/>
          </a:solidFill>
          <a:ln>
            <a:no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chibsted Grotesk Bold" pitchFamily="2" charset="77"/>
              <a:ea typeface="+mn-ea"/>
              <a:cs typeface="+mn-cs"/>
            </a:endParaRPr>
          </a:p>
        </p:txBody>
      </p:sp>
      <p:pic>
        <p:nvPicPr>
          <p:cNvPr id="7" name="Picture 3">
            <a:extLst>
              <a:ext uri="{FF2B5EF4-FFF2-40B4-BE49-F238E27FC236}">
                <a16:creationId xmlns:a16="http://schemas.microsoft.com/office/drawing/2014/main" id="{E49A7B10-8A9B-680E-847F-3CA2ACE5B07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137775" y="6080125"/>
            <a:ext cx="1952625" cy="723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2">
            <a:extLst>
              <a:ext uri="{FF2B5EF4-FFF2-40B4-BE49-F238E27FC236}">
                <a16:creationId xmlns:a16="http://schemas.microsoft.com/office/drawing/2014/main" id="{E0BEC3F9-66C5-9650-180E-5EDD144E9CD9}"/>
              </a:ext>
            </a:extLst>
          </p:cNvPr>
          <p:cNvSpPr>
            <a:spLocks noGrp="1"/>
          </p:cNvSpPr>
          <p:nvPr>
            <p:ph type="subTitle" idx="1"/>
          </p:nvPr>
        </p:nvSpPr>
        <p:spPr>
          <a:xfrm>
            <a:off x="426379" y="3396212"/>
            <a:ext cx="4702977" cy="550370"/>
          </a:xfrm>
          <a:prstGeom prst="rect">
            <a:avLst/>
          </a:prstGeom>
        </p:spPr>
        <p:txBody>
          <a:bodyPr>
            <a:normAutofit/>
          </a:bodyPr>
          <a:lstStyle>
            <a:lvl1pPr marL="0" indent="0" algn="l">
              <a:buNone/>
              <a:defRPr sz="2000" b="1" i="0">
                <a:solidFill>
                  <a:schemeClr val="bg2"/>
                </a:solidFill>
                <a:latin typeface="Schibsted Grotesk" pitchFamily="2" charset="77"/>
                <a:cs typeface="Schibsted Grotesk" pitchFamily="2"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7302937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le of contents - 6 Chapt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0BE56-AFAF-4CD1-8444-B79DDCE8BC73}"/>
              </a:ext>
            </a:extLst>
          </p:cNvPr>
          <p:cNvSpPr>
            <a:spLocks noGrp="1"/>
          </p:cNvSpPr>
          <p:nvPr>
            <p:ph type="title"/>
          </p:nvPr>
        </p:nvSpPr>
        <p:spPr/>
        <p:txBody>
          <a:bodyPr anchor="b"/>
          <a:lstStyle/>
          <a:p>
            <a:r>
              <a:rPr lang="en-US"/>
              <a:t>Click to edit Master title style</a:t>
            </a:r>
            <a:endParaRPr lang="fr-BE"/>
          </a:p>
        </p:txBody>
      </p:sp>
      <p:sp>
        <p:nvSpPr>
          <p:cNvPr id="5" name="Footer Placeholder 4">
            <a:extLst>
              <a:ext uri="{FF2B5EF4-FFF2-40B4-BE49-F238E27FC236}">
                <a16:creationId xmlns:a16="http://schemas.microsoft.com/office/drawing/2014/main" id="{7D5DA016-2634-427D-87D9-40B8ADD1E4DA}"/>
              </a:ext>
            </a:extLst>
          </p:cNvPr>
          <p:cNvSpPr>
            <a:spLocks noGrp="1"/>
          </p:cNvSpPr>
          <p:nvPr>
            <p:ph type="ftr" sz="quarter" idx="11"/>
          </p:nvPr>
        </p:nvSpPr>
        <p:spPr>
          <a:xfrm>
            <a:off x="839416" y="6349531"/>
            <a:ext cx="3401588" cy="153888"/>
          </a:xfrm>
        </p:spPr>
        <p:txBody>
          <a:bodyPr/>
          <a:lstStyle/>
          <a:p>
            <a:r>
              <a:rPr lang="fr-BE"/>
              <a:t>Title of the presentation</a:t>
            </a:r>
          </a:p>
        </p:txBody>
      </p:sp>
      <p:sp>
        <p:nvSpPr>
          <p:cNvPr id="6" name="Slide Number Placeholder 5">
            <a:extLst>
              <a:ext uri="{FF2B5EF4-FFF2-40B4-BE49-F238E27FC236}">
                <a16:creationId xmlns:a16="http://schemas.microsoft.com/office/drawing/2014/main" id="{5ABCE68F-B38C-4691-92D9-EBF2E4A29960}"/>
              </a:ext>
            </a:extLst>
          </p:cNvPr>
          <p:cNvSpPr>
            <a:spLocks noGrp="1"/>
          </p:cNvSpPr>
          <p:nvPr>
            <p:ph type="sldNum" sz="quarter" idx="12"/>
          </p:nvPr>
        </p:nvSpPr>
        <p:spPr/>
        <p:txBody>
          <a:bodyPr/>
          <a:lstStyle/>
          <a:p>
            <a:fld id="{820150FD-603F-44AF-ADBB-D2D9D0B3C68D}" type="slidenum">
              <a:rPr lang="fr-BE" smtClean="0"/>
              <a:t>‹#›</a:t>
            </a:fld>
            <a:endParaRPr lang="fr-BE"/>
          </a:p>
        </p:txBody>
      </p:sp>
      <p:sp>
        <p:nvSpPr>
          <p:cNvPr id="9" name="Text Placeholder 8">
            <a:extLst>
              <a:ext uri="{FF2B5EF4-FFF2-40B4-BE49-F238E27FC236}">
                <a16:creationId xmlns:a16="http://schemas.microsoft.com/office/drawing/2014/main" id="{96DF4BB3-4BBE-459F-9A3D-6902F3A2F80C}"/>
              </a:ext>
            </a:extLst>
          </p:cNvPr>
          <p:cNvSpPr>
            <a:spLocks noGrp="1"/>
          </p:cNvSpPr>
          <p:nvPr>
            <p:ph type="body" sz="quarter" idx="13"/>
          </p:nvPr>
        </p:nvSpPr>
        <p:spPr>
          <a:xfrm>
            <a:off x="371475" y="945479"/>
            <a:ext cx="11449050" cy="360099"/>
          </a:xfrm>
        </p:spPr>
        <p:txBody>
          <a:bodyPr rIns="0">
            <a:spAutoFit/>
          </a:bodyPr>
          <a:lstStyle>
            <a:lvl1pPr marL="0" indent="0">
              <a:buNone/>
              <a:defRPr sz="2600" b="0">
                <a:solidFill>
                  <a:schemeClr val="accent1"/>
                </a:solidFill>
              </a:defRPr>
            </a:lvl1pPr>
          </a:lstStyle>
          <a:p>
            <a:pPr lvl="0"/>
            <a:r>
              <a:rPr lang="en-US"/>
              <a:t>Click to edit Master text styles</a:t>
            </a:r>
          </a:p>
        </p:txBody>
      </p:sp>
      <p:sp>
        <p:nvSpPr>
          <p:cNvPr id="13" name="Text Placeholder 8">
            <a:extLst>
              <a:ext uri="{FF2B5EF4-FFF2-40B4-BE49-F238E27FC236}">
                <a16:creationId xmlns:a16="http://schemas.microsoft.com/office/drawing/2014/main" id="{2B2907A2-432F-42D2-96E3-CC564DEAAD46}"/>
              </a:ext>
            </a:extLst>
          </p:cNvPr>
          <p:cNvSpPr>
            <a:spLocks noGrp="1"/>
          </p:cNvSpPr>
          <p:nvPr>
            <p:ph type="body" sz="quarter" idx="15"/>
          </p:nvPr>
        </p:nvSpPr>
        <p:spPr>
          <a:xfrm>
            <a:off x="1330772" y="2591871"/>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14" name="Text Placeholder 8">
            <a:extLst>
              <a:ext uri="{FF2B5EF4-FFF2-40B4-BE49-F238E27FC236}">
                <a16:creationId xmlns:a16="http://schemas.microsoft.com/office/drawing/2014/main" id="{76924CEC-C8B2-4028-A9D6-A30951AFD283}"/>
              </a:ext>
            </a:extLst>
          </p:cNvPr>
          <p:cNvSpPr>
            <a:spLocks noGrp="1"/>
          </p:cNvSpPr>
          <p:nvPr>
            <p:ph type="body" sz="quarter" idx="16" hasCustomPrompt="1"/>
          </p:nvPr>
        </p:nvSpPr>
        <p:spPr>
          <a:xfrm>
            <a:off x="374822" y="2240838"/>
            <a:ext cx="740587" cy="720197"/>
          </a:xfrm>
        </p:spPr>
        <p:txBody>
          <a:bodyPr wrap="none" rIns="0" anchor="b">
            <a:spAutoFit/>
          </a:bodyPr>
          <a:lstStyle>
            <a:lvl1pPr marL="0" indent="0" algn="l">
              <a:buNone/>
              <a:defRPr sz="5200" b="1">
                <a:solidFill>
                  <a:schemeClr val="accent1"/>
                </a:solidFill>
              </a:defRPr>
            </a:lvl1pPr>
          </a:lstStyle>
          <a:p>
            <a:pPr lvl="0"/>
            <a:r>
              <a:rPr lang="en-US"/>
              <a:t>##</a:t>
            </a:r>
            <a:endParaRPr lang="fr-BE"/>
          </a:p>
        </p:txBody>
      </p:sp>
      <p:sp>
        <p:nvSpPr>
          <p:cNvPr id="18" name="Text Placeholder 8">
            <a:extLst>
              <a:ext uri="{FF2B5EF4-FFF2-40B4-BE49-F238E27FC236}">
                <a16:creationId xmlns:a16="http://schemas.microsoft.com/office/drawing/2014/main" id="{A95BF971-64C3-4FE7-86BA-ECF4359790E4}"/>
              </a:ext>
            </a:extLst>
          </p:cNvPr>
          <p:cNvSpPr>
            <a:spLocks noGrp="1"/>
          </p:cNvSpPr>
          <p:nvPr>
            <p:ph type="body" sz="quarter" idx="17"/>
          </p:nvPr>
        </p:nvSpPr>
        <p:spPr>
          <a:xfrm>
            <a:off x="7054839" y="2591871"/>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19" name="Text Placeholder 8">
            <a:extLst>
              <a:ext uri="{FF2B5EF4-FFF2-40B4-BE49-F238E27FC236}">
                <a16:creationId xmlns:a16="http://schemas.microsoft.com/office/drawing/2014/main" id="{CC1EC8AB-9D4D-4BC7-8B76-009DB48803D3}"/>
              </a:ext>
            </a:extLst>
          </p:cNvPr>
          <p:cNvSpPr>
            <a:spLocks noGrp="1"/>
          </p:cNvSpPr>
          <p:nvPr>
            <p:ph type="body" sz="quarter" idx="18" hasCustomPrompt="1"/>
          </p:nvPr>
        </p:nvSpPr>
        <p:spPr>
          <a:xfrm>
            <a:off x="6098889" y="2240838"/>
            <a:ext cx="740587" cy="720197"/>
          </a:xfrm>
        </p:spPr>
        <p:txBody>
          <a:bodyPr wrap="none" rIns="0" anchor="b">
            <a:spAutoFit/>
          </a:bodyPr>
          <a:lstStyle>
            <a:lvl1pPr marL="0" indent="0" algn="l">
              <a:buNone/>
              <a:defRPr sz="5200" b="1">
                <a:solidFill>
                  <a:schemeClr val="accent4"/>
                </a:solidFill>
              </a:defRPr>
            </a:lvl1pPr>
          </a:lstStyle>
          <a:p>
            <a:pPr lvl="0"/>
            <a:r>
              <a:rPr lang="en-US"/>
              <a:t>##</a:t>
            </a:r>
            <a:endParaRPr lang="fr-BE"/>
          </a:p>
        </p:txBody>
      </p:sp>
      <p:sp>
        <p:nvSpPr>
          <p:cNvPr id="20" name="Text Placeholder 8">
            <a:extLst>
              <a:ext uri="{FF2B5EF4-FFF2-40B4-BE49-F238E27FC236}">
                <a16:creationId xmlns:a16="http://schemas.microsoft.com/office/drawing/2014/main" id="{61BD2841-28A9-483D-B724-6F7200EA54E1}"/>
              </a:ext>
            </a:extLst>
          </p:cNvPr>
          <p:cNvSpPr>
            <a:spLocks noGrp="1"/>
          </p:cNvSpPr>
          <p:nvPr>
            <p:ph type="body" sz="quarter" idx="19"/>
          </p:nvPr>
        </p:nvSpPr>
        <p:spPr>
          <a:xfrm>
            <a:off x="1330772" y="3629121"/>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1" name="Text Placeholder 8">
            <a:extLst>
              <a:ext uri="{FF2B5EF4-FFF2-40B4-BE49-F238E27FC236}">
                <a16:creationId xmlns:a16="http://schemas.microsoft.com/office/drawing/2014/main" id="{6E3F7BD7-968B-4062-B124-EEF487AD0EBB}"/>
              </a:ext>
            </a:extLst>
          </p:cNvPr>
          <p:cNvSpPr>
            <a:spLocks noGrp="1"/>
          </p:cNvSpPr>
          <p:nvPr>
            <p:ph type="body" sz="quarter" idx="20" hasCustomPrompt="1"/>
          </p:nvPr>
        </p:nvSpPr>
        <p:spPr>
          <a:xfrm>
            <a:off x="374822" y="3278088"/>
            <a:ext cx="740587" cy="720197"/>
          </a:xfrm>
        </p:spPr>
        <p:txBody>
          <a:bodyPr wrap="none" rIns="0" anchor="b">
            <a:spAutoFit/>
          </a:bodyPr>
          <a:lstStyle>
            <a:lvl1pPr marL="0" indent="0" algn="l">
              <a:buNone/>
              <a:defRPr sz="5200" b="1">
                <a:solidFill>
                  <a:schemeClr val="accent1">
                    <a:alpha val="60000"/>
                  </a:schemeClr>
                </a:solidFill>
              </a:defRPr>
            </a:lvl1pPr>
          </a:lstStyle>
          <a:p>
            <a:pPr lvl="0"/>
            <a:r>
              <a:rPr lang="en-US"/>
              <a:t>##</a:t>
            </a:r>
            <a:endParaRPr lang="fr-BE"/>
          </a:p>
        </p:txBody>
      </p:sp>
      <p:sp>
        <p:nvSpPr>
          <p:cNvPr id="22" name="Text Placeholder 8">
            <a:extLst>
              <a:ext uri="{FF2B5EF4-FFF2-40B4-BE49-F238E27FC236}">
                <a16:creationId xmlns:a16="http://schemas.microsoft.com/office/drawing/2014/main" id="{58AB3217-10D3-4A10-AD87-F5A9F855A98A}"/>
              </a:ext>
            </a:extLst>
          </p:cNvPr>
          <p:cNvSpPr>
            <a:spLocks noGrp="1"/>
          </p:cNvSpPr>
          <p:nvPr>
            <p:ph type="body" sz="quarter" idx="21"/>
          </p:nvPr>
        </p:nvSpPr>
        <p:spPr>
          <a:xfrm>
            <a:off x="7054839" y="3629121"/>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3" name="Text Placeholder 8">
            <a:extLst>
              <a:ext uri="{FF2B5EF4-FFF2-40B4-BE49-F238E27FC236}">
                <a16:creationId xmlns:a16="http://schemas.microsoft.com/office/drawing/2014/main" id="{0707CE93-A1C3-4F77-9C09-A5E0C1CC84AB}"/>
              </a:ext>
            </a:extLst>
          </p:cNvPr>
          <p:cNvSpPr>
            <a:spLocks noGrp="1"/>
          </p:cNvSpPr>
          <p:nvPr>
            <p:ph type="body" sz="quarter" idx="22" hasCustomPrompt="1"/>
          </p:nvPr>
        </p:nvSpPr>
        <p:spPr>
          <a:xfrm>
            <a:off x="6098889" y="3278088"/>
            <a:ext cx="740587" cy="720197"/>
          </a:xfrm>
        </p:spPr>
        <p:txBody>
          <a:bodyPr wrap="none" rIns="0" anchor="b">
            <a:spAutoFit/>
          </a:bodyPr>
          <a:lstStyle>
            <a:lvl1pPr marL="0" indent="0" algn="l">
              <a:buNone/>
              <a:defRPr sz="5200" b="1">
                <a:solidFill>
                  <a:schemeClr val="accent4">
                    <a:alpha val="60000"/>
                  </a:schemeClr>
                </a:solidFill>
              </a:defRPr>
            </a:lvl1pPr>
          </a:lstStyle>
          <a:p>
            <a:pPr lvl="0"/>
            <a:r>
              <a:rPr lang="en-US"/>
              <a:t>##</a:t>
            </a:r>
            <a:endParaRPr lang="fr-BE"/>
          </a:p>
        </p:txBody>
      </p:sp>
      <p:sp>
        <p:nvSpPr>
          <p:cNvPr id="24" name="Text Placeholder 8">
            <a:extLst>
              <a:ext uri="{FF2B5EF4-FFF2-40B4-BE49-F238E27FC236}">
                <a16:creationId xmlns:a16="http://schemas.microsoft.com/office/drawing/2014/main" id="{A68A9C2E-3BD8-4F8B-8271-9B331090E4EA}"/>
              </a:ext>
            </a:extLst>
          </p:cNvPr>
          <p:cNvSpPr>
            <a:spLocks noGrp="1"/>
          </p:cNvSpPr>
          <p:nvPr>
            <p:ph type="body" sz="quarter" idx="23"/>
          </p:nvPr>
        </p:nvSpPr>
        <p:spPr>
          <a:xfrm>
            <a:off x="1330772" y="4666371"/>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5" name="Text Placeholder 8">
            <a:extLst>
              <a:ext uri="{FF2B5EF4-FFF2-40B4-BE49-F238E27FC236}">
                <a16:creationId xmlns:a16="http://schemas.microsoft.com/office/drawing/2014/main" id="{B4A55B30-2834-4D57-B8EC-543B9220F353}"/>
              </a:ext>
            </a:extLst>
          </p:cNvPr>
          <p:cNvSpPr>
            <a:spLocks noGrp="1"/>
          </p:cNvSpPr>
          <p:nvPr>
            <p:ph type="body" sz="quarter" idx="24" hasCustomPrompt="1"/>
          </p:nvPr>
        </p:nvSpPr>
        <p:spPr>
          <a:xfrm>
            <a:off x="374822" y="4315338"/>
            <a:ext cx="740587" cy="720197"/>
          </a:xfrm>
        </p:spPr>
        <p:txBody>
          <a:bodyPr wrap="none" rIns="0" anchor="b">
            <a:spAutoFit/>
          </a:bodyPr>
          <a:lstStyle>
            <a:lvl1pPr marL="0" indent="0" algn="l">
              <a:buNone/>
              <a:defRPr sz="5200" b="1">
                <a:solidFill>
                  <a:schemeClr val="accent1">
                    <a:alpha val="40000"/>
                  </a:schemeClr>
                </a:solidFill>
              </a:defRPr>
            </a:lvl1pPr>
          </a:lstStyle>
          <a:p>
            <a:pPr lvl="0"/>
            <a:r>
              <a:rPr lang="en-US"/>
              <a:t>##</a:t>
            </a:r>
            <a:endParaRPr lang="fr-BE"/>
          </a:p>
        </p:txBody>
      </p:sp>
      <p:sp>
        <p:nvSpPr>
          <p:cNvPr id="26" name="Text Placeholder 8">
            <a:extLst>
              <a:ext uri="{FF2B5EF4-FFF2-40B4-BE49-F238E27FC236}">
                <a16:creationId xmlns:a16="http://schemas.microsoft.com/office/drawing/2014/main" id="{6704112B-0B64-4F92-AE92-7AF8D4465ACA}"/>
              </a:ext>
            </a:extLst>
          </p:cNvPr>
          <p:cNvSpPr>
            <a:spLocks noGrp="1"/>
          </p:cNvSpPr>
          <p:nvPr>
            <p:ph type="body" sz="quarter" idx="25"/>
          </p:nvPr>
        </p:nvSpPr>
        <p:spPr>
          <a:xfrm>
            <a:off x="7054839" y="4666371"/>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7" name="Text Placeholder 8">
            <a:extLst>
              <a:ext uri="{FF2B5EF4-FFF2-40B4-BE49-F238E27FC236}">
                <a16:creationId xmlns:a16="http://schemas.microsoft.com/office/drawing/2014/main" id="{FFA3F2AB-1C1D-4866-BCAE-086317A53CC4}"/>
              </a:ext>
            </a:extLst>
          </p:cNvPr>
          <p:cNvSpPr>
            <a:spLocks noGrp="1"/>
          </p:cNvSpPr>
          <p:nvPr>
            <p:ph type="body" sz="quarter" idx="26" hasCustomPrompt="1"/>
          </p:nvPr>
        </p:nvSpPr>
        <p:spPr>
          <a:xfrm>
            <a:off x="6098889" y="4315338"/>
            <a:ext cx="740587" cy="720197"/>
          </a:xfrm>
        </p:spPr>
        <p:txBody>
          <a:bodyPr wrap="none" rIns="0" anchor="b">
            <a:spAutoFit/>
          </a:bodyPr>
          <a:lstStyle>
            <a:lvl1pPr marL="0" indent="0" algn="l">
              <a:buNone/>
              <a:defRPr sz="5200" b="1">
                <a:solidFill>
                  <a:schemeClr val="accent4">
                    <a:alpha val="40000"/>
                  </a:schemeClr>
                </a:solidFill>
              </a:defRPr>
            </a:lvl1pPr>
          </a:lstStyle>
          <a:p>
            <a:pPr lvl="0"/>
            <a:r>
              <a:rPr lang="en-US"/>
              <a:t>##</a:t>
            </a:r>
            <a:endParaRPr lang="fr-BE"/>
          </a:p>
        </p:txBody>
      </p:sp>
      <p:sp>
        <p:nvSpPr>
          <p:cNvPr id="28" name="Text Placeholder 8">
            <a:extLst>
              <a:ext uri="{FF2B5EF4-FFF2-40B4-BE49-F238E27FC236}">
                <a16:creationId xmlns:a16="http://schemas.microsoft.com/office/drawing/2014/main" id="{0A39934C-B52C-4EFF-90AD-F58A818C8CF7}"/>
              </a:ext>
            </a:extLst>
          </p:cNvPr>
          <p:cNvSpPr>
            <a:spLocks noGrp="1"/>
          </p:cNvSpPr>
          <p:nvPr>
            <p:ph type="body" sz="quarter" idx="27" hasCustomPrompt="1"/>
          </p:nvPr>
        </p:nvSpPr>
        <p:spPr>
          <a:xfrm>
            <a:off x="4439816" y="6349531"/>
            <a:ext cx="6120678" cy="153888"/>
          </a:xfrm>
        </p:spPr>
        <p:txBody>
          <a:bodyPr wrap="square" rIns="0" anchor="b">
            <a:spAutoFit/>
          </a:bodyPr>
          <a:lstStyle>
            <a:lvl1pPr marL="0" indent="0" algn="r">
              <a:lnSpc>
                <a:spcPct val="100000"/>
              </a:lnSpc>
              <a:spcBef>
                <a:spcPts val="600"/>
              </a:spcBef>
              <a:buNone/>
              <a:defRPr sz="1000" b="0">
                <a:solidFill>
                  <a:schemeClr val="accent5"/>
                </a:solidFill>
              </a:defRPr>
            </a:lvl1pPr>
          </a:lstStyle>
          <a:p>
            <a:pPr lvl="0"/>
            <a:r>
              <a:rPr lang="en-US"/>
              <a:t>Click to edit Master text styles</a:t>
            </a:r>
            <a:endParaRPr lang="fr-BE"/>
          </a:p>
        </p:txBody>
      </p:sp>
    </p:spTree>
    <p:extLst>
      <p:ext uri="{BB962C8B-B14F-4D97-AF65-F5344CB8AC3E}">
        <p14:creationId xmlns:p14="http://schemas.microsoft.com/office/powerpoint/2010/main" val="40476766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011BB0C-F8E4-4629-99D9-7C2B2769E115}"/>
              </a:ext>
            </a:extLst>
          </p:cNvPr>
          <p:cNvSpPr>
            <a:spLocks noGrp="1"/>
          </p:cNvSpPr>
          <p:nvPr>
            <p:ph idx="1" hasCustomPrompt="1"/>
          </p:nvPr>
        </p:nvSpPr>
        <p:spPr/>
        <p:txBody>
          <a:bodyPr/>
          <a:lstStyle>
            <a:lvl1pPr>
              <a:defRPr>
                <a:solidFill>
                  <a:schemeClr val="accent4"/>
                </a:solidFill>
              </a:defRPr>
            </a:lvl1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4">
            <a:extLst>
              <a:ext uri="{FF2B5EF4-FFF2-40B4-BE49-F238E27FC236}">
                <a16:creationId xmlns:a16="http://schemas.microsoft.com/office/drawing/2014/main" id="{7D5DA016-2634-427D-87D9-40B8ADD1E4DA}"/>
              </a:ext>
            </a:extLst>
          </p:cNvPr>
          <p:cNvSpPr>
            <a:spLocks noGrp="1"/>
          </p:cNvSpPr>
          <p:nvPr>
            <p:ph type="ftr" sz="quarter" idx="11"/>
          </p:nvPr>
        </p:nvSpPr>
        <p:spPr>
          <a:xfrm>
            <a:off x="839416" y="6349531"/>
            <a:ext cx="3401588" cy="153888"/>
          </a:xfrm>
        </p:spPr>
        <p:txBody>
          <a:bodyPr/>
          <a:lstStyle/>
          <a:p>
            <a:r>
              <a:rPr lang="fr-BE"/>
              <a:t>Title of the presentation</a:t>
            </a:r>
          </a:p>
        </p:txBody>
      </p:sp>
      <p:sp>
        <p:nvSpPr>
          <p:cNvPr id="6" name="Slide Number Placeholder 5">
            <a:extLst>
              <a:ext uri="{FF2B5EF4-FFF2-40B4-BE49-F238E27FC236}">
                <a16:creationId xmlns:a16="http://schemas.microsoft.com/office/drawing/2014/main" id="{5ABCE68F-B38C-4691-92D9-EBF2E4A29960}"/>
              </a:ext>
            </a:extLst>
          </p:cNvPr>
          <p:cNvSpPr>
            <a:spLocks noGrp="1"/>
          </p:cNvSpPr>
          <p:nvPr>
            <p:ph type="sldNum" sz="quarter" idx="12"/>
          </p:nvPr>
        </p:nvSpPr>
        <p:spPr/>
        <p:txBody>
          <a:bodyPr/>
          <a:lstStyle/>
          <a:p>
            <a:fld id="{820150FD-603F-44AF-ADBB-D2D9D0B3C68D}" type="slidenum">
              <a:rPr lang="fr-BE" smtClean="0"/>
              <a:t>‹#›</a:t>
            </a:fld>
            <a:endParaRPr lang="fr-BE"/>
          </a:p>
        </p:txBody>
      </p:sp>
      <p:sp>
        <p:nvSpPr>
          <p:cNvPr id="7" name="Title 6">
            <a:extLst>
              <a:ext uri="{FF2B5EF4-FFF2-40B4-BE49-F238E27FC236}">
                <a16:creationId xmlns:a16="http://schemas.microsoft.com/office/drawing/2014/main" id="{8CDE7DA5-9A92-4F93-BBFB-9038A22BD94B}"/>
              </a:ext>
            </a:extLst>
          </p:cNvPr>
          <p:cNvSpPr>
            <a:spLocks noGrp="1"/>
          </p:cNvSpPr>
          <p:nvPr>
            <p:ph type="title"/>
          </p:nvPr>
        </p:nvSpPr>
        <p:spPr/>
        <p:txBody>
          <a:bodyPr/>
          <a:lstStyle/>
          <a:p>
            <a:r>
              <a:rPr lang="en-US"/>
              <a:t>Click to edit Master title style</a:t>
            </a:r>
            <a:endParaRPr lang="fr-BE"/>
          </a:p>
        </p:txBody>
      </p:sp>
      <p:sp>
        <p:nvSpPr>
          <p:cNvPr id="8" name="Text Placeholder 8">
            <a:extLst>
              <a:ext uri="{FF2B5EF4-FFF2-40B4-BE49-F238E27FC236}">
                <a16:creationId xmlns:a16="http://schemas.microsoft.com/office/drawing/2014/main" id="{00055830-E091-45C9-8CF3-E6D7B2698A97}"/>
              </a:ext>
            </a:extLst>
          </p:cNvPr>
          <p:cNvSpPr>
            <a:spLocks noGrp="1"/>
          </p:cNvSpPr>
          <p:nvPr>
            <p:ph type="body" sz="quarter" idx="13"/>
          </p:nvPr>
        </p:nvSpPr>
        <p:spPr>
          <a:xfrm>
            <a:off x="371475" y="945479"/>
            <a:ext cx="11449050" cy="360099"/>
          </a:xfrm>
        </p:spPr>
        <p:txBody>
          <a:bodyPr rIns="0">
            <a:spAutoFit/>
          </a:bodyPr>
          <a:lstStyle>
            <a:lvl1pPr marL="0" indent="0">
              <a:buNone/>
              <a:defRPr sz="2600" b="0">
                <a:solidFill>
                  <a:schemeClr val="accent4"/>
                </a:solidFill>
              </a:defRPr>
            </a:lvl1pPr>
          </a:lstStyle>
          <a:p>
            <a:pPr lvl="0"/>
            <a:r>
              <a:rPr lang="en-US"/>
              <a:t>Click to edit Master text styles</a:t>
            </a:r>
          </a:p>
        </p:txBody>
      </p:sp>
      <p:sp>
        <p:nvSpPr>
          <p:cNvPr id="10" name="Text Placeholder 8">
            <a:extLst>
              <a:ext uri="{FF2B5EF4-FFF2-40B4-BE49-F238E27FC236}">
                <a16:creationId xmlns:a16="http://schemas.microsoft.com/office/drawing/2014/main" id="{5FB8D8CF-9A6C-430B-B9AC-A06DEF5A4447}"/>
              </a:ext>
            </a:extLst>
          </p:cNvPr>
          <p:cNvSpPr>
            <a:spLocks noGrp="1"/>
          </p:cNvSpPr>
          <p:nvPr>
            <p:ph type="body" sz="quarter" idx="15" hasCustomPrompt="1"/>
          </p:nvPr>
        </p:nvSpPr>
        <p:spPr>
          <a:xfrm>
            <a:off x="4439816" y="6349531"/>
            <a:ext cx="6120678" cy="153888"/>
          </a:xfrm>
        </p:spPr>
        <p:txBody>
          <a:bodyPr wrap="square" rIns="0" anchor="b">
            <a:spAutoFit/>
          </a:bodyPr>
          <a:lstStyle>
            <a:lvl1pPr marL="0" indent="0" algn="r">
              <a:lnSpc>
                <a:spcPct val="100000"/>
              </a:lnSpc>
              <a:spcBef>
                <a:spcPts val="600"/>
              </a:spcBef>
              <a:buNone/>
              <a:defRPr sz="1000" b="0">
                <a:solidFill>
                  <a:schemeClr val="accent5"/>
                </a:solidFill>
              </a:defRPr>
            </a:lvl1pPr>
          </a:lstStyle>
          <a:p>
            <a:pPr lvl="0"/>
            <a:r>
              <a:rPr lang="en-US"/>
              <a:t>Click to edit Master text styles</a:t>
            </a:r>
            <a:endParaRPr lang="fr-BE"/>
          </a:p>
        </p:txBody>
      </p:sp>
      <p:grpSp>
        <p:nvGrpSpPr>
          <p:cNvPr id="29" name="Groupe 28">
            <a:extLst>
              <a:ext uri="{FF2B5EF4-FFF2-40B4-BE49-F238E27FC236}">
                <a16:creationId xmlns:a16="http://schemas.microsoft.com/office/drawing/2014/main" id="{2689B5EF-61DF-406D-B8B9-60581E02CFD0}"/>
              </a:ext>
            </a:extLst>
          </p:cNvPr>
          <p:cNvGrpSpPr/>
          <p:nvPr userDrawn="1"/>
        </p:nvGrpSpPr>
        <p:grpSpPr>
          <a:xfrm>
            <a:off x="12360696" y="-13072"/>
            <a:ext cx="1885826" cy="1528108"/>
            <a:chOff x="7045594" y="2588002"/>
            <a:chExt cx="1885826" cy="1528108"/>
          </a:xfrm>
        </p:grpSpPr>
        <p:grpSp>
          <p:nvGrpSpPr>
            <p:cNvPr id="30" name="Groupe 29">
              <a:extLst>
                <a:ext uri="{FF2B5EF4-FFF2-40B4-BE49-F238E27FC236}">
                  <a16:creationId xmlns:a16="http://schemas.microsoft.com/office/drawing/2014/main" id="{AEA73054-80CD-4895-B648-A62639BD01E3}"/>
                </a:ext>
              </a:extLst>
            </p:cNvPr>
            <p:cNvGrpSpPr/>
            <p:nvPr/>
          </p:nvGrpSpPr>
          <p:grpSpPr>
            <a:xfrm>
              <a:off x="7045594" y="2588002"/>
              <a:ext cx="1885826" cy="1528108"/>
              <a:chOff x="2689543" y="1651754"/>
              <a:chExt cx="1885826" cy="1528108"/>
            </a:xfrm>
          </p:grpSpPr>
          <p:sp>
            <p:nvSpPr>
              <p:cNvPr id="33" name="Freeform 5">
                <a:extLst>
                  <a:ext uri="{FF2B5EF4-FFF2-40B4-BE49-F238E27FC236}">
                    <a16:creationId xmlns:a16="http://schemas.microsoft.com/office/drawing/2014/main" id="{E30443C0-D531-4806-8761-34A1642D0277}"/>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34" name="Rectangle 33">
                <a:extLst>
                  <a:ext uri="{FF2B5EF4-FFF2-40B4-BE49-F238E27FC236}">
                    <a16:creationId xmlns:a16="http://schemas.microsoft.com/office/drawing/2014/main" id="{4DE21883-F9AD-4A90-9DB4-91F257721F64}"/>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1"/>
                    </a:solidFill>
                    <a:effectLst/>
                    <a:uLnTx/>
                    <a:uFillTx/>
                    <a:latin typeface="+mj-lt"/>
                    <a:ea typeface="+mn-ea"/>
                    <a:cs typeface="+mn-cs"/>
                  </a:rPr>
                  <a:t>To switch from one chip level to another</a:t>
                </a:r>
                <a:r>
                  <a:rPr kumimoji="0" lang="fr-FR" sz="1000" b="1" i="0" u="none" strike="noStrike" kern="1200" cap="none" spc="0" normalizeH="0" baseline="0" noProof="0">
                    <a:ln>
                      <a:noFill/>
                    </a:ln>
                    <a:solidFill>
                      <a:schemeClr val="accent1"/>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ea typeface="+mn-ea"/>
                    <a:cs typeface="+mn-cs"/>
                  </a:rPr>
                  <a:t>Select the desired line and use the tab forward or backward</a:t>
                </a:r>
                <a:endParaRPr kumimoji="0" lang="fr-FR" sz="1000" b="0" i="0" u="none" strike="noStrike" kern="1200" cap="none" spc="0" normalizeH="0" baseline="0" noProof="0">
                  <a:ln>
                    <a:noFill/>
                  </a:ln>
                  <a:solidFill>
                    <a:schemeClr val="tx1"/>
                  </a:solidFill>
                  <a:effectLst/>
                  <a:uLnTx/>
                  <a:uFillTx/>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a:ln>
                    <a:noFill/>
                  </a:ln>
                  <a:solidFill>
                    <a:srgbClr val="595959"/>
                  </a:solidFill>
                  <a:effectLst/>
                  <a:uLnTx/>
                  <a:uFillTx/>
                  <a:latin typeface="+mj-lt"/>
                  <a:ea typeface="+mn-ea"/>
                  <a:cs typeface="+mn-cs"/>
                </a:endParaRPr>
              </a:p>
            </p:txBody>
          </p:sp>
        </p:grpSp>
        <p:pic>
          <p:nvPicPr>
            <p:cNvPr id="31" name="Image 30">
              <a:extLst>
                <a:ext uri="{FF2B5EF4-FFF2-40B4-BE49-F238E27FC236}">
                  <a16:creationId xmlns:a16="http://schemas.microsoft.com/office/drawing/2014/main" id="{AFB45ADA-0D12-47EB-9272-BAA439BEC6A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32" name="Image 31">
              <a:extLst>
                <a:ext uri="{FF2B5EF4-FFF2-40B4-BE49-F238E27FC236}">
                  <a16:creationId xmlns:a16="http://schemas.microsoft.com/office/drawing/2014/main" id="{4C3F8ECF-3D8C-4065-B6A0-0415F006EB57}"/>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Tree>
    <p:extLst>
      <p:ext uri="{BB962C8B-B14F-4D97-AF65-F5344CB8AC3E}">
        <p14:creationId xmlns:p14="http://schemas.microsoft.com/office/powerpoint/2010/main" val="46090908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214DF-A2D0-4053-B49B-BC87FFC1445C}"/>
              </a:ext>
            </a:extLst>
          </p:cNvPr>
          <p:cNvSpPr>
            <a:spLocks noGrp="1"/>
          </p:cNvSpPr>
          <p:nvPr>
            <p:ph type="title"/>
          </p:nvPr>
        </p:nvSpPr>
        <p:spPr/>
        <p:txBody>
          <a:bodyPr/>
          <a:lstStyle/>
          <a:p>
            <a:r>
              <a:rPr lang="en-US"/>
              <a:t>Click to edit Master title style</a:t>
            </a:r>
            <a:endParaRPr lang="fr-BE"/>
          </a:p>
        </p:txBody>
      </p:sp>
      <p:sp>
        <p:nvSpPr>
          <p:cNvPr id="3" name="Content Placeholder 2">
            <a:extLst>
              <a:ext uri="{FF2B5EF4-FFF2-40B4-BE49-F238E27FC236}">
                <a16:creationId xmlns:a16="http://schemas.microsoft.com/office/drawing/2014/main" id="{3C9A1F75-59F6-431D-A818-0ADA69F5FCA0}"/>
              </a:ext>
            </a:extLst>
          </p:cNvPr>
          <p:cNvSpPr>
            <a:spLocks noGrp="1"/>
          </p:cNvSpPr>
          <p:nvPr>
            <p:ph sz="half" idx="1" hasCustomPrompt="1"/>
          </p:nvPr>
        </p:nvSpPr>
        <p:spPr>
          <a:xfrm>
            <a:off x="371475" y="1773239"/>
            <a:ext cx="5648325" cy="4176712"/>
          </a:xfrm>
        </p:spPr>
        <p:txBody>
          <a:bodyPr/>
          <a:lstStyle>
            <a:lvl1pPr marL="92075" indent="-92075">
              <a:buFont typeface="Arial" panose="020B0604020202020204" pitchFamily="34" charset="0"/>
              <a:buChar char=" "/>
              <a:defRPr>
                <a:solidFill>
                  <a:schemeClr val="accent2"/>
                </a:solidFill>
              </a:defRPr>
            </a:lvl1pPr>
            <a:lvl2pPr marL="92075" indent="-92075">
              <a:buFont typeface="Arial" panose="020B0604020202020204" pitchFamily="34" charset="0"/>
              <a:buChar char=" "/>
              <a:defRPr b="0"/>
            </a:lvl2pPr>
            <a:lvl3pPr marL="358775" indent="-174625">
              <a:defRPr/>
            </a:lvl3pPr>
            <a:lvl4pPr marL="625475" indent="-18415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1D6DDA8B-A087-4023-A767-B74332E2F9E2}"/>
              </a:ext>
            </a:extLst>
          </p:cNvPr>
          <p:cNvSpPr>
            <a:spLocks noGrp="1"/>
          </p:cNvSpPr>
          <p:nvPr>
            <p:ph sz="half" idx="2" hasCustomPrompt="1"/>
          </p:nvPr>
        </p:nvSpPr>
        <p:spPr>
          <a:xfrm>
            <a:off x="6172199" y="1773239"/>
            <a:ext cx="5648325" cy="4176712"/>
          </a:xfrm>
        </p:spPr>
        <p:txBody>
          <a:bodyPr/>
          <a:lstStyle>
            <a:lvl1pPr marL="92075" indent="-92075">
              <a:buFont typeface="Arial" panose="020B0604020202020204" pitchFamily="34" charset="0"/>
              <a:buChar char=" "/>
              <a:defRPr/>
            </a:lvl1pPr>
            <a:lvl2pPr marL="92075" indent="-92075">
              <a:buFont typeface="Arial" panose="020B0604020202020204" pitchFamily="34" charset="0"/>
              <a:buChar char=" "/>
              <a:defRPr b="0"/>
            </a:lvl2pPr>
            <a:lvl3pPr marL="358775" indent="-174625">
              <a:defRPr/>
            </a:lvl3pPr>
            <a:lvl4pPr marL="625475" indent="-184150">
              <a:defRPr/>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BA10F0D4-47AA-4ADE-9407-BFDBD35177F2}"/>
              </a:ext>
            </a:extLst>
          </p:cNvPr>
          <p:cNvSpPr>
            <a:spLocks noGrp="1"/>
          </p:cNvSpPr>
          <p:nvPr>
            <p:ph type="ftr" sz="quarter" idx="11"/>
          </p:nvPr>
        </p:nvSpPr>
        <p:spPr>
          <a:xfrm>
            <a:off x="839416" y="6349531"/>
            <a:ext cx="3401588" cy="153888"/>
          </a:xfrm>
        </p:spPr>
        <p:txBody>
          <a:bodyPr/>
          <a:lstStyle/>
          <a:p>
            <a:r>
              <a:rPr lang="fr-BE"/>
              <a:t>Title of the presentation</a:t>
            </a:r>
          </a:p>
        </p:txBody>
      </p:sp>
      <p:sp>
        <p:nvSpPr>
          <p:cNvPr id="7" name="Slide Number Placeholder 6">
            <a:extLst>
              <a:ext uri="{FF2B5EF4-FFF2-40B4-BE49-F238E27FC236}">
                <a16:creationId xmlns:a16="http://schemas.microsoft.com/office/drawing/2014/main" id="{D6939B03-F376-4B08-A705-70E730B64521}"/>
              </a:ext>
            </a:extLst>
          </p:cNvPr>
          <p:cNvSpPr>
            <a:spLocks noGrp="1"/>
          </p:cNvSpPr>
          <p:nvPr>
            <p:ph type="sldNum" sz="quarter" idx="12"/>
          </p:nvPr>
        </p:nvSpPr>
        <p:spPr/>
        <p:txBody>
          <a:bodyPr/>
          <a:lstStyle/>
          <a:p>
            <a:fld id="{820150FD-603F-44AF-ADBB-D2D9D0B3C68D}" type="slidenum">
              <a:rPr lang="fr-BE" smtClean="0"/>
              <a:t>‹#›</a:t>
            </a:fld>
            <a:endParaRPr lang="fr-BE"/>
          </a:p>
        </p:txBody>
      </p:sp>
      <p:sp>
        <p:nvSpPr>
          <p:cNvPr id="8" name="Text Placeholder 8">
            <a:extLst>
              <a:ext uri="{FF2B5EF4-FFF2-40B4-BE49-F238E27FC236}">
                <a16:creationId xmlns:a16="http://schemas.microsoft.com/office/drawing/2014/main" id="{C46D98EF-E579-4ABA-A380-E5E2E6239FDD}"/>
              </a:ext>
            </a:extLst>
          </p:cNvPr>
          <p:cNvSpPr>
            <a:spLocks noGrp="1"/>
          </p:cNvSpPr>
          <p:nvPr>
            <p:ph type="body" sz="quarter" idx="13"/>
          </p:nvPr>
        </p:nvSpPr>
        <p:spPr>
          <a:xfrm>
            <a:off x="371475" y="945479"/>
            <a:ext cx="11449050" cy="360099"/>
          </a:xfrm>
        </p:spPr>
        <p:txBody>
          <a:bodyPr rIns="0">
            <a:spAutoFit/>
          </a:bodyPr>
          <a:lstStyle>
            <a:lvl1pPr marL="0" indent="0">
              <a:buNone/>
              <a:defRPr sz="2600" b="0">
                <a:solidFill>
                  <a:schemeClr val="accent2"/>
                </a:solidFill>
              </a:defRPr>
            </a:lvl1pPr>
          </a:lstStyle>
          <a:p>
            <a:pPr lvl="0"/>
            <a:r>
              <a:rPr lang="en-US"/>
              <a:t>Click to edit Master text styles</a:t>
            </a:r>
          </a:p>
        </p:txBody>
      </p:sp>
      <p:sp>
        <p:nvSpPr>
          <p:cNvPr id="10" name="Text Placeholder 8">
            <a:extLst>
              <a:ext uri="{FF2B5EF4-FFF2-40B4-BE49-F238E27FC236}">
                <a16:creationId xmlns:a16="http://schemas.microsoft.com/office/drawing/2014/main" id="{189FFE1C-BB8B-4123-AE10-23DDFE17429E}"/>
              </a:ext>
            </a:extLst>
          </p:cNvPr>
          <p:cNvSpPr>
            <a:spLocks noGrp="1"/>
          </p:cNvSpPr>
          <p:nvPr>
            <p:ph type="body" sz="quarter" idx="15" hasCustomPrompt="1"/>
          </p:nvPr>
        </p:nvSpPr>
        <p:spPr>
          <a:xfrm>
            <a:off x="4439816" y="6349531"/>
            <a:ext cx="6120678" cy="153888"/>
          </a:xfrm>
        </p:spPr>
        <p:txBody>
          <a:bodyPr wrap="square" rIns="0" anchor="b">
            <a:spAutoFit/>
          </a:bodyPr>
          <a:lstStyle>
            <a:lvl1pPr marL="0" indent="0" algn="r">
              <a:lnSpc>
                <a:spcPct val="100000"/>
              </a:lnSpc>
              <a:spcBef>
                <a:spcPts val="600"/>
              </a:spcBef>
              <a:buNone/>
              <a:defRPr sz="1000" b="0">
                <a:solidFill>
                  <a:schemeClr val="accent5"/>
                </a:solidFill>
              </a:defRPr>
            </a:lvl1pPr>
          </a:lstStyle>
          <a:p>
            <a:pPr lvl="0"/>
            <a:r>
              <a:rPr lang="en-US"/>
              <a:t>Click to edit Master text styles</a:t>
            </a:r>
            <a:endParaRPr lang="fr-BE"/>
          </a:p>
        </p:txBody>
      </p:sp>
      <p:grpSp>
        <p:nvGrpSpPr>
          <p:cNvPr id="17" name="Groupe 16">
            <a:extLst>
              <a:ext uri="{FF2B5EF4-FFF2-40B4-BE49-F238E27FC236}">
                <a16:creationId xmlns:a16="http://schemas.microsoft.com/office/drawing/2014/main" id="{AD6114CC-E790-450A-BBBC-7BFDD336AE07}"/>
              </a:ext>
            </a:extLst>
          </p:cNvPr>
          <p:cNvGrpSpPr/>
          <p:nvPr userDrawn="1"/>
        </p:nvGrpSpPr>
        <p:grpSpPr>
          <a:xfrm>
            <a:off x="12360696" y="-13072"/>
            <a:ext cx="1885826" cy="1528108"/>
            <a:chOff x="7045594" y="2588002"/>
            <a:chExt cx="1885826" cy="1528108"/>
          </a:xfrm>
        </p:grpSpPr>
        <p:grpSp>
          <p:nvGrpSpPr>
            <p:cNvPr id="18" name="Groupe 17">
              <a:extLst>
                <a:ext uri="{FF2B5EF4-FFF2-40B4-BE49-F238E27FC236}">
                  <a16:creationId xmlns:a16="http://schemas.microsoft.com/office/drawing/2014/main" id="{36F09C0E-2BE4-4B69-B1F1-236FF319CFC2}"/>
                </a:ext>
              </a:extLst>
            </p:cNvPr>
            <p:cNvGrpSpPr/>
            <p:nvPr/>
          </p:nvGrpSpPr>
          <p:grpSpPr>
            <a:xfrm>
              <a:off x="7045594" y="2588002"/>
              <a:ext cx="1885826" cy="1528108"/>
              <a:chOff x="2689543" y="1651754"/>
              <a:chExt cx="1885826" cy="1528108"/>
            </a:xfrm>
          </p:grpSpPr>
          <p:sp>
            <p:nvSpPr>
              <p:cNvPr id="21" name="Freeform 5">
                <a:extLst>
                  <a:ext uri="{FF2B5EF4-FFF2-40B4-BE49-F238E27FC236}">
                    <a16:creationId xmlns:a16="http://schemas.microsoft.com/office/drawing/2014/main" id="{DBCBBE7F-A828-410B-B397-D0FEA4F303E8}"/>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22" name="Rectangle 21">
                <a:extLst>
                  <a:ext uri="{FF2B5EF4-FFF2-40B4-BE49-F238E27FC236}">
                    <a16:creationId xmlns:a16="http://schemas.microsoft.com/office/drawing/2014/main" id="{88884391-9B95-49DD-86CD-9BE969BC02D2}"/>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1"/>
                    </a:solidFill>
                    <a:effectLst/>
                    <a:uLnTx/>
                    <a:uFillTx/>
                    <a:latin typeface="+mj-lt"/>
                    <a:ea typeface="+mn-ea"/>
                    <a:cs typeface="+mn-cs"/>
                  </a:rPr>
                  <a:t>To switch from one chip level to another</a:t>
                </a:r>
                <a:r>
                  <a:rPr kumimoji="0" lang="fr-FR" sz="1000" b="1" i="0" u="none" strike="noStrike" kern="1200" cap="none" spc="0" normalizeH="0" baseline="0" noProof="0">
                    <a:ln>
                      <a:noFill/>
                    </a:ln>
                    <a:solidFill>
                      <a:schemeClr val="accent1"/>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ea typeface="+mn-ea"/>
                    <a:cs typeface="+mn-cs"/>
                  </a:rPr>
                  <a:t>Select the desired line and use the tab forward or backward</a:t>
                </a:r>
                <a:endParaRPr kumimoji="0" lang="fr-FR" sz="1000" b="0" i="0" u="none" strike="noStrike" kern="1200" cap="none" spc="0" normalizeH="0" baseline="0" noProof="0">
                  <a:ln>
                    <a:noFill/>
                  </a:ln>
                  <a:solidFill>
                    <a:schemeClr val="tx1"/>
                  </a:solidFill>
                  <a:effectLst/>
                  <a:uLnTx/>
                  <a:uFillTx/>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a:ln>
                    <a:noFill/>
                  </a:ln>
                  <a:solidFill>
                    <a:srgbClr val="595959"/>
                  </a:solidFill>
                  <a:effectLst/>
                  <a:uLnTx/>
                  <a:uFillTx/>
                  <a:latin typeface="+mj-lt"/>
                  <a:ea typeface="+mn-ea"/>
                  <a:cs typeface="+mn-cs"/>
                </a:endParaRPr>
              </a:p>
            </p:txBody>
          </p:sp>
        </p:grpSp>
        <p:pic>
          <p:nvPicPr>
            <p:cNvPr id="19" name="Image 18">
              <a:extLst>
                <a:ext uri="{FF2B5EF4-FFF2-40B4-BE49-F238E27FC236}">
                  <a16:creationId xmlns:a16="http://schemas.microsoft.com/office/drawing/2014/main" id="{6054286A-2946-48C9-812B-7DC0F93F228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20" name="Image 19">
              <a:extLst>
                <a:ext uri="{FF2B5EF4-FFF2-40B4-BE49-F238E27FC236}">
                  <a16:creationId xmlns:a16="http://schemas.microsoft.com/office/drawing/2014/main" id="{73D6DA7D-B513-4520-BFBE-24987B9E884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Tree>
    <p:extLst>
      <p:ext uri="{BB962C8B-B14F-4D97-AF65-F5344CB8AC3E}">
        <p14:creationId xmlns:p14="http://schemas.microsoft.com/office/powerpoint/2010/main" val="29684693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ntent + Introduc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1214DF-A2D0-4053-B49B-BC87FFC1445C}"/>
              </a:ext>
            </a:extLst>
          </p:cNvPr>
          <p:cNvSpPr>
            <a:spLocks noGrp="1"/>
          </p:cNvSpPr>
          <p:nvPr>
            <p:ph type="title"/>
          </p:nvPr>
        </p:nvSpPr>
        <p:spPr/>
        <p:txBody>
          <a:bodyPr/>
          <a:lstStyle/>
          <a:p>
            <a:r>
              <a:rPr lang="en-US"/>
              <a:t>Click to edit Master title style</a:t>
            </a:r>
            <a:endParaRPr lang="fr-BE"/>
          </a:p>
        </p:txBody>
      </p:sp>
      <p:sp>
        <p:nvSpPr>
          <p:cNvPr id="3" name="Content Placeholder 2">
            <a:extLst>
              <a:ext uri="{FF2B5EF4-FFF2-40B4-BE49-F238E27FC236}">
                <a16:creationId xmlns:a16="http://schemas.microsoft.com/office/drawing/2014/main" id="{3C9A1F75-59F6-431D-A818-0ADA69F5FCA0}"/>
              </a:ext>
            </a:extLst>
          </p:cNvPr>
          <p:cNvSpPr>
            <a:spLocks noGrp="1"/>
          </p:cNvSpPr>
          <p:nvPr>
            <p:ph sz="half" idx="1" hasCustomPrompt="1"/>
          </p:nvPr>
        </p:nvSpPr>
        <p:spPr>
          <a:xfrm>
            <a:off x="371475" y="3068960"/>
            <a:ext cx="5648325" cy="2880990"/>
          </a:xfrm>
        </p:spPr>
        <p:txBody>
          <a:bodyPr/>
          <a:lstStyle>
            <a:lvl1pPr marL="92075" indent="-92075">
              <a:buFont typeface="Arial" panose="020B0604020202020204" pitchFamily="34" charset="0"/>
              <a:buChar char=" "/>
              <a:defRPr sz="2000">
                <a:solidFill>
                  <a:schemeClr val="accent2"/>
                </a:solidFill>
              </a:defRPr>
            </a:lvl1pPr>
            <a:lvl2pPr marL="92075" indent="-92075">
              <a:spcBef>
                <a:spcPts val="0"/>
              </a:spcBef>
              <a:buFont typeface="Arial" panose="020B0604020202020204" pitchFamily="34" charset="0"/>
              <a:buChar char=" "/>
              <a:defRPr sz="1600" b="0"/>
            </a:lvl2pPr>
            <a:lvl3pPr marL="358775" indent="-174625">
              <a:spcBef>
                <a:spcPts val="600"/>
              </a:spcBef>
              <a:defRPr sz="1400"/>
            </a:lvl3pPr>
            <a:lvl4pPr marL="625475" indent="-184150">
              <a:spcBef>
                <a:spcPts val="600"/>
              </a:spcBef>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a:extLst>
              <a:ext uri="{FF2B5EF4-FFF2-40B4-BE49-F238E27FC236}">
                <a16:creationId xmlns:a16="http://schemas.microsoft.com/office/drawing/2014/main" id="{1D6DDA8B-A087-4023-A767-B74332E2F9E2}"/>
              </a:ext>
            </a:extLst>
          </p:cNvPr>
          <p:cNvSpPr>
            <a:spLocks noGrp="1"/>
          </p:cNvSpPr>
          <p:nvPr>
            <p:ph sz="half" idx="2" hasCustomPrompt="1"/>
          </p:nvPr>
        </p:nvSpPr>
        <p:spPr>
          <a:xfrm>
            <a:off x="6172199" y="3068960"/>
            <a:ext cx="5648325" cy="2880990"/>
          </a:xfrm>
        </p:spPr>
        <p:txBody>
          <a:bodyPr/>
          <a:lstStyle>
            <a:lvl1pPr marL="92075" indent="-92075">
              <a:buFont typeface="Arial" panose="020B0604020202020204" pitchFamily="34" charset="0"/>
              <a:buChar char=" "/>
              <a:defRPr sz="2000">
                <a:solidFill>
                  <a:schemeClr val="accent4"/>
                </a:solidFill>
              </a:defRPr>
            </a:lvl1pPr>
            <a:lvl2pPr marL="92075" indent="-92075">
              <a:spcBef>
                <a:spcPts val="0"/>
              </a:spcBef>
              <a:buFont typeface="Arial" panose="020B0604020202020204" pitchFamily="34" charset="0"/>
              <a:buChar char=" "/>
              <a:defRPr sz="1600" b="0"/>
            </a:lvl2pPr>
            <a:lvl3pPr>
              <a:spcBef>
                <a:spcPts val="600"/>
              </a:spcBef>
              <a:defRPr sz="1400"/>
            </a:lvl3pPr>
            <a:lvl4pPr>
              <a:spcBef>
                <a:spcPts val="600"/>
              </a:spcBef>
              <a:defRPr sz="1200"/>
            </a:lvl4pPr>
          </a:lstStyle>
          <a:p>
            <a:pPr lvl="0"/>
            <a:r>
              <a:rPr lang="en-US"/>
              <a:t>Click to edit Master text styles</a:t>
            </a:r>
          </a:p>
          <a:p>
            <a:pPr lvl="1"/>
            <a:r>
              <a:rPr lang="en-US"/>
              <a:t>Second level</a:t>
            </a:r>
          </a:p>
          <a:p>
            <a:pPr lvl="2"/>
            <a:r>
              <a:rPr lang="en-US"/>
              <a:t>Third level</a:t>
            </a:r>
          </a:p>
          <a:p>
            <a:pPr lvl="3"/>
            <a:r>
              <a:rPr lang="en-US"/>
              <a:t>Fourth level</a:t>
            </a:r>
          </a:p>
        </p:txBody>
      </p:sp>
      <p:sp>
        <p:nvSpPr>
          <p:cNvPr id="6" name="Footer Placeholder 5">
            <a:extLst>
              <a:ext uri="{FF2B5EF4-FFF2-40B4-BE49-F238E27FC236}">
                <a16:creationId xmlns:a16="http://schemas.microsoft.com/office/drawing/2014/main" id="{BA10F0D4-47AA-4ADE-9407-BFDBD35177F2}"/>
              </a:ext>
            </a:extLst>
          </p:cNvPr>
          <p:cNvSpPr>
            <a:spLocks noGrp="1"/>
          </p:cNvSpPr>
          <p:nvPr>
            <p:ph type="ftr" sz="quarter" idx="11"/>
          </p:nvPr>
        </p:nvSpPr>
        <p:spPr>
          <a:xfrm>
            <a:off x="839416" y="6349531"/>
            <a:ext cx="3401588" cy="153888"/>
          </a:xfrm>
        </p:spPr>
        <p:txBody>
          <a:bodyPr/>
          <a:lstStyle/>
          <a:p>
            <a:r>
              <a:rPr lang="fr-BE"/>
              <a:t>Title of the presentation</a:t>
            </a:r>
          </a:p>
        </p:txBody>
      </p:sp>
      <p:sp>
        <p:nvSpPr>
          <p:cNvPr id="7" name="Slide Number Placeholder 6">
            <a:extLst>
              <a:ext uri="{FF2B5EF4-FFF2-40B4-BE49-F238E27FC236}">
                <a16:creationId xmlns:a16="http://schemas.microsoft.com/office/drawing/2014/main" id="{D6939B03-F376-4B08-A705-70E730B64521}"/>
              </a:ext>
            </a:extLst>
          </p:cNvPr>
          <p:cNvSpPr>
            <a:spLocks noGrp="1"/>
          </p:cNvSpPr>
          <p:nvPr>
            <p:ph type="sldNum" sz="quarter" idx="12"/>
          </p:nvPr>
        </p:nvSpPr>
        <p:spPr/>
        <p:txBody>
          <a:bodyPr/>
          <a:lstStyle/>
          <a:p>
            <a:fld id="{820150FD-603F-44AF-ADBB-D2D9D0B3C68D}" type="slidenum">
              <a:rPr lang="fr-BE" smtClean="0"/>
              <a:t>‹#›</a:t>
            </a:fld>
            <a:endParaRPr lang="fr-BE"/>
          </a:p>
        </p:txBody>
      </p:sp>
      <p:sp>
        <p:nvSpPr>
          <p:cNvPr id="8" name="Text Placeholder 8">
            <a:extLst>
              <a:ext uri="{FF2B5EF4-FFF2-40B4-BE49-F238E27FC236}">
                <a16:creationId xmlns:a16="http://schemas.microsoft.com/office/drawing/2014/main" id="{ACBC1D7A-ADEC-46B5-8CB2-EA4808E53072}"/>
              </a:ext>
            </a:extLst>
          </p:cNvPr>
          <p:cNvSpPr>
            <a:spLocks noGrp="1"/>
          </p:cNvSpPr>
          <p:nvPr>
            <p:ph type="body" sz="quarter" idx="13"/>
          </p:nvPr>
        </p:nvSpPr>
        <p:spPr>
          <a:xfrm>
            <a:off x="371475" y="945479"/>
            <a:ext cx="11449050" cy="360099"/>
          </a:xfrm>
        </p:spPr>
        <p:txBody>
          <a:bodyPr rIns="0">
            <a:spAutoFit/>
          </a:bodyPr>
          <a:lstStyle>
            <a:lvl1pPr marL="0" indent="0">
              <a:buNone/>
              <a:defRPr sz="2600" b="0">
                <a:solidFill>
                  <a:schemeClr val="accent1"/>
                </a:solidFill>
              </a:defRPr>
            </a:lvl1pPr>
          </a:lstStyle>
          <a:p>
            <a:pPr lvl="0"/>
            <a:r>
              <a:rPr lang="en-US"/>
              <a:t>Click to edit Master text styles</a:t>
            </a:r>
          </a:p>
        </p:txBody>
      </p:sp>
      <p:sp>
        <p:nvSpPr>
          <p:cNvPr id="12" name="Content Placeholder 2">
            <a:extLst>
              <a:ext uri="{FF2B5EF4-FFF2-40B4-BE49-F238E27FC236}">
                <a16:creationId xmlns:a16="http://schemas.microsoft.com/office/drawing/2014/main" id="{FA5EBD73-7B9A-40F2-8A41-51366F1CE4A0}"/>
              </a:ext>
            </a:extLst>
          </p:cNvPr>
          <p:cNvSpPr>
            <a:spLocks noGrp="1"/>
          </p:cNvSpPr>
          <p:nvPr>
            <p:ph idx="15" hasCustomPrompt="1"/>
          </p:nvPr>
        </p:nvSpPr>
        <p:spPr>
          <a:xfrm>
            <a:off x="371475" y="1772816"/>
            <a:ext cx="11449049" cy="1152128"/>
          </a:xfrm>
        </p:spPr>
        <p:txBody>
          <a:bodyPr/>
          <a:lstStyle>
            <a:lvl1pPr marL="0" indent="0">
              <a:buFont typeface="Arial" panose="020B0604020202020204" pitchFamily="34" charset="0"/>
              <a:buNone/>
              <a:defRPr sz="2000" b="0">
                <a:solidFill>
                  <a:schemeClr val="tx1"/>
                </a:solidFill>
              </a:defRPr>
            </a:lvl1pPr>
            <a:lvl2pPr marL="266700" indent="0">
              <a:buNone/>
              <a:defRPr/>
            </a:lvl2pPr>
            <a:lvl3pPr marL="450850" indent="0">
              <a:buNone/>
              <a:defRPr/>
            </a:lvl3pPr>
          </a:lstStyle>
          <a:p>
            <a:pPr lvl="0"/>
            <a:r>
              <a:rPr lang="en-US"/>
              <a:t>Click to edit Master text styles</a:t>
            </a:r>
          </a:p>
        </p:txBody>
      </p:sp>
      <p:sp>
        <p:nvSpPr>
          <p:cNvPr id="10" name="Text Placeholder 8">
            <a:extLst>
              <a:ext uri="{FF2B5EF4-FFF2-40B4-BE49-F238E27FC236}">
                <a16:creationId xmlns:a16="http://schemas.microsoft.com/office/drawing/2014/main" id="{26F4AA27-DF94-4FD7-990C-75E905FCCB82}"/>
              </a:ext>
            </a:extLst>
          </p:cNvPr>
          <p:cNvSpPr>
            <a:spLocks noGrp="1"/>
          </p:cNvSpPr>
          <p:nvPr>
            <p:ph type="body" sz="quarter" idx="16" hasCustomPrompt="1"/>
          </p:nvPr>
        </p:nvSpPr>
        <p:spPr>
          <a:xfrm>
            <a:off x="4439816" y="6349531"/>
            <a:ext cx="6120678" cy="153888"/>
          </a:xfrm>
        </p:spPr>
        <p:txBody>
          <a:bodyPr wrap="square" rIns="0" anchor="b">
            <a:spAutoFit/>
          </a:bodyPr>
          <a:lstStyle>
            <a:lvl1pPr marL="0" indent="0" algn="r">
              <a:lnSpc>
                <a:spcPct val="100000"/>
              </a:lnSpc>
              <a:spcBef>
                <a:spcPts val="600"/>
              </a:spcBef>
              <a:buNone/>
              <a:defRPr sz="1000" b="0">
                <a:solidFill>
                  <a:schemeClr val="accent5"/>
                </a:solidFill>
              </a:defRPr>
            </a:lvl1pPr>
          </a:lstStyle>
          <a:p>
            <a:pPr lvl="0"/>
            <a:r>
              <a:rPr lang="en-US"/>
              <a:t>Click to edit Master text styles</a:t>
            </a:r>
            <a:endParaRPr lang="fr-BE"/>
          </a:p>
        </p:txBody>
      </p:sp>
      <p:grpSp>
        <p:nvGrpSpPr>
          <p:cNvPr id="18" name="Groupe 17">
            <a:extLst>
              <a:ext uri="{FF2B5EF4-FFF2-40B4-BE49-F238E27FC236}">
                <a16:creationId xmlns:a16="http://schemas.microsoft.com/office/drawing/2014/main" id="{FFE1C9BE-78B4-43C7-BAF2-38A8D584E89A}"/>
              </a:ext>
            </a:extLst>
          </p:cNvPr>
          <p:cNvGrpSpPr/>
          <p:nvPr userDrawn="1"/>
        </p:nvGrpSpPr>
        <p:grpSpPr>
          <a:xfrm>
            <a:off x="12360696" y="-13072"/>
            <a:ext cx="1885826" cy="1528108"/>
            <a:chOff x="7045594" y="2588002"/>
            <a:chExt cx="1885826" cy="1528108"/>
          </a:xfrm>
        </p:grpSpPr>
        <p:grpSp>
          <p:nvGrpSpPr>
            <p:cNvPr id="19" name="Groupe 18">
              <a:extLst>
                <a:ext uri="{FF2B5EF4-FFF2-40B4-BE49-F238E27FC236}">
                  <a16:creationId xmlns:a16="http://schemas.microsoft.com/office/drawing/2014/main" id="{E2F81BD0-87FE-49E4-AAF0-B47F7C8AF2E2}"/>
                </a:ext>
              </a:extLst>
            </p:cNvPr>
            <p:cNvGrpSpPr/>
            <p:nvPr/>
          </p:nvGrpSpPr>
          <p:grpSpPr>
            <a:xfrm>
              <a:off x="7045594" y="2588002"/>
              <a:ext cx="1885826" cy="1528108"/>
              <a:chOff x="2689543" y="1651754"/>
              <a:chExt cx="1885826" cy="1528108"/>
            </a:xfrm>
          </p:grpSpPr>
          <p:sp>
            <p:nvSpPr>
              <p:cNvPr id="22" name="Freeform 5">
                <a:extLst>
                  <a:ext uri="{FF2B5EF4-FFF2-40B4-BE49-F238E27FC236}">
                    <a16:creationId xmlns:a16="http://schemas.microsoft.com/office/drawing/2014/main" id="{C30B2603-60D6-40B8-86DD-7787C8145C59}"/>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23" name="Rectangle 22">
                <a:extLst>
                  <a:ext uri="{FF2B5EF4-FFF2-40B4-BE49-F238E27FC236}">
                    <a16:creationId xmlns:a16="http://schemas.microsoft.com/office/drawing/2014/main" id="{063EF20E-CB83-426E-A64E-4138DB3F1F77}"/>
                  </a:ext>
                </a:extLst>
              </p:cNvPr>
              <p:cNvSpPr/>
              <p:nvPr/>
            </p:nvSpPr>
            <p:spPr>
              <a:xfrm>
                <a:off x="2689543"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chemeClr val="accent1"/>
                    </a:solidFill>
                    <a:effectLst/>
                    <a:uLnTx/>
                    <a:uFillTx/>
                    <a:latin typeface="+mj-lt"/>
                    <a:ea typeface="+mn-ea"/>
                    <a:cs typeface="+mn-cs"/>
                  </a:rPr>
                  <a:t>To switch from one chip level to another</a:t>
                </a:r>
                <a:r>
                  <a:rPr kumimoji="0" lang="fr-FR" sz="1000" b="1" i="0" u="none" strike="noStrike" kern="1200" cap="none" spc="0" normalizeH="0" baseline="0" noProof="0">
                    <a:ln>
                      <a:noFill/>
                    </a:ln>
                    <a:solidFill>
                      <a:schemeClr val="accent1"/>
                    </a:solidFill>
                    <a:effectLst/>
                    <a:uLnTx/>
                    <a:uFillTx/>
                    <a:latin typeface="+mj-lt"/>
                    <a:ea typeface="+mn-ea"/>
                    <a:cs typeface="+mn-cs"/>
                  </a:rPr>
                  <a:t>:</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chemeClr val="tx1"/>
                    </a:solidFill>
                    <a:effectLst/>
                    <a:uLnTx/>
                    <a:uFillTx/>
                    <a:ea typeface="+mn-ea"/>
                    <a:cs typeface="+mn-cs"/>
                  </a:rPr>
                  <a:t>Select the desired line and use the tab forward or backward</a:t>
                </a:r>
                <a:endParaRPr kumimoji="0" lang="fr-FR" sz="1000" b="0" i="0" u="none" strike="noStrike" kern="1200" cap="none" spc="0" normalizeH="0" baseline="0" noProof="0">
                  <a:ln>
                    <a:noFill/>
                  </a:ln>
                  <a:solidFill>
                    <a:schemeClr val="tx1"/>
                  </a:solidFill>
                  <a:effectLst/>
                  <a:uLnTx/>
                  <a:uFillTx/>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a:ln>
                    <a:noFill/>
                  </a:ln>
                  <a:solidFill>
                    <a:srgbClr val="595959"/>
                  </a:solidFill>
                  <a:effectLst/>
                  <a:uLnTx/>
                  <a:uFillTx/>
                  <a:latin typeface="+mj-lt"/>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r-FR" sz="1000" b="0" i="0" u="none" strike="noStrike" kern="1200" cap="none" spc="0" normalizeH="0" baseline="0" noProof="0">
                  <a:ln>
                    <a:noFill/>
                  </a:ln>
                  <a:solidFill>
                    <a:srgbClr val="595959"/>
                  </a:solidFill>
                  <a:effectLst/>
                  <a:uLnTx/>
                  <a:uFillTx/>
                  <a:latin typeface="+mj-lt"/>
                  <a:ea typeface="+mn-ea"/>
                  <a:cs typeface="+mn-cs"/>
                </a:endParaRPr>
              </a:p>
            </p:txBody>
          </p:sp>
        </p:grpSp>
        <p:pic>
          <p:nvPicPr>
            <p:cNvPr id="20" name="Image 19">
              <a:extLst>
                <a:ext uri="{FF2B5EF4-FFF2-40B4-BE49-F238E27FC236}">
                  <a16:creationId xmlns:a16="http://schemas.microsoft.com/office/drawing/2014/main" id="{0504BD63-8119-42F9-AF5E-ED1597241B5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7302328" y="3836030"/>
              <a:ext cx="180768" cy="199216"/>
            </a:xfrm>
            <a:prstGeom prst="rect">
              <a:avLst/>
            </a:prstGeom>
          </p:spPr>
        </p:pic>
        <p:pic>
          <p:nvPicPr>
            <p:cNvPr id="21" name="Image 20">
              <a:extLst>
                <a:ext uri="{FF2B5EF4-FFF2-40B4-BE49-F238E27FC236}">
                  <a16:creationId xmlns:a16="http://schemas.microsoft.com/office/drawing/2014/main" id="{FD41B495-3ACC-433A-A8E7-D23B9E43E44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7567210" y="3836030"/>
              <a:ext cx="180768" cy="199216"/>
            </a:xfrm>
            <a:prstGeom prst="rect">
              <a:avLst/>
            </a:prstGeom>
          </p:spPr>
        </p:pic>
      </p:grpSp>
    </p:spTree>
    <p:extLst>
      <p:ext uri="{BB962C8B-B14F-4D97-AF65-F5344CB8AC3E}">
        <p14:creationId xmlns:p14="http://schemas.microsoft.com/office/powerpoint/2010/main" val="24910520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1F4164-B301-4999-8DFA-818A045F8D5E}"/>
              </a:ext>
            </a:extLst>
          </p:cNvPr>
          <p:cNvSpPr>
            <a:spLocks noGrp="1"/>
          </p:cNvSpPr>
          <p:nvPr>
            <p:ph type="title"/>
          </p:nvPr>
        </p:nvSpPr>
        <p:spPr/>
        <p:txBody>
          <a:bodyPr/>
          <a:lstStyle/>
          <a:p>
            <a:r>
              <a:rPr lang="en-US"/>
              <a:t>Click to edit Master title style</a:t>
            </a:r>
            <a:endParaRPr lang="fr-BE"/>
          </a:p>
        </p:txBody>
      </p:sp>
      <p:sp>
        <p:nvSpPr>
          <p:cNvPr id="6" name="Text Placeholder 8">
            <a:extLst>
              <a:ext uri="{FF2B5EF4-FFF2-40B4-BE49-F238E27FC236}">
                <a16:creationId xmlns:a16="http://schemas.microsoft.com/office/drawing/2014/main" id="{31D361BA-7821-4C75-B394-FBD57EE41350}"/>
              </a:ext>
            </a:extLst>
          </p:cNvPr>
          <p:cNvSpPr>
            <a:spLocks noGrp="1"/>
          </p:cNvSpPr>
          <p:nvPr>
            <p:ph type="body" sz="quarter" idx="13"/>
          </p:nvPr>
        </p:nvSpPr>
        <p:spPr>
          <a:xfrm>
            <a:off x="371475" y="945479"/>
            <a:ext cx="11449050" cy="360099"/>
          </a:xfrm>
        </p:spPr>
        <p:txBody>
          <a:bodyPr rIns="0">
            <a:spAutoFit/>
          </a:bodyPr>
          <a:lstStyle>
            <a:lvl1pPr marL="0" indent="0">
              <a:buNone/>
              <a:defRPr sz="2600" b="0">
                <a:solidFill>
                  <a:schemeClr val="accent1"/>
                </a:solidFill>
              </a:defRPr>
            </a:lvl1pPr>
          </a:lstStyle>
          <a:p>
            <a:pPr lvl="0"/>
            <a:r>
              <a:rPr lang="en-US"/>
              <a:t>Click to edit Master text styles</a:t>
            </a:r>
          </a:p>
        </p:txBody>
      </p:sp>
      <p:sp>
        <p:nvSpPr>
          <p:cNvPr id="9" name="Text Placeholder 8">
            <a:extLst>
              <a:ext uri="{FF2B5EF4-FFF2-40B4-BE49-F238E27FC236}">
                <a16:creationId xmlns:a16="http://schemas.microsoft.com/office/drawing/2014/main" id="{1CAC3E42-84C2-42A6-BD72-541D85A84E55}"/>
              </a:ext>
            </a:extLst>
          </p:cNvPr>
          <p:cNvSpPr>
            <a:spLocks noGrp="1"/>
          </p:cNvSpPr>
          <p:nvPr>
            <p:ph type="body" sz="quarter" idx="15" hasCustomPrompt="1"/>
          </p:nvPr>
        </p:nvSpPr>
        <p:spPr>
          <a:xfrm>
            <a:off x="4439816" y="6349531"/>
            <a:ext cx="6120678" cy="153888"/>
          </a:xfrm>
        </p:spPr>
        <p:txBody>
          <a:bodyPr wrap="square" rIns="0" anchor="b">
            <a:spAutoFit/>
          </a:bodyPr>
          <a:lstStyle>
            <a:lvl1pPr marL="0" indent="0" algn="r">
              <a:lnSpc>
                <a:spcPct val="100000"/>
              </a:lnSpc>
              <a:spcBef>
                <a:spcPts val="600"/>
              </a:spcBef>
              <a:buNone/>
              <a:defRPr sz="1000" b="0">
                <a:solidFill>
                  <a:schemeClr val="accent5"/>
                </a:solidFill>
              </a:defRPr>
            </a:lvl1pPr>
          </a:lstStyle>
          <a:p>
            <a:pPr lvl="0"/>
            <a:r>
              <a:rPr lang="en-US"/>
              <a:t>Click to edit Master text styles</a:t>
            </a:r>
            <a:endParaRPr lang="fr-BE"/>
          </a:p>
        </p:txBody>
      </p:sp>
      <p:sp>
        <p:nvSpPr>
          <p:cNvPr id="3" name="Footer Placeholder 2">
            <a:extLst>
              <a:ext uri="{FF2B5EF4-FFF2-40B4-BE49-F238E27FC236}">
                <a16:creationId xmlns:a16="http://schemas.microsoft.com/office/drawing/2014/main" id="{2A47D029-4419-4E0D-BECD-98E9310E64FB}"/>
              </a:ext>
            </a:extLst>
          </p:cNvPr>
          <p:cNvSpPr>
            <a:spLocks noGrp="1"/>
          </p:cNvSpPr>
          <p:nvPr>
            <p:ph type="ftr" sz="quarter" idx="16"/>
          </p:nvPr>
        </p:nvSpPr>
        <p:spPr>
          <a:xfrm>
            <a:off x="839416" y="6349531"/>
            <a:ext cx="3401588" cy="153888"/>
          </a:xfrm>
        </p:spPr>
        <p:txBody>
          <a:bodyPr/>
          <a:lstStyle/>
          <a:p>
            <a:r>
              <a:rPr lang="fr-BE"/>
              <a:t>Title of the presentation</a:t>
            </a:r>
          </a:p>
        </p:txBody>
      </p:sp>
      <p:sp>
        <p:nvSpPr>
          <p:cNvPr id="12" name="Slide Number Placeholder 11">
            <a:extLst>
              <a:ext uri="{FF2B5EF4-FFF2-40B4-BE49-F238E27FC236}">
                <a16:creationId xmlns:a16="http://schemas.microsoft.com/office/drawing/2014/main" id="{41E723B8-3279-4C86-97F0-4FEE73281CA7}"/>
              </a:ext>
            </a:extLst>
          </p:cNvPr>
          <p:cNvSpPr>
            <a:spLocks noGrp="1"/>
          </p:cNvSpPr>
          <p:nvPr>
            <p:ph type="sldNum" sz="quarter" idx="17"/>
          </p:nvPr>
        </p:nvSpPr>
        <p:spPr/>
        <p:txBody>
          <a:bodyPr/>
          <a:lstStyle/>
          <a:p>
            <a:fld id="{820150FD-603F-44AF-ADBB-D2D9D0B3C68D}" type="slidenum">
              <a:rPr lang="fr-BE" smtClean="0"/>
              <a:pPr/>
              <a:t>‹#›</a:t>
            </a:fld>
            <a:endParaRPr lang="fr-BE"/>
          </a:p>
        </p:txBody>
      </p:sp>
      <p:grpSp>
        <p:nvGrpSpPr>
          <p:cNvPr id="16" name="Groupe 15">
            <a:extLst>
              <a:ext uri="{FF2B5EF4-FFF2-40B4-BE49-F238E27FC236}">
                <a16:creationId xmlns:a16="http://schemas.microsoft.com/office/drawing/2014/main" id="{B050F612-DE14-499A-88E5-08BE850D0C08}"/>
              </a:ext>
            </a:extLst>
          </p:cNvPr>
          <p:cNvGrpSpPr/>
          <p:nvPr userDrawn="1"/>
        </p:nvGrpSpPr>
        <p:grpSpPr>
          <a:xfrm>
            <a:off x="-2112912" y="-5836"/>
            <a:ext cx="1885826" cy="1835885"/>
            <a:chOff x="2689543" y="1651754"/>
            <a:chExt cx="1885826" cy="1835885"/>
          </a:xfrm>
        </p:grpSpPr>
        <p:sp>
          <p:nvSpPr>
            <p:cNvPr id="17" name="Freeform 5">
              <a:extLst>
                <a:ext uri="{FF2B5EF4-FFF2-40B4-BE49-F238E27FC236}">
                  <a16:creationId xmlns:a16="http://schemas.microsoft.com/office/drawing/2014/main" id="{1B01FCB2-9C34-4C4D-8167-5EFE2F191DDF}"/>
                </a:ext>
              </a:extLst>
            </p:cNvPr>
            <p:cNvSpPr>
              <a:spLocks noEditPoints="1"/>
            </p:cNvSpPr>
            <p:nvPr/>
          </p:nvSpPr>
          <p:spPr bwMode="auto">
            <a:xfrm>
              <a:off x="3419731"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8" name="Rectangle 17">
              <a:extLst>
                <a:ext uri="{FF2B5EF4-FFF2-40B4-BE49-F238E27FC236}">
                  <a16:creationId xmlns:a16="http://schemas.microsoft.com/office/drawing/2014/main" id="{DB00F078-E51D-48A1-9A1E-2F081FC6A2FF}"/>
                </a:ext>
              </a:extLst>
            </p:cNvPr>
            <p:cNvSpPr/>
            <p:nvPr/>
          </p:nvSpPr>
          <p:spPr>
            <a:xfrm>
              <a:off x="2689543" y="2010311"/>
              <a:ext cx="1885826" cy="1477328"/>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a:solidFill>
                    <a:schemeClr val="accent1"/>
                  </a:solidFill>
                  <a:latin typeface="+mj-lt"/>
                </a:rPr>
                <a:t>To change the </a:t>
              </a:r>
              <a:r>
                <a:rPr lang="fr-FR" sz="1000" b="1" err="1">
                  <a:solidFill>
                    <a:schemeClr val="accent1"/>
                  </a:solidFill>
                  <a:latin typeface="+mj-lt"/>
                </a:rPr>
                <a:t>footer</a:t>
              </a:r>
              <a:r>
                <a:rPr lang="fr-FR" sz="1000" b="1">
                  <a:solidFill>
                    <a:schemeClr val="accent1"/>
                  </a:solidFill>
                  <a:latin typeface="+mj-lt"/>
                </a:rPr>
                <a:t>:</a:t>
              </a:r>
            </a:p>
            <a:p>
              <a:pPr marL="171450" lvl="0" indent="-171450">
                <a:buFont typeface="Arial" panose="020B0604020202020204" pitchFamily="34" charset="0"/>
                <a:buChar char="•"/>
              </a:pPr>
              <a:r>
                <a:rPr lang="en-US" sz="1000">
                  <a:solidFill>
                    <a:schemeClr val="tx1"/>
                  </a:solidFill>
                </a:rPr>
                <a:t>Click on “insert”</a:t>
              </a:r>
            </a:p>
            <a:p>
              <a:pPr marL="171450" lvl="0" indent="-171450">
                <a:buFont typeface="Arial" panose="020B0604020202020204" pitchFamily="34" charset="0"/>
                <a:buChar char="•"/>
              </a:pPr>
              <a:r>
                <a:rPr lang="en-US" sz="1000">
                  <a:solidFill>
                    <a:schemeClr val="tx1"/>
                  </a:solidFill>
                </a:rPr>
                <a:t>Click on “Header</a:t>
              </a:r>
              <a:br>
                <a:rPr lang="en-US" sz="1000">
                  <a:solidFill>
                    <a:schemeClr val="tx1"/>
                  </a:solidFill>
                </a:rPr>
              </a:br>
              <a:r>
                <a:rPr lang="en-US" sz="1000">
                  <a:solidFill>
                    <a:schemeClr val="tx1"/>
                  </a:solidFill>
                </a:rPr>
                <a:t>&amp; Footer”</a:t>
              </a:r>
            </a:p>
            <a:p>
              <a:pPr marL="171450" lvl="0" indent="-171450">
                <a:buFont typeface="Arial" panose="020B0604020202020204" pitchFamily="34" charset="0"/>
                <a:buChar char="•"/>
              </a:pPr>
              <a:r>
                <a:rPr lang="en-US" sz="1000">
                  <a:solidFill>
                    <a:schemeClr val="tx1"/>
                  </a:solidFill>
                </a:rPr>
                <a:t>Check the “Slide number” box</a:t>
              </a:r>
            </a:p>
            <a:p>
              <a:pPr marL="171450" lvl="0" indent="-171450">
                <a:buFont typeface="Arial" panose="020B0604020202020204" pitchFamily="34" charset="0"/>
                <a:buChar char="•"/>
              </a:pPr>
              <a:r>
                <a:rPr lang="en-US" sz="1000">
                  <a:solidFill>
                    <a:schemeClr val="tx1"/>
                  </a:solidFill>
                </a:rPr>
                <a:t>Write the desired text</a:t>
              </a:r>
              <a:br>
                <a:rPr lang="en-US" sz="1000">
                  <a:solidFill>
                    <a:schemeClr val="tx1"/>
                  </a:solidFill>
                </a:rPr>
              </a:br>
              <a:r>
                <a:rPr lang="en-US" sz="1000">
                  <a:solidFill>
                    <a:schemeClr val="tx1"/>
                  </a:solidFill>
                </a:rPr>
                <a:t>in the "Footer“ box</a:t>
              </a:r>
            </a:p>
            <a:p>
              <a:pPr marL="171450" lvl="0" indent="-171450">
                <a:buFont typeface="Arial" panose="020B0604020202020204" pitchFamily="34" charset="0"/>
                <a:buChar char="•"/>
              </a:pPr>
              <a:r>
                <a:rPr lang="en-US" sz="1000">
                  <a:solidFill>
                    <a:schemeClr val="tx1"/>
                  </a:solidFill>
                </a:rPr>
                <a:t>Click on “Apply to all”</a:t>
              </a:r>
            </a:p>
          </p:txBody>
        </p:sp>
      </p:grpSp>
    </p:spTree>
    <p:extLst>
      <p:ext uri="{BB962C8B-B14F-4D97-AF65-F5344CB8AC3E}">
        <p14:creationId xmlns:p14="http://schemas.microsoft.com/office/powerpoint/2010/main" val="33239664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id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6E2535C-E216-4FE6-854A-134CAB9C47E8}"/>
              </a:ext>
            </a:extLst>
          </p:cNvPr>
          <p:cNvSpPr>
            <a:spLocks noGrp="1"/>
          </p:cNvSpPr>
          <p:nvPr>
            <p:ph type="ftr" sz="quarter" idx="11"/>
          </p:nvPr>
        </p:nvSpPr>
        <p:spPr>
          <a:xfrm>
            <a:off x="839416" y="6349531"/>
            <a:ext cx="3401588" cy="153888"/>
          </a:xfrm>
        </p:spPr>
        <p:txBody>
          <a:bodyPr/>
          <a:lstStyle/>
          <a:p>
            <a:r>
              <a:rPr lang="en-GB" noProof="0"/>
              <a:t>Title of the </a:t>
            </a:r>
            <a:r>
              <a:rPr lang="en-US" noProof="0"/>
              <a:t>presentation</a:t>
            </a:r>
          </a:p>
        </p:txBody>
      </p:sp>
      <p:sp>
        <p:nvSpPr>
          <p:cNvPr id="4" name="Slide Number Placeholder 3">
            <a:extLst>
              <a:ext uri="{FF2B5EF4-FFF2-40B4-BE49-F238E27FC236}">
                <a16:creationId xmlns:a16="http://schemas.microsoft.com/office/drawing/2014/main" id="{043DC7BD-2933-4AD8-AC9C-29C8975A6A37}"/>
              </a:ext>
            </a:extLst>
          </p:cNvPr>
          <p:cNvSpPr>
            <a:spLocks noGrp="1"/>
          </p:cNvSpPr>
          <p:nvPr>
            <p:ph type="sldNum" sz="quarter" idx="12"/>
          </p:nvPr>
        </p:nvSpPr>
        <p:spPr/>
        <p:txBody>
          <a:bodyPr/>
          <a:lstStyle/>
          <a:p>
            <a:fld id="{820150FD-603F-44AF-ADBB-D2D9D0B3C68D}" type="slidenum">
              <a:rPr lang="fr-BE" smtClean="0"/>
              <a:t>‹#›</a:t>
            </a:fld>
            <a:endParaRPr lang="fr-BE"/>
          </a:p>
        </p:txBody>
      </p:sp>
      <p:sp>
        <p:nvSpPr>
          <p:cNvPr id="5" name="Text Placeholder 8">
            <a:extLst>
              <a:ext uri="{FF2B5EF4-FFF2-40B4-BE49-F238E27FC236}">
                <a16:creationId xmlns:a16="http://schemas.microsoft.com/office/drawing/2014/main" id="{D78A313C-BC96-49CB-825B-61321B9506F7}"/>
              </a:ext>
            </a:extLst>
          </p:cNvPr>
          <p:cNvSpPr>
            <a:spLocks noGrp="1"/>
          </p:cNvSpPr>
          <p:nvPr>
            <p:ph type="body" sz="quarter" idx="15" hasCustomPrompt="1"/>
          </p:nvPr>
        </p:nvSpPr>
        <p:spPr>
          <a:xfrm>
            <a:off x="4439816" y="6349531"/>
            <a:ext cx="6120678" cy="153888"/>
          </a:xfrm>
        </p:spPr>
        <p:txBody>
          <a:bodyPr wrap="square" rIns="0" anchor="b">
            <a:spAutoFit/>
          </a:bodyPr>
          <a:lstStyle>
            <a:lvl1pPr marL="0" indent="0" algn="r">
              <a:lnSpc>
                <a:spcPct val="100000"/>
              </a:lnSpc>
              <a:spcBef>
                <a:spcPts val="600"/>
              </a:spcBef>
              <a:buNone/>
              <a:defRPr sz="1000" b="0">
                <a:solidFill>
                  <a:schemeClr val="accent5"/>
                </a:solidFill>
              </a:defRPr>
            </a:lvl1pPr>
          </a:lstStyle>
          <a:p>
            <a:pPr lvl="0"/>
            <a:r>
              <a:rPr lang="en-US"/>
              <a:t>Click to edit Master text styles</a:t>
            </a:r>
            <a:endParaRPr lang="fr-BE"/>
          </a:p>
        </p:txBody>
      </p:sp>
    </p:spTree>
    <p:extLst>
      <p:ext uri="{BB962C8B-B14F-4D97-AF65-F5344CB8AC3E}">
        <p14:creationId xmlns:p14="http://schemas.microsoft.com/office/powerpoint/2010/main" val="16108691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icture fullscreen - V1">
    <p:bg>
      <p:bgPr>
        <a:solidFill>
          <a:schemeClr val="bg2"/>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BF6A12A6-4E53-4BFE-B060-C589E78F03D4}"/>
              </a:ext>
            </a:extLst>
          </p:cNvPr>
          <p:cNvSpPr/>
          <p:nvPr userDrawn="1"/>
        </p:nvSpPr>
        <p:spPr>
          <a:xfrm>
            <a:off x="0" y="0"/>
            <a:ext cx="12192000" cy="6858000"/>
          </a:xfrm>
          <a:custGeom>
            <a:avLst/>
            <a:gdLst>
              <a:gd name="connsiteX0" fmla="*/ 640633 w 12192000"/>
              <a:gd name="connsiteY0" fmla="*/ 368300 h 6858000"/>
              <a:gd name="connsiteX1" fmla="*/ 371475 w 12192000"/>
              <a:gd name="connsiteY1" fmla="*/ 637458 h 6858000"/>
              <a:gd name="connsiteX2" fmla="*/ 371475 w 12192000"/>
              <a:gd name="connsiteY2" fmla="*/ 6220542 h 6858000"/>
              <a:gd name="connsiteX3" fmla="*/ 640633 w 12192000"/>
              <a:gd name="connsiteY3" fmla="*/ 6489700 h 6858000"/>
              <a:gd name="connsiteX4" fmla="*/ 11551367 w 12192000"/>
              <a:gd name="connsiteY4" fmla="*/ 6489700 h 6858000"/>
              <a:gd name="connsiteX5" fmla="*/ 11820525 w 12192000"/>
              <a:gd name="connsiteY5" fmla="*/ 6220542 h 6858000"/>
              <a:gd name="connsiteX6" fmla="*/ 11820525 w 12192000"/>
              <a:gd name="connsiteY6" fmla="*/ 637458 h 6858000"/>
              <a:gd name="connsiteX7" fmla="*/ 11551367 w 12192000"/>
              <a:gd name="connsiteY7" fmla="*/ 3683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40633" y="368300"/>
                </a:moveTo>
                <a:cubicBezTo>
                  <a:pt x="491981" y="368300"/>
                  <a:pt x="371475" y="488806"/>
                  <a:pt x="371475" y="637458"/>
                </a:cubicBezTo>
                <a:lnTo>
                  <a:pt x="371475" y="6220542"/>
                </a:lnTo>
                <a:cubicBezTo>
                  <a:pt x="371475" y="6369194"/>
                  <a:pt x="491981" y="6489700"/>
                  <a:pt x="640633" y="6489700"/>
                </a:cubicBezTo>
                <a:lnTo>
                  <a:pt x="11551367" y="6489700"/>
                </a:lnTo>
                <a:cubicBezTo>
                  <a:pt x="11700019" y="6489700"/>
                  <a:pt x="11820525" y="6369194"/>
                  <a:pt x="11820525" y="6220542"/>
                </a:cubicBezTo>
                <a:lnTo>
                  <a:pt x="11820525" y="637458"/>
                </a:lnTo>
                <a:cubicBezTo>
                  <a:pt x="11820525" y="488806"/>
                  <a:pt x="11700019" y="368300"/>
                  <a:pt x="11551367" y="368300"/>
                </a:cubicBezTo>
                <a:close/>
                <a:moveTo>
                  <a:pt x="0" y="0"/>
                </a:moveTo>
                <a:lnTo>
                  <a:pt x="12192000" y="0"/>
                </a:lnTo>
                <a:lnTo>
                  <a:pt x="12192000"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BE"/>
          </a:p>
        </p:txBody>
      </p:sp>
      <p:grpSp>
        <p:nvGrpSpPr>
          <p:cNvPr id="7" name="Groupe 6">
            <a:extLst>
              <a:ext uri="{FF2B5EF4-FFF2-40B4-BE49-F238E27FC236}">
                <a16:creationId xmlns:a16="http://schemas.microsoft.com/office/drawing/2014/main" id="{587C468F-44F4-4BDF-A833-7F8926F2BACB}"/>
              </a:ext>
            </a:extLst>
          </p:cNvPr>
          <p:cNvGrpSpPr/>
          <p:nvPr userDrawn="1"/>
        </p:nvGrpSpPr>
        <p:grpSpPr>
          <a:xfrm>
            <a:off x="12360696" y="-13072"/>
            <a:ext cx="1885826" cy="1528108"/>
            <a:chOff x="4867566" y="1651754"/>
            <a:chExt cx="1885826" cy="1528108"/>
          </a:xfrm>
        </p:grpSpPr>
        <p:sp>
          <p:nvSpPr>
            <p:cNvPr id="8" name="Freeform 5">
              <a:extLst>
                <a:ext uri="{FF2B5EF4-FFF2-40B4-BE49-F238E27FC236}">
                  <a16:creationId xmlns:a16="http://schemas.microsoft.com/office/drawing/2014/main" id="{09488B42-A2DB-4BB0-8C16-7E621E8D45DA}"/>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9" name="Rectangle 8">
              <a:extLst>
                <a:ext uri="{FF2B5EF4-FFF2-40B4-BE49-F238E27FC236}">
                  <a16:creationId xmlns:a16="http://schemas.microsoft.com/office/drawing/2014/main" id="{7D1CE205-FF70-43C3-A98E-1729DA836C5D}"/>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a:solidFill>
                    <a:schemeClr val="accent1"/>
                  </a:solidFill>
                  <a:latin typeface="+mj-lt"/>
                </a:rPr>
                <a:t>To change the </a:t>
              </a:r>
              <a:r>
                <a:rPr lang="fr-FR" sz="1000" b="1" err="1">
                  <a:solidFill>
                    <a:schemeClr val="accent1"/>
                  </a:solidFill>
                  <a:latin typeface="+mj-lt"/>
                </a:rPr>
                <a:t>visual</a:t>
              </a:r>
              <a:r>
                <a:rPr lang="fr-FR" sz="1000" b="1">
                  <a:solidFill>
                    <a:schemeClr val="accent1"/>
                  </a:solidFill>
                  <a:latin typeface="+mj-lt"/>
                </a:rPr>
                <a:t>:</a:t>
              </a:r>
            </a:p>
            <a:p>
              <a:pPr marL="171450" lvl="0" indent="-171450">
                <a:buFont typeface="Arial" panose="020B0604020202020204" pitchFamily="34" charset="0"/>
                <a:buChar char="•"/>
              </a:pPr>
              <a:r>
                <a:rPr lang="en-US" sz="1000">
                  <a:solidFill>
                    <a:schemeClr val="tx1"/>
                  </a:solidFill>
                </a:rPr>
                <a:t>Right click on the slide</a:t>
              </a:r>
            </a:p>
            <a:p>
              <a:pPr marL="171450" lvl="0" indent="-171450">
                <a:buFont typeface="Arial" panose="020B0604020202020204" pitchFamily="34" charset="0"/>
                <a:buChar char="•"/>
              </a:pPr>
              <a:r>
                <a:rPr lang="en-US" sz="1000">
                  <a:solidFill>
                    <a:schemeClr val="tx1"/>
                  </a:solidFill>
                </a:rPr>
                <a:t>Click on “Format Background”</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 (1920x1080px)</a:t>
              </a:r>
            </a:p>
          </p:txBody>
        </p:sp>
      </p:grpSp>
    </p:spTree>
    <p:extLst>
      <p:ext uri="{BB962C8B-B14F-4D97-AF65-F5344CB8AC3E}">
        <p14:creationId xmlns:p14="http://schemas.microsoft.com/office/powerpoint/2010/main" val="33565497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slide - V2">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BD0FCC3-831B-4C1D-80B0-D34A931EE911}"/>
              </a:ext>
            </a:extLst>
          </p:cNvPr>
          <p:cNvSpPr/>
          <p:nvPr userDrawn="1"/>
        </p:nvSpPr>
        <p:spPr>
          <a:xfrm>
            <a:off x="0" y="0"/>
            <a:ext cx="12192000" cy="6858000"/>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reeform: Shape 3">
            <a:extLst>
              <a:ext uri="{FF2B5EF4-FFF2-40B4-BE49-F238E27FC236}">
                <a16:creationId xmlns:a16="http://schemas.microsoft.com/office/drawing/2014/main" id="{8681D24C-ADC9-4F96-9A7F-95456DA79B7B}"/>
              </a:ext>
            </a:extLst>
          </p:cNvPr>
          <p:cNvSpPr/>
          <p:nvPr userDrawn="1"/>
        </p:nvSpPr>
        <p:spPr>
          <a:xfrm>
            <a:off x="0" y="0"/>
            <a:ext cx="12192000" cy="6858000"/>
          </a:xfrm>
          <a:custGeom>
            <a:avLst/>
            <a:gdLst>
              <a:gd name="connsiteX0" fmla="*/ 640633 w 12192000"/>
              <a:gd name="connsiteY0" fmla="*/ 368300 h 6858000"/>
              <a:gd name="connsiteX1" fmla="*/ 371475 w 12192000"/>
              <a:gd name="connsiteY1" fmla="*/ 637458 h 6858000"/>
              <a:gd name="connsiteX2" fmla="*/ 371475 w 12192000"/>
              <a:gd name="connsiteY2" fmla="*/ 6220542 h 6858000"/>
              <a:gd name="connsiteX3" fmla="*/ 640633 w 12192000"/>
              <a:gd name="connsiteY3" fmla="*/ 6489700 h 6858000"/>
              <a:gd name="connsiteX4" fmla="*/ 11551367 w 12192000"/>
              <a:gd name="connsiteY4" fmla="*/ 6489700 h 6858000"/>
              <a:gd name="connsiteX5" fmla="*/ 11820525 w 12192000"/>
              <a:gd name="connsiteY5" fmla="*/ 6220542 h 6858000"/>
              <a:gd name="connsiteX6" fmla="*/ 11820525 w 12192000"/>
              <a:gd name="connsiteY6" fmla="*/ 637458 h 6858000"/>
              <a:gd name="connsiteX7" fmla="*/ 11551367 w 12192000"/>
              <a:gd name="connsiteY7" fmla="*/ 3683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40633" y="368300"/>
                </a:moveTo>
                <a:cubicBezTo>
                  <a:pt x="491981" y="368300"/>
                  <a:pt x="371475" y="488806"/>
                  <a:pt x="371475" y="637458"/>
                </a:cubicBezTo>
                <a:lnTo>
                  <a:pt x="371475" y="6220542"/>
                </a:lnTo>
                <a:cubicBezTo>
                  <a:pt x="371475" y="6369194"/>
                  <a:pt x="491981" y="6489700"/>
                  <a:pt x="640633" y="6489700"/>
                </a:cubicBezTo>
                <a:lnTo>
                  <a:pt x="11551367" y="6489700"/>
                </a:lnTo>
                <a:cubicBezTo>
                  <a:pt x="11700019" y="6489700"/>
                  <a:pt x="11820525" y="6369194"/>
                  <a:pt x="11820525" y="6220542"/>
                </a:cubicBezTo>
                <a:lnTo>
                  <a:pt x="11820525" y="637458"/>
                </a:lnTo>
                <a:cubicBezTo>
                  <a:pt x="11820525" y="488806"/>
                  <a:pt x="11700019" y="368300"/>
                  <a:pt x="11551367" y="368300"/>
                </a:cubicBezTo>
                <a:close/>
                <a:moveTo>
                  <a:pt x="0" y="0"/>
                </a:moveTo>
                <a:lnTo>
                  <a:pt x="12192000" y="0"/>
                </a:lnTo>
                <a:lnTo>
                  <a:pt x="1219200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BE"/>
          </a:p>
        </p:txBody>
      </p:sp>
      <p:grpSp>
        <p:nvGrpSpPr>
          <p:cNvPr id="5" name="Groupe 22">
            <a:extLst>
              <a:ext uri="{FF2B5EF4-FFF2-40B4-BE49-F238E27FC236}">
                <a16:creationId xmlns:a16="http://schemas.microsoft.com/office/drawing/2014/main" id="{2B32DBD4-A425-4C9E-AB3F-50820ABE35E2}"/>
              </a:ext>
            </a:extLst>
          </p:cNvPr>
          <p:cNvGrpSpPr/>
          <p:nvPr userDrawn="1"/>
        </p:nvGrpSpPr>
        <p:grpSpPr>
          <a:xfrm>
            <a:off x="4341018" y="2930841"/>
            <a:ext cx="3509961" cy="997017"/>
            <a:chOff x="-838200" y="8253511"/>
            <a:chExt cx="12192000" cy="3463176"/>
          </a:xfrm>
          <a:solidFill>
            <a:schemeClr val="bg1"/>
          </a:solidFill>
        </p:grpSpPr>
        <p:sp>
          <p:nvSpPr>
            <p:cNvPr id="6" name="Forme libre : forme 23">
              <a:extLst>
                <a:ext uri="{FF2B5EF4-FFF2-40B4-BE49-F238E27FC236}">
                  <a16:creationId xmlns:a16="http://schemas.microsoft.com/office/drawing/2014/main" id="{02DB79CB-4FD3-4EEA-BEAE-F9E90E8A8DC1}"/>
                </a:ext>
              </a:extLst>
            </p:cNvPr>
            <p:cNvSpPr/>
            <p:nvPr/>
          </p:nvSpPr>
          <p:spPr>
            <a:xfrm>
              <a:off x="-838200" y="10819488"/>
              <a:ext cx="12192000" cy="897199"/>
            </a:xfrm>
            <a:custGeom>
              <a:avLst/>
              <a:gdLst>
                <a:gd name="connsiteX0" fmla="*/ 12198649 w 12192000"/>
                <a:gd name="connsiteY0" fmla="*/ 885124 h 897199"/>
                <a:gd name="connsiteX1" fmla="*/ 12097839 w 12192000"/>
                <a:gd name="connsiteY1" fmla="*/ 885124 h 897199"/>
                <a:gd name="connsiteX2" fmla="*/ 11805730 w 12192000"/>
                <a:gd name="connsiteY2" fmla="*/ 581421 h 897199"/>
                <a:gd name="connsiteX3" fmla="*/ 11805730 w 12192000"/>
                <a:gd name="connsiteY3" fmla="*/ 885124 h 897199"/>
                <a:gd name="connsiteX4" fmla="*/ 11732688 w 12192000"/>
                <a:gd name="connsiteY4" fmla="*/ 885124 h 897199"/>
                <a:gd name="connsiteX5" fmla="*/ 11732688 w 12192000"/>
                <a:gd name="connsiteY5" fmla="*/ 15789 h 897199"/>
                <a:gd name="connsiteX6" fmla="*/ 11805730 w 12192000"/>
                <a:gd name="connsiteY6" fmla="*/ 15789 h 897199"/>
                <a:gd name="connsiteX7" fmla="*/ 11805730 w 12192000"/>
                <a:gd name="connsiteY7" fmla="*/ 536236 h 897199"/>
                <a:gd name="connsiteX8" fmla="*/ 12070007 w 12192000"/>
                <a:gd name="connsiteY8" fmla="*/ 293982 h 897199"/>
                <a:gd name="connsiteX9" fmla="*/ 12163887 w 12192000"/>
                <a:gd name="connsiteY9" fmla="*/ 293982 h 897199"/>
                <a:gd name="connsiteX10" fmla="*/ 11875270 w 12192000"/>
                <a:gd name="connsiteY10" fmla="*/ 555961 h 897199"/>
                <a:gd name="connsiteX11" fmla="*/ 12198649 w 12192000"/>
                <a:gd name="connsiteY11" fmla="*/ 885124 h 897199"/>
                <a:gd name="connsiteX12" fmla="*/ 11444120 w 12192000"/>
                <a:gd name="connsiteY12" fmla="*/ 342661 h 897199"/>
                <a:gd name="connsiteX13" fmla="*/ 11316608 w 12192000"/>
                <a:gd name="connsiteY13" fmla="*/ 441203 h 897199"/>
                <a:gd name="connsiteX14" fmla="*/ 11607548 w 12192000"/>
                <a:gd name="connsiteY14" fmla="*/ 730989 h 897199"/>
                <a:gd name="connsiteX15" fmla="*/ 11401218 w 12192000"/>
                <a:gd name="connsiteY15" fmla="*/ 899088 h 897199"/>
                <a:gd name="connsiteX16" fmla="*/ 11235475 w 12192000"/>
                <a:gd name="connsiteY16" fmla="*/ 871248 h 897199"/>
                <a:gd name="connsiteX17" fmla="*/ 11242445 w 12192000"/>
                <a:gd name="connsiteY17" fmla="*/ 799384 h 897199"/>
                <a:gd name="connsiteX18" fmla="*/ 11396595 w 12192000"/>
                <a:gd name="connsiteY18" fmla="*/ 836485 h 897199"/>
                <a:gd name="connsiteX19" fmla="*/ 11527584 w 12192000"/>
                <a:gd name="connsiteY19" fmla="*/ 730989 h 897199"/>
                <a:gd name="connsiteX20" fmla="*/ 11243590 w 12192000"/>
                <a:gd name="connsiteY20" fmla="*/ 441203 h 897199"/>
                <a:gd name="connsiteX21" fmla="*/ 11436004 w 12192000"/>
                <a:gd name="connsiteY21" fmla="*/ 280106 h 897199"/>
                <a:gd name="connsiteX22" fmla="*/ 11582055 w 12192000"/>
                <a:gd name="connsiteY22" fmla="*/ 306761 h 897199"/>
                <a:gd name="connsiteX23" fmla="*/ 11575085 w 12192000"/>
                <a:gd name="connsiteY23" fmla="*/ 370533 h 897199"/>
                <a:gd name="connsiteX24" fmla="*/ 11444120 w 12192000"/>
                <a:gd name="connsiteY24" fmla="*/ 342701 h 897199"/>
                <a:gd name="connsiteX25" fmla="*/ 11036115 w 12192000"/>
                <a:gd name="connsiteY25" fmla="*/ 38950 h 897199"/>
                <a:gd name="connsiteX26" fmla="*/ 11109148 w 12192000"/>
                <a:gd name="connsiteY26" fmla="*/ 38950 h 897199"/>
                <a:gd name="connsiteX27" fmla="*/ 11109148 w 12192000"/>
                <a:gd name="connsiteY27" fmla="*/ 136339 h 897199"/>
                <a:gd name="connsiteX28" fmla="*/ 11036115 w 12192000"/>
                <a:gd name="connsiteY28" fmla="*/ 136339 h 897199"/>
                <a:gd name="connsiteX29" fmla="*/ 11036115 w 12192000"/>
                <a:gd name="connsiteY29" fmla="*/ 38950 h 897199"/>
                <a:gd name="connsiteX30" fmla="*/ 11036115 w 12192000"/>
                <a:gd name="connsiteY30" fmla="*/ 885124 h 897199"/>
                <a:gd name="connsiteX31" fmla="*/ 11036115 w 12192000"/>
                <a:gd name="connsiteY31" fmla="*/ 293982 h 897199"/>
                <a:gd name="connsiteX32" fmla="*/ 11109148 w 12192000"/>
                <a:gd name="connsiteY32" fmla="*/ 293982 h 897199"/>
                <a:gd name="connsiteX33" fmla="*/ 11109148 w 12192000"/>
                <a:gd name="connsiteY33" fmla="*/ 885124 h 897199"/>
                <a:gd name="connsiteX34" fmla="*/ 10570226 w 12192000"/>
                <a:gd name="connsiteY34" fmla="*/ 145600 h 897199"/>
                <a:gd name="connsiteX35" fmla="*/ 10487892 w 12192000"/>
                <a:gd name="connsiteY35" fmla="*/ 145600 h 897199"/>
                <a:gd name="connsiteX36" fmla="*/ 10487892 w 12192000"/>
                <a:gd name="connsiteY36" fmla="*/ 434217 h 897199"/>
                <a:gd name="connsiteX37" fmla="*/ 10572525 w 12192000"/>
                <a:gd name="connsiteY37" fmla="*/ 434217 h 897199"/>
                <a:gd name="connsiteX38" fmla="*/ 10774209 w 12192000"/>
                <a:gd name="connsiteY38" fmla="*/ 285859 h 897199"/>
                <a:gd name="connsiteX39" fmla="*/ 10570226 w 12192000"/>
                <a:gd name="connsiteY39" fmla="*/ 145600 h 897199"/>
                <a:gd name="connsiteX40" fmla="*/ 10674529 w 12192000"/>
                <a:gd name="connsiteY40" fmla="*/ 472472 h 897199"/>
                <a:gd name="connsiteX41" fmla="*/ 10674529 w 12192000"/>
                <a:gd name="connsiteY41" fmla="*/ 474795 h 897199"/>
                <a:gd name="connsiteX42" fmla="*/ 10778855 w 12192000"/>
                <a:gd name="connsiteY42" fmla="*/ 572176 h 897199"/>
                <a:gd name="connsiteX43" fmla="*/ 10916799 w 12192000"/>
                <a:gd name="connsiteY43" fmla="*/ 885124 h 897199"/>
                <a:gd name="connsiteX44" fmla="*/ 10828671 w 12192000"/>
                <a:gd name="connsiteY44" fmla="*/ 885124 h 897199"/>
                <a:gd name="connsiteX45" fmla="*/ 10711598 w 12192000"/>
                <a:gd name="connsiteY45" fmla="*/ 611561 h 897199"/>
                <a:gd name="connsiteX46" fmla="*/ 10553987 w 12192000"/>
                <a:gd name="connsiteY46" fmla="*/ 503757 h 897199"/>
                <a:gd name="connsiteX47" fmla="*/ 10487892 w 12192000"/>
                <a:gd name="connsiteY47" fmla="*/ 503757 h 897199"/>
                <a:gd name="connsiteX48" fmla="*/ 10487892 w 12192000"/>
                <a:gd name="connsiteY48" fmla="*/ 885108 h 897199"/>
                <a:gd name="connsiteX49" fmla="*/ 10407928 w 12192000"/>
                <a:gd name="connsiteY49" fmla="*/ 885108 h 897199"/>
                <a:gd name="connsiteX50" fmla="*/ 10407928 w 12192000"/>
                <a:gd name="connsiteY50" fmla="*/ 76060 h 897199"/>
                <a:gd name="connsiteX51" fmla="*/ 10616581 w 12192000"/>
                <a:gd name="connsiteY51" fmla="*/ 76060 h 897199"/>
                <a:gd name="connsiteX52" fmla="*/ 10854188 w 12192000"/>
                <a:gd name="connsiteY52" fmla="*/ 285859 h 897199"/>
                <a:gd name="connsiteX53" fmla="*/ 10674529 w 12192000"/>
                <a:gd name="connsiteY53" fmla="*/ 472472 h 897199"/>
                <a:gd name="connsiteX54" fmla="*/ 9970977 w 12192000"/>
                <a:gd name="connsiteY54" fmla="*/ 77229 h 897199"/>
                <a:gd name="connsiteX55" fmla="*/ 9913053 w 12192000"/>
                <a:gd name="connsiteY55" fmla="*/ 64483 h 897199"/>
                <a:gd name="connsiteX56" fmla="*/ 9823773 w 12192000"/>
                <a:gd name="connsiteY56" fmla="*/ 242981 h 897199"/>
                <a:gd name="connsiteX57" fmla="*/ 9823773 w 12192000"/>
                <a:gd name="connsiteY57" fmla="*/ 293982 h 897199"/>
                <a:gd name="connsiteX58" fmla="*/ 9957061 w 12192000"/>
                <a:gd name="connsiteY58" fmla="*/ 293982 h 897199"/>
                <a:gd name="connsiteX59" fmla="*/ 9957061 w 12192000"/>
                <a:gd name="connsiteY59" fmla="*/ 356577 h 897199"/>
                <a:gd name="connsiteX60" fmla="*/ 9823773 w 12192000"/>
                <a:gd name="connsiteY60" fmla="*/ 356577 h 897199"/>
                <a:gd name="connsiteX61" fmla="*/ 9823773 w 12192000"/>
                <a:gd name="connsiteY61" fmla="*/ 885124 h 897199"/>
                <a:gd name="connsiteX62" fmla="*/ 9750755 w 12192000"/>
                <a:gd name="connsiteY62" fmla="*/ 885124 h 897199"/>
                <a:gd name="connsiteX63" fmla="*/ 9750755 w 12192000"/>
                <a:gd name="connsiteY63" fmla="*/ 356577 h 897199"/>
                <a:gd name="connsiteX64" fmla="*/ 9631383 w 12192000"/>
                <a:gd name="connsiteY64" fmla="*/ 356577 h 897199"/>
                <a:gd name="connsiteX65" fmla="*/ 9631383 w 12192000"/>
                <a:gd name="connsiteY65" fmla="*/ 293982 h 897199"/>
                <a:gd name="connsiteX66" fmla="*/ 9750755 w 12192000"/>
                <a:gd name="connsiteY66" fmla="*/ 293982 h 897199"/>
                <a:gd name="connsiteX67" fmla="*/ 9750755 w 12192000"/>
                <a:gd name="connsiteY67" fmla="*/ 251096 h 897199"/>
                <a:gd name="connsiteX68" fmla="*/ 9907229 w 12192000"/>
                <a:gd name="connsiteY68" fmla="*/ 1889 h 897199"/>
                <a:gd name="connsiteX69" fmla="*/ 9975624 w 12192000"/>
                <a:gd name="connsiteY69" fmla="*/ 13465 h 897199"/>
                <a:gd name="connsiteX70" fmla="*/ 9970977 w 12192000"/>
                <a:gd name="connsiteY70" fmla="*/ 77229 h 897199"/>
                <a:gd name="connsiteX71" fmla="*/ 9292942 w 12192000"/>
                <a:gd name="connsiteY71" fmla="*/ 342661 h 897199"/>
                <a:gd name="connsiteX72" fmla="*/ 9097060 w 12192000"/>
                <a:gd name="connsiteY72" fmla="*/ 589545 h 897199"/>
                <a:gd name="connsiteX73" fmla="*/ 9292942 w 12192000"/>
                <a:gd name="connsiteY73" fmla="*/ 836446 h 897199"/>
                <a:gd name="connsiteX74" fmla="*/ 9488825 w 12192000"/>
                <a:gd name="connsiteY74" fmla="*/ 589545 h 897199"/>
                <a:gd name="connsiteX75" fmla="*/ 9292942 w 12192000"/>
                <a:gd name="connsiteY75" fmla="*/ 342661 h 897199"/>
                <a:gd name="connsiteX76" fmla="*/ 9292942 w 12192000"/>
                <a:gd name="connsiteY76" fmla="*/ 899048 h 897199"/>
                <a:gd name="connsiteX77" fmla="*/ 9017048 w 12192000"/>
                <a:gd name="connsiteY77" fmla="*/ 589545 h 897199"/>
                <a:gd name="connsiteX78" fmla="*/ 9292942 w 12192000"/>
                <a:gd name="connsiteY78" fmla="*/ 280066 h 897199"/>
                <a:gd name="connsiteX79" fmla="*/ 9568813 w 12192000"/>
                <a:gd name="connsiteY79" fmla="*/ 589545 h 897199"/>
                <a:gd name="connsiteX80" fmla="*/ 9292942 w 12192000"/>
                <a:gd name="connsiteY80" fmla="*/ 899040 h 897199"/>
                <a:gd name="connsiteX81" fmla="*/ 8381940 w 12192000"/>
                <a:gd name="connsiteY81" fmla="*/ 342661 h 897199"/>
                <a:gd name="connsiteX82" fmla="*/ 8208089 w 12192000"/>
                <a:gd name="connsiteY82" fmla="*/ 547813 h 897199"/>
                <a:gd name="connsiteX83" fmla="*/ 8532661 w 12192000"/>
                <a:gd name="connsiteY83" fmla="*/ 547813 h 897199"/>
                <a:gd name="connsiteX84" fmla="*/ 8381956 w 12192000"/>
                <a:gd name="connsiteY84" fmla="*/ 342661 h 897199"/>
                <a:gd name="connsiteX85" fmla="*/ 8208089 w 12192000"/>
                <a:gd name="connsiteY85" fmla="*/ 610407 h 897199"/>
                <a:gd name="connsiteX86" fmla="*/ 8402826 w 12192000"/>
                <a:gd name="connsiteY86" fmla="*/ 836446 h 897199"/>
                <a:gd name="connsiteX87" fmla="*/ 8568569 w 12192000"/>
                <a:gd name="connsiteY87" fmla="*/ 792382 h 897199"/>
                <a:gd name="connsiteX88" fmla="*/ 8568569 w 12192000"/>
                <a:gd name="connsiteY88" fmla="*/ 866545 h 897199"/>
                <a:gd name="connsiteX89" fmla="*/ 8397025 w 12192000"/>
                <a:gd name="connsiteY89" fmla="*/ 899032 h 897199"/>
                <a:gd name="connsiteX90" fmla="*/ 8128125 w 12192000"/>
                <a:gd name="connsiteY90" fmla="*/ 589529 h 897199"/>
                <a:gd name="connsiteX91" fmla="*/ 8377333 w 12192000"/>
                <a:gd name="connsiteY91" fmla="*/ 280050 h 897199"/>
                <a:gd name="connsiteX92" fmla="*/ 8612624 w 12192000"/>
                <a:gd name="connsiteY92" fmla="*/ 573274 h 897199"/>
                <a:gd name="connsiteX93" fmla="*/ 8612624 w 12192000"/>
                <a:gd name="connsiteY93" fmla="*/ 610383 h 897199"/>
                <a:gd name="connsiteX94" fmla="*/ 7921843 w 12192000"/>
                <a:gd name="connsiteY94" fmla="*/ 342661 h 897199"/>
                <a:gd name="connsiteX95" fmla="*/ 7699274 w 12192000"/>
                <a:gd name="connsiteY95" fmla="*/ 589545 h 897199"/>
                <a:gd name="connsiteX96" fmla="*/ 7913720 w 12192000"/>
                <a:gd name="connsiteY96" fmla="*/ 836446 h 897199"/>
                <a:gd name="connsiteX97" fmla="*/ 8047008 w 12192000"/>
                <a:gd name="connsiteY97" fmla="*/ 809767 h 897199"/>
                <a:gd name="connsiteX98" fmla="*/ 8053978 w 12192000"/>
                <a:gd name="connsiteY98" fmla="*/ 878178 h 897199"/>
                <a:gd name="connsiteX99" fmla="*/ 7902127 w 12192000"/>
                <a:gd name="connsiteY99" fmla="*/ 899048 h 897199"/>
                <a:gd name="connsiteX100" fmla="*/ 7619319 w 12192000"/>
                <a:gd name="connsiteY100" fmla="*/ 589545 h 897199"/>
                <a:gd name="connsiteX101" fmla="*/ 7911428 w 12192000"/>
                <a:gd name="connsiteY101" fmla="*/ 280066 h 897199"/>
                <a:gd name="connsiteX102" fmla="*/ 8054034 w 12192000"/>
                <a:gd name="connsiteY102" fmla="*/ 303228 h 897199"/>
                <a:gd name="connsiteX103" fmla="*/ 8048242 w 12192000"/>
                <a:gd name="connsiteY103" fmla="*/ 372768 h 897199"/>
                <a:gd name="connsiteX104" fmla="*/ 7921899 w 12192000"/>
                <a:gd name="connsiteY104" fmla="*/ 342661 h 897199"/>
                <a:gd name="connsiteX105" fmla="*/ 7413005 w 12192000"/>
                <a:gd name="connsiteY105" fmla="*/ 885124 h 897199"/>
                <a:gd name="connsiteX106" fmla="*/ 7413005 w 12192000"/>
                <a:gd name="connsiteY106" fmla="*/ 525773 h 897199"/>
                <a:gd name="connsiteX107" fmla="*/ 7272746 w 12192000"/>
                <a:gd name="connsiteY107" fmla="*/ 342661 h 897199"/>
                <a:gd name="connsiteX108" fmla="*/ 7097726 w 12192000"/>
                <a:gd name="connsiteY108" fmla="*/ 558252 h 897199"/>
                <a:gd name="connsiteX109" fmla="*/ 7097726 w 12192000"/>
                <a:gd name="connsiteY109" fmla="*/ 885124 h 897199"/>
                <a:gd name="connsiteX110" fmla="*/ 7024708 w 12192000"/>
                <a:gd name="connsiteY110" fmla="*/ 885124 h 897199"/>
                <a:gd name="connsiteX111" fmla="*/ 7024708 w 12192000"/>
                <a:gd name="connsiteY111" fmla="*/ 433063 h 897199"/>
                <a:gd name="connsiteX112" fmla="*/ 7020062 w 12192000"/>
                <a:gd name="connsiteY112" fmla="*/ 293982 h 897199"/>
                <a:gd name="connsiteX113" fmla="*/ 7090756 w 12192000"/>
                <a:gd name="connsiteY113" fmla="*/ 293982 h 897199"/>
                <a:gd name="connsiteX114" fmla="*/ 7090756 w 12192000"/>
                <a:gd name="connsiteY114" fmla="*/ 399431 h 897199"/>
                <a:gd name="connsiteX115" fmla="*/ 7093103 w 12192000"/>
                <a:gd name="connsiteY115" fmla="*/ 399431 h 897199"/>
                <a:gd name="connsiteX116" fmla="*/ 7284363 w 12192000"/>
                <a:gd name="connsiteY116" fmla="*/ 280058 h 897199"/>
                <a:gd name="connsiteX117" fmla="*/ 7486046 w 12192000"/>
                <a:gd name="connsiteY117" fmla="*/ 507250 h 897199"/>
                <a:gd name="connsiteX118" fmla="*/ 7486046 w 12192000"/>
                <a:gd name="connsiteY118" fmla="*/ 885116 h 897199"/>
                <a:gd name="connsiteX119" fmla="*/ 6660783 w 12192000"/>
                <a:gd name="connsiteY119" fmla="*/ 342661 h 897199"/>
                <a:gd name="connsiteX120" fmla="*/ 6486932 w 12192000"/>
                <a:gd name="connsiteY120" fmla="*/ 547813 h 897199"/>
                <a:gd name="connsiteX121" fmla="*/ 6811464 w 12192000"/>
                <a:gd name="connsiteY121" fmla="*/ 547813 h 897199"/>
                <a:gd name="connsiteX122" fmla="*/ 6660807 w 12192000"/>
                <a:gd name="connsiteY122" fmla="*/ 342661 h 897199"/>
                <a:gd name="connsiteX123" fmla="*/ 6486932 w 12192000"/>
                <a:gd name="connsiteY123" fmla="*/ 610407 h 897199"/>
                <a:gd name="connsiteX124" fmla="*/ 6681669 w 12192000"/>
                <a:gd name="connsiteY124" fmla="*/ 836446 h 897199"/>
                <a:gd name="connsiteX125" fmla="*/ 6847412 w 12192000"/>
                <a:gd name="connsiteY125" fmla="*/ 792382 h 897199"/>
                <a:gd name="connsiteX126" fmla="*/ 6847412 w 12192000"/>
                <a:gd name="connsiteY126" fmla="*/ 866545 h 897199"/>
                <a:gd name="connsiteX127" fmla="*/ 6675869 w 12192000"/>
                <a:gd name="connsiteY127" fmla="*/ 899032 h 897199"/>
                <a:gd name="connsiteX128" fmla="*/ 6406969 w 12192000"/>
                <a:gd name="connsiteY128" fmla="*/ 589529 h 897199"/>
                <a:gd name="connsiteX129" fmla="*/ 6656128 w 12192000"/>
                <a:gd name="connsiteY129" fmla="*/ 280050 h 897199"/>
                <a:gd name="connsiteX130" fmla="*/ 6891436 w 12192000"/>
                <a:gd name="connsiteY130" fmla="*/ 573274 h 897199"/>
                <a:gd name="connsiteX131" fmla="*/ 6891436 w 12192000"/>
                <a:gd name="connsiteY131" fmla="*/ 610383 h 897199"/>
                <a:gd name="connsiteX132" fmla="*/ 6199429 w 12192000"/>
                <a:gd name="connsiteY132" fmla="*/ 38950 h 897199"/>
                <a:gd name="connsiteX133" fmla="*/ 6272494 w 12192000"/>
                <a:gd name="connsiteY133" fmla="*/ 38950 h 897199"/>
                <a:gd name="connsiteX134" fmla="*/ 6272494 w 12192000"/>
                <a:gd name="connsiteY134" fmla="*/ 136339 h 897199"/>
                <a:gd name="connsiteX135" fmla="*/ 6199429 w 12192000"/>
                <a:gd name="connsiteY135" fmla="*/ 136339 h 897199"/>
                <a:gd name="connsiteX136" fmla="*/ 6199429 w 12192000"/>
                <a:gd name="connsiteY136" fmla="*/ 38950 h 897199"/>
                <a:gd name="connsiteX137" fmla="*/ 6199429 w 12192000"/>
                <a:gd name="connsiteY137" fmla="*/ 885124 h 897199"/>
                <a:gd name="connsiteX138" fmla="*/ 6199429 w 12192000"/>
                <a:gd name="connsiteY138" fmla="*/ 293982 h 897199"/>
                <a:gd name="connsiteX139" fmla="*/ 6272494 w 12192000"/>
                <a:gd name="connsiteY139" fmla="*/ 293982 h 897199"/>
                <a:gd name="connsiteX140" fmla="*/ 6272494 w 12192000"/>
                <a:gd name="connsiteY140" fmla="*/ 885124 h 897199"/>
                <a:gd name="connsiteX141" fmla="*/ 5949116 w 12192000"/>
                <a:gd name="connsiteY141" fmla="*/ 342661 h 897199"/>
                <a:gd name="connsiteX142" fmla="*/ 5726570 w 12192000"/>
                <a:gd name="connsiteY142" fmla="*/ 589545 h 897199"/>
                <a:gd name="connsiteX143" fmla="*/ 5940992 w 12192000"/>
                <a:gd name="connsiteY143" fmla="*/ 836446 h 897199"/>
                <a:gd name="connsiteX144" fmla="*/ 6074280 w 12192000"/>
                <a:gd name="connsiteY144" fmla="*/ 809767 h 897199"/>
                <a:gd name="connsiteX145" fmla="*/ 6081250 w 12192000"/>
                <a:gd name="connsiteY145" fmla="*/ 878178 h 897199"/>
                <a:gd name="connsiteX146" fmla="*/ 5929399 w 12192000"/>
                <a:gd name="connsiteY146" fmla="*/ 899040 h 897199"/>
                <a:gd name="connsiteX147" fmla="*/ 5646591 w 12192000"/>
                <a:gd name="connsiteY147" fmla="*/ 589537 h 897199"/>
                <a:gd name="connsiteX148" fmla="*/ 5938701 w 12192000"/>
                <a:gd name="connsiteY148" fmla="*/ 280058 h 897199"/>
                <a:gd name="connsiteX149" fmla="*/ 6081306 w 12192000"/>
                <a:gd name="connsiteY149" fmla="*/ 303220 h 897199"/>
                <a:gd name="connsiteX150" fmla="*/ 6075514 w 12192000"/>
                <a:gd name="connsiteY150" fmla="*/ 372760 h 897199"/>
                <a:gd name="connsiteX151" fmla="*/ 5949172 w 12192000"/>
                <a:gd name="connsiteY151" fmla="*/ 342653 h 897199"/>
                <a:gd name="connsiteX152" fmla="*/ 5347551 w 12192000"/>
                <a:gd name="connsiteY152" fmla="*/ 131708 h 897199"/>
                <a:gd name="connsiteX153" fmla="*/ 5172555 w 12192000"/>
                <a:gd name="connsiteY153" fmla="*/ 270789 h 897199"/>
                <a:gd name="connsiteX154" fmla="*/ 5543434 w 12192000"/>
                <a:gd name="connsiteY154" fmla="*/ 670678 h 897199"/>
                <a:gd name="connsiteX155" fmla="*/ 5278003 w 12192000"/>
                <a:gd name="connsiteY155" fmla="*/ 899040 h 897199"/>
                <a:gd name="connsiteX156" fmla="*/ 5094890 w 12192000"/>
                <a:gd name="connsiteY156" fmla="*/ 864254 h 897199"/>
                <a:gd name="connsiteX157" fmla="*/ 5103006 w 12192000"/>
                <a:gd name="connsiteY157" fmla="*/ 781943 h 897199"/>
                <a:gd name="connsiteX158" fmla="*/ 5281504 w 12192000"/>
                <a:gd name="connsiteY158" fmla="*/ 829467 h 897199"/>
                <a:gd name="connsiteX159" fmla="*/ 5463463 w 12192000"/>
                <a:gd name="connsiteY159" fmla="*/ 663700 h 897199"/>
                <a:gd name="connsiteX160" fmla="*/ 5092567 w 12192000"/>
                <a:gd name="connsiteY160" fmla="*/ 273104 h 897199"/>
                <a:gd name="connsiteX161" fmla="*/ 5348721 w 12192000"/>
                <a:gd name="connsiteY161" fmla="*/ 62136 h 897199"/>
                <a:gd name="connsiteX162" fmla="*/ 5507494 w 12192000"/>
                <a:gd name="connsiteY162" fmla="*/ 88798 h 897199"/>
                <a:gd name="connsiteX163" fmla="*/ 5494756 w 12192000"/>
                <a:gd name="connsiteY163" fmla="*/ 161831 h 897199"/>
                <a:gd name="connsiteX164" fmla="*/ 5347551 w 12192000"/>
                <a:gd name="connsiteY164" fmla="*/ 131700 h 897199"/>
                <a:gd name="connsiteX165" fmla="*/ 4231388 w 12192000"/>
                <a:gd name="connsiteY165" fmla="*/ 482895 h 897199"/>
                <a:gd name="connsiteX166" fmla="*/ 4079561 w 12192000"/>
                <a:gd name="connsiteY166" fmla="*/ 669565 h 897199"/>
                <a:gd name="connsiteX167" fmla="*/ 4267320 w 12192000"/>
                <a:gd name="connsiteY167" fmla="*/ 836477 h 897199"/>
                <a:gd name="connsiteX168" fmla="*/ 4466680 w 12192000"/>
                <a:gd name="connsiteY168" fmla="*/ 742574 h 897199"/>
                <a:gd name="connsiteX169" fmla="*/ 4231388 w 12192000"/>
                <a:gd name="connsiteY169" fmla="*/ 482927 h 897199"/>
                <a:gd name="connsiteX170" fmla="*/ 4413379 w 12192000"/>
                <a:gd name="connsiteY170" fmla="*/ 241803 h 897199"/>
                <a:gd name="connsiteX171" fmla="*/ 4298605 w 12192000"/>
                <a:gd name="connsiteY171" fmla="*/ 124738 h 897199"/>
                <a:gd name="connsiteX172" fmla="*/ 4165316 w 12192000"/>
                <a:gd name="connsiteY172" fmla="*/ 242981 h 897199"/>
                <a:gd name="connsiteX173" fmla="*/ 4256881 w 12192000"/>
                <a:gd name="connsiteY173" fmla="*/ 407554 h 897199"/>
                <a:gd name="connsiteX174" fmla="*/ 4413379 w 12192000"/>
                <a:gd name="connsiteY174" fmla="*/ 241803 h 897199"/>
                <a:gd name="connsiteX175" fmla="*/ 4698518 w 12192000"/>
                <a:gd name="connsiteY175" fmla="*/ 882800 h 897199"/>
                <a:gd name="connsiteX176" fmla="*/ 4596539 w 12192000"/>
                <a:gd name="connsiteY176" fmla="*/ 882800 h 897199"/>
                <a:gd name="connsiteX177" fmla="*/ 4510751 w 12192000"/>
                <a:gd name="connsiteY177" fmla="*/ 792398 h 897199"/>
                <a:gd name="connsiteX178" fmla="*/ 4264996 w 12192000"/>
                <a:gd name="connsiteY178" fmla="*/ 899048 h 897199"/>
                <a:gd name="connsiteX179" fmla="*/ 3999573 w 12192000"/>
                <a:gd name="connsiteY179" fmla="*/ 673002 h 897199"/>
                <a:gd name="connsiteX180" fmla="*/ 4190833 w 12192000"/>
                <a:gd name="connsiteY180" fmla="*/ 437710 h 897199"/>
                <a:gd name="connsiteX181" fmla="*/ 4085353 w 12192000"/>
                <a:gd name="connsiteY181" fmla="*/ 238334 h 897199"/>
                <a:gd name="connsiteX182" fmla="*/ 4303268 w 12192000"/>
                <a:gd name="connsiteY182" fmla="*/ 62144 h 897199"/>
                <a:gd name="connsiteX183" fmla="*/ 4493334 w 12192000"/>
                <a:gd name="connsiteY183" fmla="*/ 229065 h 897199"/>
                <a:gd name="connsiteX184" fmla="*/ 4298597 w 12192000"/>
                <a:gd name="connsiteY184" fmla="*/ 449286 h 897199"/>
                <a:gd name="connsiteX185" fmla="*/ 4511897 w 12192000"/>
                <a:gd name="connsiteY185" fmla="*/ 686902 h 897199"/>
                <a:gd name="connsiteX186" fmla="*/ 4581437 w 12192000"/>
                <a:gd name="connsiteY186" fmla="*/ 441163 h 897199"/>
                <a:gd name="connsiteX187" fmla="*/ 4650986 w 12192000"/>
                <a:gd name="connsiteY187" fmla="*/ 441163 h 897199"/>
                <a:gd name="connsiteX188" fmla="*/ 4560575 w 12192000"/>
                <a:gd name="connsiteY188" fmla="*/ 733249 h 897199"/>
                <a:gd name="connsiteX189" fmla="*/ 4698510 w 12192000"/>
                <a:gd name="connsiteY189" fmla="*/ 882800 h 897199"/>
                <a:gd name="connsiteX190" fmla="*/ 3535960 w 12192000"/>
                <a:gd name="connsiteY190" fmla="*/ 836446 h 897199"/>
                <a:gd name="connsiteX191" fmla="*/ 3603201 w 12192000"/>
                <a:gd name="connsiteY191" fmla="*/ 822529 h 897199"/>
                <a:gd name="connsiteX192" fmla="*/ 3607824 w 12192000"/>
                <a:gd name="connsiteY192" fmla="*/ 882800 h 897199"/>
                <a:gd name="connsiteX193" fmla="*/ 3518591 w 12192000"/>
                <a:gd name="connsiteY193" fmla="*/ 899048 h 897199"/>
                <a:gd name="connsiteX194" fmla="*/ 3384109 w 12192000"/>
                <a:gd name="connsiteY194" fmla="*/ 701963 h 897199"/>
                <a:gd name="connsiteX195" fmla="*/ 3384109 w 12192000"/>
                <a:gd name="connsiteY195" fmla="*/ 356577 h 897199"/>
                <a:gd name="connsiteX196" fmla="*/ 3268213 w 12192000"/>
                <a:gd name="connsiteY196" fmla="*/ 356577 h 897199"/>
                <a:gd name="connsiteX197" fmla="*/ 3268213 w 12192000"/>
                <a:gd name="connsiteY197" fmla="*/ 293982 h 897199"/>
                <a:gd name="connsiteX198" fmla="*/ 3384109 w 12192000"/>
                <a:gd name="connsiteY198" fmla="*/ 293982 h 897199"/>
                <a:gd name="connsiteX199" fmla="*/ 3384109 w 12192000"/>
                <a:gd name="connsiteY199" fmla="*/ 151376 h 897199"/>
                <a:gd name="connsiteX200" fmla="*/ 3457150 w 12192000"/>
                <a:gd name="connsiteY200" fmla="*/ 125884 h 897199"/>
                <a:gd name="connsiteX201" fmla="*/ 3457150 w 12192000"/>
                <a:gd name="connsiteY201" fmla="*/ 293958 h 897199"/>
                <a:gd name="connsiteX202" fmla="*/ 3591584 w 12192000"/>
                <a:gd name="connsiteY202" fmla="*/ 293958 h 897199"/>
                <a:gd name="connsiteX203" fmla="*/ 3591584 w 12192000"/>
                <a:gd name="connsiteY203" fmla="*/ 356553 h 897199"/>
                <a:gd name="connsiteX204" fmla="*/ 3457150 w 12192000"/>
                <a:gd name="connsiteY204" fmla="*/ 356553 h 897199"/>
                <a:gd name="connsiteX205" fmla="*/ 3457150 w 12192000"/>
                <a:gd name="connsiteY205" fmla="*/ 739049 h 897199"/>
                <a:gd name="connsiteX206" fmla="*/ 3535960 w 12192000"/>
                <a:gd name="connsiteY206" fmla="*/ 836421 h 897199"/>
                <a:gd name="connsiteX207" fmla="*/ 3176673 w 12192000"/>
                <a:gd name="connsiteY207" fmla="*/ 356553 h 897199"/>
                <a:gd name="connsiteX208" fmla="*/ 3029469 w 12192000"/>
                <a:gd name="connsiteY208" fmla="*/ 593014 h 897199"/>
                <a:gd name="connsiteX209" fmla="*/ 3029469 w 12192000"/>
                <a:gd name="connsiteY209" fmla="*/ 885100 h 897199"/>
                <a:gd name="connsiteX210" fmla="*/ 2956451 w 12192000"/>
                <a:gd name="connsiteY210" fmla="*/ 885100 h 897199"/>
                <a:gd name="connsiteX211" fmla="*/ 2956451 w 12192000"/>
                <a:gd name="connsiteY211" fmla="*/ 426117 h 897199"/>
                <a:gd name="connsiteX212" fmla="*/ 2951789 w 12192000"/>
                <a:gd name="connsiteY212" fmla="*/ 293982 h 897199"/>
                <a:gd name="connsiteX213" fmla="*/ 3024822 w 12192000"/>
                <a:gd name="connsiteY213" fmla="*/ 293982 h 897199"/>
                <a:gd name="connsiteX214" fmla="*/ 3024822 w 12192000"/>
                <a:gd name="connsiteY214" fmla="*/ 407554 h 897199"/>
                <a:gd name="connsiteX215" fmla="*/ 3027169 w 12192000"/>
                <a:gd name="connsiteY215" fmla="*/ 407554 h 897199"/>
                <a:gd name="connsiteX216" fmla="*/ 3178997 w 12192000"/>
                <a:gd name="connsiteY216" fmla="*/ 280066 h 897199"/>
                <a:gd name="connsiteX217" fmla="*/ 3229974 w 12192000"/>
                <a:gd name="connsiteY217" fmla="*/ 287036 h 897199"/>
                <a:gd name="connsiteX218" fmla="*/ 3229974 w 12192000"/>
                <a:gd name="connsiteY218" fmla="*/ 363523 h 897199"/>
                <a:gd name="connsiteX219" fmla="*/ 3176673 w 12192000"/>
                <a:gd name="connsiteY219" fmla="*/ 356577 h 897199"/>
                <a:gd name="connsiteX220" fmla="*/ 2483569 w 12192000"/>
                <a:gd name="connsiteY220" fmla="*/ 152546 h 897199"/>
                <a:gd name="connsiteX221" fmla="*/ 2307402 w 12192000"/>
                <a:gd name="connsiteY221" fmla="*/ 598790 h 897199"/>
                <a:gd name="connsiteX222" fmla="*/ 2658589 w 12192000"/>
                <a:gd name="connsiteY222" fmla="*/ 598790 h 897199"/>
                <a:gd name="connsiteX223" fmla="*/ 2483569 w 12192000"/>
                <a:gd name="connsiteY223" fmla="*/ 152546 h 897199"/>
                <a:gd name="connsiteX224" fmla="*/ 2772185 w 12192000"/>
                <a:gd name="connsiteY224" fmla="*/ 885100 h 897199"/>
                <a:gd name="connsiteX225" fmla="*/ 2685252 w 12192000"/>
                <a:gd name="connsiteY225" fmla="*/ 668355 h 897199"/>
                <a:gd name="connsiteX226" fmla="*/ 2277247 w 12192000"/>
                <a:gd name="connsiteY226" fmla="*/ 668355 h 897199"/>
                <a:gd name="connsiteX227" fmla="*/ 2190297 w 12192000"/>
                <a:gd name="connsiteY227" fmla="*/ 885100 h 897199"/>
                <a:gd name="connsiteX228" fmla="*/ 2112665 w 12192000"/>
                <a:gd name="connsiteY228" fmla="*/ 885100 h 897199"/>
                <a:gd name="connsiteX229" fmla="*/ 2444168 w 12192000"/>
                <a:gd name="connsiteY229" fmla="*/ 76036 h 897199"/>
                <a:gd name="connsiteX230" fmla="*/ 2534570 w 12192000"/>
                <a:gd name="connsiteY230" fmla="*/ 76036 h 897199"/>
                <a:gd name="connsiteX231" fmla="*/ 2855650 w 12192000"/>
                <a:gd name="connsiteY231" fmla="*/ 885100 h 897199"/>
                <a:gd name="connsiteX232" fmla="*/ 1508762 w 12192000"/>
                <a:gd name="connsiteY232" fmla="*/ 342637 h 897199"/>
                <a:gd name="connsiteX233" fmla="*/ 1334911 w 12192000"/>
                <a:gd name="connsiteY233" fmla="*/ 547789 h 897199"/>
                <a:gd name="connsiteX234" fmla="*/ 1659451 w 12192000"/>
                <a:gd name="connsiteY234" fmla="*/ 547789 h 897199"/>
                <a:gd name="connsiteX235" fmla="*/ 1508778 w 12192000"/>
                <a:gd name="connsiteY235" fmla="*/ 342637 h 897199"/>
                <a:gd name="connsiteX236" fmla="*/ 1334911 w 12192000"/>
                <a:gd name="connsiteY236" fmla="*/ 610383 h 897199"/>
                <a:gd name="connsiteX237" fmla="*/ 1529640 w 12192000"/>
                <a:gd name="connsiteY237" fmla="*/ 836421 h 897199"/>
                <a:gd name="connsiteX238" fmla="*/ 1695391 w 12192000"/>
                <a:gd name="connsiteY238" fmla="*/ 792358 h 897199"/>
                <a:gd name="connsiteX239" fmla="*/ 1695391 w 12192000"/>
                <a:gd name="connsiteY239" fmla="*/ 866521 h 897199"/>
                <a:gd name="connsiteX240" fmla="*/ 1523847 w 12192000"/>
                <a:gd name="connsiteY240" fmla="*/ 899008 h 897199"/>
                <a:gd name="connsiteX241" fmla="*/ 1254915 w 12192000"/>
                <a:gd name="connsiteY241" fmla="*/ 589505 h 897199"/>
                <a:gd name="connsiteX242" fmla="*/ 1504147 w 12192000"/>
                <a:gd name="connsiteY242" fmla="*/ 280026 h 897199"/>
                <a:gd name="connsiteX243" fmla="*/ 1739447 w 12192000"/>
                <a:gd name="connsiteY243" fmla="*/ 573249 h 897199"/>
                <a:gd name="connsiteX244" fmla="*/ 1739447 w 12192000"/>
                <a:gd name="connsiteY244" fmla="*/ 610359 h 897199"/>
                <a:gd name="connsiteX245" fmla="*/ 1048633 w 12192000"/>
                <a:gd name="connsiteY245" fmla="*/ 885100 h 897199"/>
                <a:gd name="connsiteX246" fmla="*/ 1048633 w 12192000"/>
                <a:gd name="connsiteY246" fmla="*/ 532743 h 897199"/>
                <a:gd name="connsiteX247" fmla="*/ 908375 w 12192000"/>
                <a:gd name="connsiteY247" fmla="*/ 342661 h 897199"/>
                <a:gd name="connsiteX248" fmla="*/ 733346 w 12192000"/>
                <a:gd name="connsiteY248" fmla="*/ 568675 h 897199"/>
                <a:gd name="connsiteX249" fmla="*/ 733346 w 12192000"/>
                <a:gd name="connsiteY249" fmla="*/ 885132 h 897199"/>
                <a:gd name="connsiteX250" fmla="*/ 660393 w 12192000"/>
                <a:gd name="connsiteY250" fmla="*/ 885132 h 897199"/>
                <a:gd name="connsiteX251" fmla="*/ 660393 w 12192000"/>
                <a:gd name="connsiteY251" fmla="*/ 15789 h 897199"/>
                <a:gd name="connsiteX252" fmla="*/ 733402 w 12192000"/>
                <a:gd name="connsiteY252" fmla="*/ 15789 h 897199"/>
                <a:gd name="connsiteX253" fmla="*/ 733402 w 12192000"/>
                <a:gd name="connsiteY253" fmla="*/ 393638 h 897199"/>
                <a:gd name="connsiteX254" fmla="*/ 735734 w 12192000"/>
                <a:gd name="connsiteY254" fmla="*/ 393638 h 897199"/>
                <a:gd name="connsiteX255" fmla="*/ 920039 w 12192000"/>
                <a:gd name="connsiteY255" fmla="*/ 280066 h 897199"/>
                <a:gd name="connsiteX256" fmla="*/ 1121731 w 12192000"/>
                <a:gd name="connsiteY256" fmla="*/ 531573 h 897199"/>
                <a:gd name="connsiteX257" fmla="*/ 1121731 w 12192000"/>
                <a:gd name="connsiteY257" fmla="*/ 885124 h 897199"/>
                <a:gd name="connsiteX258" fmla="*/ 325373 w 12192000"/>
                <a:gd name="connsiteY258" fmla="*/ 145576 h 897199"/>
                <a:gd name="connsiteX259" fmla="*/ 325373 w 12192000"/>
                <a:gd name="connsiteY259" fmla="*/ 885100 h 897199"/>
                <a:gd name="connsiteX260" fmla="*/ 245410 w 12192000"/>
                <a:gd name="connsiteY260" fmla="*/ 885100 h 897199"/>
                <a:gd name="connsiteX261" fmla="*/ 245410 w 12192000"/>
                <a:gd name="connsiteY261" fmla="*/ 145600 h 897199"/>
                <a:gd name="connsiteX262" fmla="*/ 6649 w 12192000"/>
                <a:gd name="connsiteY262" fmla="*/ 145600 h 897199"/>
                <a:gd name="connsiteX263" fmla="*/ 6649 w 12192000"/>
                <a:gd name="connsiteY263" fmla="*/ 76060 h 897199"/>
                <a:gd name="connsiteX264" fmla="*/ 564190 w 12192000"/>
                <a:gd name="connsiteY264" fmla="*/ 76060 h 897199"/>
                <a:gd name="connsiteX265" fmla="*/ 564190 w 12192000"/>
                <a:gd name="connsiteY265" fmla="*/ 145600 h 89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2192000" h="897199">
                  <a:moveTo>
                    <a:pt x="12198649" y="885124"/>
                  </a:moveTo>
                  <a:lnTo>
                    <a:pt x="12097839" y="885124"/>
                  </a:lnTo>
                  <a:lnTo>
                    <a:pt x="11805730" y="581421"/>
                  </a:lnTo>
                  <a:lnTo>
                    <a:pt x="11805730" y="885124"/>
                  </a:lnTo>
                  <a:lnTo>
                    <a:pt x="11732688" y="885124"/>
                  </a:lnTo>
                  <a:lnTo>
                    <a:pt x="11732688" y="15789"/>
                  </a:lnTo>
                  <a:lnTo>
                    <a:pt x="11805730" y="15789"/>
                  </a:lnTo>
                  <a:lnTo>
                    <a:pt x="11805730" y="536236"/>
                  </a:lnTo>
                  <a:lnTo>
                    <a:pt x="12070007" y="293982"/>
                  </a:lnTo>
                  <a:lnTo>
                    <a:pt x="12163887" y="293982"/>
                  </a:lnTo>
                  <a:lnTo>
                    <a:pt x="11875270" y="555961"/>
                  </a:lnTo>
                  <a:lnTo>
                    <a:pt x="12198649" y="885124"/>
                  </a:lnTo>
                  <a:close/>
                  <a:moveTo>
                    <a:pt x="11444120" y="342661"/>
                  </a:moveTo>
                  <a:cubicBezTo>
                    <a:pt x="11368811" y="342661"/>
                    <a:pt x="11316608" y="365822"/>
                    <a:pt x="11316608" y="441203"/>
                  </a:cubicBezTo>
                  <a:cubicBezTo>
                    <a:pt x="11316608" y="551346"/>
                    <a:pt x="11607548" y="537430"/>
                    <a:pt x="11607548" y="730989"/>
                  </a:cubicBezTo>
                  <a:cubicBezTo>
                    <a:pt x="11607548" y="856178"/>
                    <a:pt x="11490475" y="899088"/>
                    <a:pt x="11401218" y="899088"/>
                  </a:cubicBezTo>
                  <a:cubicBezTo>
                    <a:pt x="11344424" y="899088"/>
                    <a:pt x="11287622" y="892118"/>
                    <a:pt x="11235475" y="871248"/>
                  </a:cubicBezTo>
                  <a:lnTo>
                    <a:pt x="11242445" y="799384"/>
                  </a:lnTo>
                  <a:cubicBezTo>
                    <a:pt x="11286468" y="821424"/>
                    <a:pt x="11339793" y="836485"/>
                    <a:pt x="11396595" y="836485"/>
                  </a:cubicBezTo>
                  <a:cubicBezTo>
                    <a:pt x="11466136" y="836485"/>
                    <a:pt x="11527584" y="798214"/>
                    <a:pt x="11527584" y="730989"/>
                  </a:cubicBezTo>
                  <a:cubicBezTo>
                    <a:pt x="11527584" y="590731"/>
                    <a:pt x="11243590" y="612770"/>
                    <a:pt x="11243590" y="441203"/>
                  </a:cubicBezTo>
                  <a:cubicBezTo>
                    <a:pt x="11243590" y="324130"/>
                    <a:pt x="11338647" y="280106"/>
                    <a:pt x="11436004" y="280106"/>
                  </a:cubicBezTo>
                  <a:cubicBezTo>
                    <a:pt x="11467289" y="280106"/>
                    <a:pt x="11529884" y="287076"/>
                    <a:pt x="11582055" y="306761"/>
                  </a:cubicBezTo>
                  <a:lnTo>
                    <a:pt x="11575085" y="370533"/>
                  </a:lnTo>
                  <a:cubicBezTo>
                    <a:pt x="11536830" y="353116"/>
                    <a:pt x="11484682" y="342701"/>
                    <a:pt x="11444120" y="342701"/>
                  </a:cubicBezTo>
                  <a:close/>
                  <a:moveTo>
                    <a:pt x="11036115" y="38950"/>
                  </a:moveTo>
                  <a:lnTo>
                    <a:pt x="11109148" y="38950"/>
                  </a:lnTo>
                  <a:lnTo>
                    <a:pt x="11109148" y="136339"/>
                  </a:lnTo>
                  <a:lnTo>
                    <a:pt x="11036115" y="136339"/>
                  </a:lnTo>
                  <a:lnTo>
                    <a:pt x="11036115" y="38950"/>
                  </a:lnTo>
                  <a:close/>
                  <a:moveTo>
                    <a:pt x="11036115" y="885124"/>
                  </a:moveTo>
                  <a:lnTo>
                    <a:pt x="11036115" y="293982"/>
                  </a:lnTo>
                  <a:lnTo>
                    <a:pt x="11109148" y="293982"/>
                  </a:lnTo>
                  <a:lnTo>
                    <a:pt x="11109148" y="885124"/>
                  </a:lnTo>
                  <a:close/>
                  <a:moveTo>
                    <a:pt x="10570226" y="145600"/>
                  </a:moveTo>
                  <a:lnTo>
                    <a:pt x="10487892" y="145600"/>
                  </a:lnTo>
                  <a:lnTo>
                    <a:pt x="10487892" y="434217"/>
                  </a:lnTo>
                  <a:lnTo>
                    <a:pt x="10572525" y="434217"/>
                  </a:lnTo>
                  <a:cubicBezTo>
                    <a:pt x="10666405" y="434217"/>
                    <a:pt x="10774209" y="398309"/>
                    <a:pt x="10774209" y="285859"/>
                  </a:cubicBezTo>
                  <a:cubicBezTo>
                    <a:pt x="10774209" y="153724"/>
                    <a:pt x="10680321" y="145600"/>
                    <a:pt x="10570226" y="145600"/>
                  </a:cubicBezTo>
                  <a:close/>
                  <a:moveTo>
                    <a:pt x="10674529" y="472472"/>
                  </a:moveTo>
                  <a:lnTo>
                    <a:pt x="10674529" y="474795"/>
                  </a:lnTo>
                  <a:cubicBezTo>
                    <a:pt x="10739423" y="482895"/>
                    <a:pt x="10753339" y="517673"/>
                    <a:pt x="10778855" y="572176"/>
                  </a:cubicBezTo>
                  <a:lnTo>
                    <a:pt x="10916799" y="885124"/>
                  </a:lnTo>
                  <a:lnTo>
                    <a:pt x="10828671" y="885124"/>
                  </a:lnTo>
                  <a:lnTo>
                    <a:pt x="10711598" y="611561"/>
                  </a:lnTo>
                  <a:cubicBezTo>
                    <a:pt x="10665235" y="507274"/>
                    <a:pt x="10630473" y="503757"/>
                    <a:pt x="10553987" y="503757"/>
                  </a:cubicBezTo>
                  <a:lnTo>
                    <a:pt x="10487892" y="503757"/>
                  </a:lnTo>
                  <a:lnTo>
                    <a:pt x="10487892" y="885108"/>
                  </a:lnTo>
                  <a:lnTo>
                    <a:pt x="10407928" y="885108"/>
                  </a:lnTo>
                  <a:lnTo>
                    <a:pt x="10407928" y="76060"/>
                  </a:lnTo>
                  <a:lnTo>
                    <a:pt x="10616581" y="76060"/>
                  </a:lnTo>
                  <a:cubicBezTo>
                    <a:pt x="10760285" y="76060"/>
                    <a:pt x="10854188" y="137484"/>
                    <a:pt x="10854188" y="285859"/>
                  </a:cubicBezTo>
                  <a:cubicBezTo>
                    <a:pt x="10854188" y="390185"/>
                    <a:pt x="10774209" y="459710"/>
                    <a:pt x="10674529" y="472472"/>
                  </a:cubicBezTo>
                  <a:close/>
                  <a:moveTo>
                    <a:pt x="9970977" y="77229"/>
                  </a:moveTo>
                  <a:cubicBezTo>
                    <a:pt x="9955908" y="69114"/>
                    <a:pt x="9933916" y="64483"/>
                    <a:pt x="9913053" y="64483"/>
                  </a:cubicBezTo>
                  <a:cubicBezTo>
                    <a:pt x="9813350" y="64483"/>
                    <a:pt x="9823773" y="172263"/>
                    <a:pt x="9823773" y="242981"/>
                  </a:cubicBezTo>
                  <a:lnTo>
                    <a:pt x="9823773" y="293982"/>
                  </a:lnTo>
                  <a:lnTo>
                    <a:pt x="9957061" y="293982"/>
                  </a:lnTo>
                  <a:lnTo>
                    <a:pt x="9957061" y="356577"/>
                  </a:lnTo>
                  <a:lnTo>
                    <a:pt x="9823773" y="356577"/>
                  </a:lnTo>
                  <a:lnTo>
                    <a:pt x="9823773" y="885124"/>
                  </a:lnTo>
                  <a:lnTo>
                    <a:pt x="9750755" y="885124"/>
                  </a:lnTo>
                  <a:lnTo>
                    <a:pt x="9750755" y="356577"/>
                  </a:lnTo>
                  <a:lnTo>
                    <a:pt x="9631383" y="356577"/>
                  </a:lnTo>
                  <a:lnTo>
                    <a:pt x="9631383" y="293982"/>
                  </a:lnTo>
                  <a:lnTo>
                    <a:pt x="9750755" y="293982"/>
                  </a:lnTo>
                  <a:lnTo>
                    <a:pt x="9750755" y="251096"/>
                  </a:lnTo>
                  <a:cubicBezTo>
                    <a:pt x="9750755" y="127061"/>
                    <a:pt x="9755378" y="1889"/>
                    <a:pt x="9907229" y="1889"/>
                  </a:cubicBezTo>
                  <a:cubicBezTo>
                    <a:pt x="9930463" y="1889"/>
                    <a:pt x="9961708" y="5342"/>
                    <a:pt x="9975624" y="13465"/>
                  </a:cubicBezTo>
                  <a:lnTo>
                    <a:pt x="9970977" y="77229"/>
                  </a:lnTo>
                  <a:close/>
                  <a:moveTo>
                    <a:pt x="9292942" y="342661"/>
                  </a:moveTo>
                  <a:cubicBezTo>
                    <a:pt x="9165430" y="342661"/>
                    <a:pt x="9097060" y="452780"/>
                    <a:pt x="9097060" y="589545"/>
                  </a:cubicBezTo>
                  <a:cubicBezTo>
                    <a:pt x="9097060" y="726310"/>
                    <a:pt x="9165430" y="836446"/>
                    <a:pt x="9292942" y="836446"/>
                  </a:cubicBezTo>
                  <a:cubicBezTo>
                    <a:pt x="9420454" y="836446"/>
                    <a:pt x="9488825" y="726302"/>
                    <a:pt x="9488825" y="589545"/>
                  </a:cubicBezTo>
                  <a:cubicBezTo>
                    <a:pt x="9488825" y="452788"/>
                    <a:pt x="9420431" y="342661"/>
                    <a:pt x="9292942" y="342661"/>
                  </a:cubicBezTo>
                  <a:close/>
                  <a:moveTo>
                    <a:pt x="9292942" y="899048"/>
                  </a:moveTo>
                  <a:cubicBezTo>
                    <a:pt x="9101682" y="899048"/>
                    <a:pt x="9017048" y="750666"/>
                    <a:pt x="9017048" y="589545"/>
                  </a:cubicBezTo>
                  <a:cubicBezTo>
                    <a:pt x="9017048" y="428424"/>
                    <a:pt x="9101682" y="280066"/>
                    <a:pt x="9292942" y="280066"/>
                  </a:cubicBezTo>
                  <a:cubicBezTo>
                    <a:pt x="9484202" y="280066"/>
                    <a:pt x="9568813" y="428416"/>
                    <a:pt x="9568813" y="589545"/>
                  </a:cubicBezTo>
                  <a:cubicBezTo>
                    <a:pt x="9568813" y="750674"/>
                    <a:pt x="9484179" y="899040"/>
                    <a:pt x="9292942" y="899040"/>
                  </a:cubicBezTo>
                  <a:close/>
                  <a:moveTo>
                    <a:pt x="8381940" y="342661"/>
                  </a:moveTo>
                  <a:cubicBezTo>
                    <a:pt x="8274144" y="342661"/>
                    <a:pt x="8208089" y="450432"/>
                    <a:pt x="8208089" y="547813"/>
                  </a:cubicBezTo>
                  <a:lnTo>
                    <a:pt x="8532661" y="547813"/>
                  </a:lnTo>
                  <a:cubicBezTo>
                    <a:pt x="8532661" y="444656"/>
                    <a:pt x="8490929" y="342661"/>
                    <a:pt x="8381956" y="342661"/>
                  </a:cubicBezTo>
                  <a:close/>
                  <a:moveTo>
                    <a:pt x="8208089" y="610407"/>
                  </a:moveTo>
                  <a:cubicBezTo>
                    <a:pt x="8208089" y="735596"/>
                    <a:pt x="8275306" y="836446"/>
                    <a:pt x="8402826" y="836446"/>
                  </a:cubicBezTo>
                  <a:cubicBezTo>
                    <a:pt x="8456143" y="836446"/>
                    <a:pt x="8533791" y="814414"/>
                    <a:pt x="8568569" y="792382"/>
                  </a:cubicBezTo>
                  <a:lnTo>
                    <a:pt x="8568569" y="866545"/>
                  </a:lnTo>
                  <a:cubicBezTo>
                    <a:pt x="8517591" y="887415"/>
                    <a:pt x="8451496" y="899032"/>
                    <a:pt x="8397025" y="899032"/>
                  </a:cubicBezTo>
                  <a:cubicBezTo>
                    <a:pt x="8201119" y="899032"/>
                    <a:pt x="8128125" y="766889"/>
                    <a:pt x="8128125" y="589529"/>
                  </a:cubicBezTo>
                  <a:cubicBezTo>
                    <a:pt x="8128125" y="408708"/>
                    <a:pt x="8227781" y="280050"/>
                    <a:pt x="8377333" y="280050"/>
                  </a:cubicBezTo>
                  <a:cubicBezTo>
                    <a:pt x="8544230" y="280050"/>
                    <a:pt x="8612624" y="414484"/>
                    <a:pt x="8612624" y="573274"/>
                  </a:cubicBezTo>
                  <a:lnTo>
                    <a:pt x="8612624" y="610383"/>
                  </a:lnTo>
                  <a:close/>
                  <a:moveTo>
                    <a:pt x="7921843" y="342661"/>
                  </a:moveTo>
                  <a:cubicBezTo>
                    <a:pt x="7779237" y="342661"/>
                    <a:pt x="7699274" y="445810"/>
                    <a:pt x="7699274" y="589545"/>
                  </a:cubicBezTo>
                  <a:cubicBezTo>
                    <a:pt x="7699274" y="724003"/>
                    <a:pt x="7780415" y="836446"/>
                    <a:pt x="7913720" y="836446"/>
                  </a:cubicBezTo>
                  <a:cubicBezTo>
                    <a:pt x="7960075" y="836446"/>
                    <a:pt x="8002960" y="826030"/>
                    <a:pt x="8047008" y="809767"/>
                  </a:cubicBezTo>
                  <a:lnTo>
                    <a:pt x="8053978" y="878178"/>
                  </a:lnTo>
                  <a:cubicBezTo>
                    <a:pt x="8004130" y="895547"/>
                    <a:pt x="7957775" y="899048"/>
                    <a:pt x="7902127" y="899048"/>
                  </a:cubicBezTo>
                  <a:cubicBezTo>
                    <a:pt x="7712045" y="899048"/>
                    <a:pt x="7619319" y="754119"/>
                    <a:pt x="7619319" y="589545"/>
                  </a:cubicBezTo>
                  <a:cubicBezTo>
                    <a:pt x="7619319" y="407554"/>
                    <a:pt x="7736392" y="280066"/>
                    <a:pt x="7911428" y="280066"/>
                  </a:cubicBezTo>
                  <a:cubicBezTo>
                    <a:pt x="7982122" y="280066"/>
                    <a:pt x="8033148" y="296282"/>
                    <a:pt x="8054034" y="303228"/>
                  </a:cubicBezTo>
                  <a:lnTo>
                    <a:pt x="8048242" y="372768"/>
                  </a:lnTo>
                  <a:cubicBezTo>
                    <a:pt x="8008809" y="355399"/>
                    <a:pt x="7961284" y="342661"/>
                    <a:pt x="7921899" y="342661"/>
                  </a:cubicBezTo>
                  <a:close/>
                  <a:moveTo>
                    <a:pt x="7413005" y="885124"/>
                  </a:moveTo>
                  <a:lnTo>
                    <a:pt x="7413005" y="525773"/>
                  </a:lnTo>
                  <a:cubicBezTo>
                    <a:pt x="7413005" y="414500"/>
                    <a:pt x="7373596" y="342661"/>
                    <a:pt x="7272746" y="342661"/>
                  </a:cubicBezTo>
                  <a:cubicBezTo>
                    <a:pt x="7139458" y="342661"/>
                    <a:pt x="7097726" y="459726"/>
                    <a:pt x="7097726" y="558252"/>
                  </a:cubicBezTo>
                  <a:lnTo>
                    <a:pt x="7097726" y="885124"/>
                  </a:lnTo>
                  <a:lnTo>
                    <a:pt x="7024708" y="885124"/>
                  </a:lnTo>
                  <a:lnTo>
                    <a:pt x="7024708" y="433063"/>
                  </a:lnTo>
                  <a:cubicBezTo>
                    <a:pt x="7024708" y="387862"/>
                    <a:pt x="7024708" y="341507"/>
                    <a:pt x="7020062" y="293982"/>
                  </a:cubicBezTo>
                  <a:lnTo>
                    <a:pt x="7090756" y="293982"/>
                  </a:lnTo>
                  <a:lnTo>
                    <a:pt x="7090756" y="399431"/>
                  </a:lnTo>
                  <a:lnTo>
                    <a:pt x="7093103" y="399431"/>
                  </a:lnTo>
                  <a:cubicBezTo>
                    <a:pt x="7117418" y="346130"/>
                    <a:pt x="7161474" y="280058"/>
                    <a:pt x="7284363" y="280058"/>
                  </a:cubicBezTo>
                  <a:cubicBezTo>
                    <a:pt x="7430422" y="280058"/>
                    <a:pt x="7486046" y="377431"/>
                    <a:pt x="7486046" y="507250"/>
                  </a:cubicBezTo>
                  <a:lnTo>
                    <a:pt x="7486046" y="885116"/>
                  </a:lnTo>
                  <a:close/>
                  <a:moveTo>
                    <a:pt x="6660783" y="342661"/>
                  </a:moveTo>
                  <a:cubicBezTo>
                    <a:pt x="6552979" y="342661"/>
                    <a:pt x="6486932" y="450432"/>
                    <a:pt x="6486932" y="547813"/>
                  </a:cubicBezTo>
                  <a:lnTo>
                    <a:pt x="6811464" y="547813"/>
                  </a:lnTo>
                  <a:cubicBezTo>
                    <a:pt x="6811464" y="444656"/>
                    <a:pt x="6769732" y="342661"/>
                    <a:pt x="6660807" y="342661"/>
                  </a:cubicBezTo>
                  <a:close/>
                  <a:moveTo>
                    <a:pt x="6486932" y="610407"/>
                  </a:moveTo>
                  <a:cubicBezTo>
                    <a:pt x="6486932" y="735596"/>
                    <a:pt x="6554157" y="836446"/>
                    <a:pt x="6681669" y="836446"/>
                  </a:cubicBezTo>
                  <a:cubicBezTo>
                    <a:pt x="6734970" y="836446"/>
                    <a:pt x="6812634" y="814414"/>
                    <a:pt x="6847412" y="792382"/>
                  </a:cubicBezTo>
                  <a:lnTo>
                    <a:pt x="6847412" y="866545"/>
                  </a:lnTo>
                  <a:cubicBezTo>
                    <a:pt x="6796419" y="887415"/>
                    <a:pt x="6730347" y="899032"/>
                    <a:pt x="6675869" y="899032"/>
                  </a:cubicBezTo>
                  <a:cubicBezTo>
                    <a:pt x="6479970" y="899032"/>
                    <a:pt x="6406969" y="766889"/>
                    <a:pt x="6406969" y="589529"/>
                  </a:cubicBezTo>
                  <a:cubicBezTo>
                    <a:pt x="6406969" y="408708"/>
                    <a:pt x="6506624" y="280050"/>
                    <a:pt x="6656128" y="280050"/>
                  </a:cubicBezTo>
                  <a:cubicBezTo>
                    <a:pt x="6823041" y="280050"/>
                    <a:pt x="6891436" y="414484"/>
                    <a:pt x="6891436" y="573274"/>
                  </a:cubicBezTo>
                  <a:lnTo>
                    <a:pt x="6891436" y="610383"/>
                  </a:lnTo>
                  <a:close/>
                  <a:moveTo>
                    <a:pt x="6199429" y="38950"/>
                  </a:moveTo>
                  <a:lnTo>
                    <a:pt x="6272494" y="38950"/>
                  </a:lnTo>
                  <a:lnTo>
                    <a:pt x="6272494" y="136339"/>
                  </a:lnTo>
                  <a:lnTo>
                    <a:pt x="6199429" y="136339"/>
                  </a:lnTo>
                  <a:lnTo>
                    <a:pt x="6199429" y="38950"/>
                  </a:lnTo>
                  <a:close/>
                  <a:moveTo>
                    <a:pt x="6199429" y="885124"/>
                  </a:moveTo>
                  <a:lnTo>
                    <a:pt x="6199429" y="293982"/>
                  </a:lnTo>
                  <a:lnTo>
                    <a:pt x="6272494" y="293982"/>
                  </a:lnTo>
                  <a:lnTo>
                    <a:pt x="6272494" y="885124"/>
                  </a:lnTo>
                  <a:close/>
                  <a:moveTo>
                    <a:pt x="5949116" y="342661"/>
                  </a:moveTo>
                  <a:cubicBezTo>
                    <a:pt x="5806510" y="342661"/>
                    <a:pt x="5726570" y="445810"/>
                    <a:pt x="5726570" y="589545"/>
                  </a:cubicBezTo>
                  <a:cubicBezTo>
                    <a:pt x="5726570" y="724003"/>
                    <a:pt x="5807687" y="836446"/>
                    <a:pt x="5940992" y="836446"/>
                  </a:cubicBezTo>
                  <a:cubicBezTo>
                    <a:pt x="5987347" y="836446"/>
                    <a:pt x="6030233" y="826030"/>
                    <a:pt x="6074280" y="809767"/>
                  </a:cubicBezTo>
                  <a:lnTo>
                    <a:pt x="6081250" y="878178"/>
                  </a:lnTo>
                  <a:cubicBezTo>
                    <a:pt x="6031402" y="895547"/>
                    <a:pt x="5985048" y="899040"/>
                    <a:pt x="5929399" y="899040"/>
                  </a:cubicBezTo>
                  <a:cubicBezTo>
                    <a:pt x="5739317" y="899040"/>
                    <a:pt x="5646591" y="754111"/>
                    <a:pt x="5646591" y="589537"/>
                  </a:cubicBezTo>
                  <a:cubicBezTo>
                    <a:pt x="5646591" y="407546"/>
                    <a:pt x="5763688" y="280058"/>
                    <a:pt x="5938701" y="280058"/>
                  </a:cubicBezTo>
                  <a:cubicBezTo>
                    <a:pt x="6009419" y="280058"/>
                    <a:pt x="6060420" y="296274"/>
                    <a:pt x="6081306" y="303220"/>
                  </a:cubicBezTo>
                  <a:lnTo>
                    <a:pt x="6075514" y="372760"/>
                  </a:lnTo>
                  <a:cubicBezTo>
                    <a:pt x="6036081" y="355391"/>
                    <a:pt x="5988581" y="342653"/>
                    <a:pt x="5949172" y="342653"/>
                  </a:cubicBezTo>
                  <a:close/>
                  <a:moveTo>
                    <a:pt x="5347551" y="131708"/>
                  </a:moveTo>
                  <a:cubicBezTo>
                    <a:pt x="5264087" y="131708"/>
                    <a:pt x="5172555" y="166470"/>
                    <a:pt x="5172555" y="270789"/>
                  </a:cubicBezTo>
                  <a:cubicBezTo>
                    <a:pt x="5172555" y="433063"/>
                    <a:pt x="5543434" y="434225"/>
                    <a:pt x="5543434" y="670678"/>
                  </a:cubicBezTo>
                  <a:cubicBezTo>
                    <a:pt x="5543442" y="834146"/>
                    <a:pt x="5403192" y="899040"/>
                    <a:pt x="5278003" y="899040"/>
                  </a:cubicBezTo>
                  <a:cubicBezTo>
                    <a:pt x="5199193" y="899040"/>
                    <a:pt x="5137800" y="882792"/>
                    <a:pt x="5094890" y="864254"/>
                  </a:cubicBezTo>
                  <a:lnTo>
                    <a:pt x="5103006" y="781943"/>
                  </a:lnTo>
                  <a:cubicBezTo>
                    <a:pt x="5150515" y="812082"/>
                    <a:pt x="5206163" y="829467"/>
                    <a:pt x="5281504" y="829467"/>
                  </a:cubicBezTo>
                  <a:cubicBezTo>
                    <a:pt x="5381176" y="829467"/>
                    <a:pt x="5463463" y="778474"/>
                    <a:pt x="5463463" y="663700"/>
                  </a:cubicBezTo>
                  <a:cubicBezTo>
                    <a:pt x="5463463" y="504927"/>
                    <a:pt x="5092567" y="485210"/>
                    <a:pt x="5092567" y="273104"/>
                  </a:cubicBezTo>
                  <a:cubicBezTo>
                    <a:pt x="5092567" y="143269"/>
                    <a:pt x="5206163" y="62136"/>
                    <a:pt x="5348721" y="62136"/>
                  </a:cubicBezTo>
                  <a:cubicBezTo>
                    <a:pt x="5388146" y="62136"/>
                    <a:pt x="5451870" y="67928"/>
                    <a:pt x="5507494" y="88798"/>
                  </a:cubicBezTo>
                  <a:lnTo>
                    <a:pt x="5494756" y="161831"/>
                  </a:lnTo>
                  <a:cubicBezTo>
                    <a:pt x="5458824" y="142099"/>
                    <a:pt x="5402046" y="131700"/>
                    <a:pt x="5347551" y="131700"/>
                  </a:cubicBezTo>
                  <a:close/>
                  <a:moveTo>
                    <a:pt x="4231388" y="482895"/>
                  </a:moveTo>
                  <a:cubicBezTo>
                    <a:pt x="4154901" y="513027"/>
                    <a:pt x="4079561" y="580252"/>
                    <a:pt x="4079561" y="669565"/>
                  </a:cubicBezTo>
                  <a:cubicBezTo>
                    <a:pt x="4079561" y="779684"/>
                    <a:pt x="4169963" y="836477"/>
                    <a:pt x="4267320" y="836477"/>
                  </a:cubicBezTo>
                  <a:cubicBezTo>
                    <a:pt x="4340337" y="836477"/>
                    <a:pt x="4420341" y="799376"/>
                    <a:pt x="4466680" y="742574"/>
                  </a:cubicBezTo>
                  <a:lnTo>
                    <a:pt x="4231388" y="482927"/>
                  </a:lnTo>
                  <a:close/>
                  <a:moveTo>
                    <a:pt x="4413379" y="241803"/>
                  </a:moveTo>
                  <a:cubicBezTo>
                    <a:pt x="4413379" y="165293"/>
                    <a:pt x="4367024" y="124738"/>
                    <a:pt x="4298605" y="124738"/>
                  </a:cubicBezTo>
                  <a:cubicBezTo>
                    <a:pt x="4230186" y="124738"/>
                    <a:pt x="4165316" y="164147"/>
                    <a:pt x="4165316" y="242981"/>
                  </a:cubicBezTo>
                  <a:cubicBezTo>
                    <a:pt x="4165316" y="306721"/>
                    <a:pt x="4212873" y="358876"/>
                    <a:pt x="4256881" y="407554"/>
                  </a:cubicBezTo>
                  <a:cubicBezTo>
                    <a:pt x="4327591" y="373906"/>
                    <a:pt x="4413379" y="336836"/>
                    <a:pt x="4413379" y="241803"/>
                  </a:cubicBezTo>
                  <a:close/>
                  <a:moveTo>
                    <a:pt x="4698518" y="882800"/>
                  </a:moveTo>
                  <a:lnTo>
                    <a:pt x="4596539" y="882800"/>
                  </a:lnTo>
                  <a:lnTo>
                    <a:pt x="4510751" y="792398"/>
                  </a:lnTo>
                  <a:cubicBezTo>
                    <a:pt x="4444664" y="866561"/>
                    <a:pt x="4360078" y="899048"/>
                    <a:pt x="4264996" y="899048"/>
                  </a:cubicBezTo>
                  <a:cubicBezTo>
                    <a:pt x="4128239" y="899048"/>
                    <a:pt x="3999573" y="829475"/>
                    <a:pt x="3999573" y="673002"/>
                  </a:cubicBezTo>
                  <a:cubicBezTo>
                    <a:pt x="3999573" y="548982"/>
                    <a:pt x="4083014" y="479418"/>
                    <a:pt x="4190833" y="437710"/>
                  </a:cubicBezTo>
                  <a:cubicBezTo>
                    <a:pt x="4140977" y="380892"/>
                    <a:pt x="4085353" y="319467"/>
                    <a:pt x="4085353" y="238334"/>
                  </a:cubicBezTo>
                  <a:cubicBezTo>
                    <a:pt x="4085353" y="122415"/>
                    <a:pt x="4196626" y="62144"/>
                    <a:pt x="4303268" y="62144"/>
                  </a:cubicBezTo>
                  <a:cubicBezTo>
                    <a:pt x="4399455" y="62144"/>
                    <a:pt x="4493334" y="115469"/>
                    <a:pt x="4493334" y="229065"/>
                  </a:cubicBezTo>
                  <a:cubicBezTo>
                    <a:pt x="4493334" y="355399"/>
                    <a:pt x="4395978" y="400608"/>
                    <a:pt x="4298597" y="449286"/>
                  </a:cubicBezTo>
                  <a:lnTo>
                    <a:pt x="4511897" y="686902"/>
                  </a:lnTo>
                  <a:cubicBezTo>
                    <a:pt x="4562874" y="613900"/>
                    <a:pt x="4581437" y="528120"/>
                    <a:pt x="4581437" y="441163"/>
                  </a:cubicBezTo>
                  <a:lnTo>
                    <a:pt x="4650986" y="441163"/>
                  </a:lnTo>
                  <a:cubicBezTo>
                    <a:pt x="4650986" y="545489"/>
                    <a:pt x="4620846" y="652139"/>
                    <a:pt x="4560575" y="733249"/>
                  </a:cubicBezTo>
                  <a:lnTo>
                    <a:pt x="4698510" y="882800"/>
                  </a:lnTo>
                  <a:close/>
                  <a:moveTo>
                    <a:pt x="3535960" y="836446"/>
                  </a:moveTo>
                  <a:cubicBezTo>
                    <a:pt x="3563776" y="836446"/>
                    <a:pt x="3582339" y="830653"/>
                    <a:pt x="3603201" y="822529"/>
                  </a:cubicBezTo>
                  <a:lnTo>
                    <a:pt x="3607824" y="882800"/>
                  </a:lnTo>
                  <a:cubicBezTo>
                    <a:pt x="3590455" y="889754"/>
                    <a:pt x="3554523" y="899048"/>
                    <a:pt x="3518591" y="899048"/>
                  </a:cubicBezTo>
                  <a:cubicBezTo>
                    <a:pt x="3388804" y="899048"/>
                    <a:pt x="3384109" y="809767"/>
                    <a:pt x="3384109" y="701963"/>
                  </a:cubicBezTo>
                  <a:lnTo>
                    <a:pt x="3384109" y="356577"/>
                  </a:lnTo>
                  <a:lnTo>
                    <a:pt x="3268213" y="356577"/>
                  </a:lnTo>
                  <a:lnTo>
                    <a:pt x="3268213" y="293982"/>
                  </a:lnTo>
                  <a:lnTo>
                    <a:pt x="3384109" y="293982"/>
                  </a:lnTo>
                  <a:lnTo>
                    <a:pt x="3384109" y="151376"/>
                  </a:lnTo>
                  <a:lnTo>
                    <a:pt x="3457150" y="125884"/>
                  </a:lnTo>
                  <a:lnTo>
                    <a:pt x="3457150" y="293958"/>
                  </a:lnTo>
                  <a:lnTo>
                    <a:pt x="3591584" y="293958"/>
                  </a:lnTo>
                  <a:lnTo>
                    <a:pt x="3591584" y="356553"/>
                  </a:lnTo>
                  <a:lnTo>
                    <a:pt x="3457150" y="356553"/>
                  </a:lnTo>
                  <a:lnTo>
                    <a:pt x="3457150" y="739049"/>
                  </a:lnTo>
                  <a:cubicBezTo>
                    <a:pt x="3457150" y="792374"/>
                    <a:pt x="3476859" y="836421"/>
                    <a:pt x="3535960" y="836421"/>
                  </a:cubicBezTo>
                  <a:close/>
                  <a:moveTo>
                    <a:pt x="3176673" y="356553"/>
                  </a:moveTo>
                  <a:cubicBezTo>
                    <a:pt x="3060778" y="356553"/>
                    <a:pt x="3029469" y="486340"/>
                    <a:pt x="3029469" y="593014"/>
                  </a:cubicBezTo>
                  <a:lnTo>
                    <a:pt x="3029469" y="885100"/>
                  </a:lnTo>
                  <a:lnTo>
                    <a:pt x="2956451" y="885100"/>
                  </a:lnTo>
                  <a:lnTo>
                    <a:pt x="2956451" y="426117"/>
                  </a:lnTo>
                  <a:cubicBezTo>
                    <a:pt x="2956451" y="361223"/>
                    <a:pt x="2956451" y="336836"/>
                    <a:pt x="2951789" y="293982"/>
                  </a:cubicBezTo>
                  <a:lnTo>
                    <a:pt x="3024822" y="293982"/>
                  </a:lnTo>
                  <a:lnTo>
                    <a:pt x="3024822" y="407554"/>
                  </a:lnTo>
                  <a:lnTo>
                    <a:pt x="3027169" y="407554"/>
                  </a:lnTo>
                  <a:cubicBezTo>
                    <a:pt x="3053808" y="341507"/>
                    <a:pt x="3103656" y="280066"/>
                    <a:pt x="3178997" y="280066"/>
                  </a:cubicBezTo>
                  <a:cubicBezTo>
                    <a:pt x="3196366" y="280066"/>
                    <a:pt x="3217236" y="283535"/>
                    <a:pt x="3229974" y="287036"/>
                  </a:cubicBezTo>
                  <a:lnTo>
                    <a:pt x="3229974" y="363523"/>
                  </a:lnTo>
                  <a:cubicBezTo>
                    <a:pt x="3214929" y="358876"/>
                    <a:pt x="3195220" y="356577"/>
                    <a:pt x="3176673" y="356577"/>
                  </a:cubicBezTo>
                  <a:close/>
                  <a:moveTo>
                    <a:pt x="2483569" y="152546"/>
                  </a:moveTo>
                  <a:lnTo>
                    <a:pt x="2307402" y="598790"/>
                  </a:lnTo>
                  <a:lnTo>
                    <a:pt x="2658589" y="598790"/>
                  </a:lnTo>
                  <a:lnTo>
                    <a:pt x="2483569" y="152546"/>
                  </a:lnTo>
                  <a:close/>
                  <a:moveTo>
                    <a:pt x="2772185" y="885100"/>
                  </a:moveTo>
                  <a:lnTo>
                    <a:pt x="2685252" y="668355"/>
                  </a:lnTo>
                  <a:lnTo>
                    <a:pt x="2277247" y="668355"/>
                  </a:lnTo>
                  <a:lnTo>
                    <a:pt x="2190297" y="885100"/>
                  </a:lnTo>
                  <a:lnTo>
                    <a:pt x="2112665" y="885100"/>
                  </a:lnTo>
                  <a:lnTo>
                    <a:pt x="2444168" y="76036"/>
                  </a:lnTo>
                  <a:lnTo>
                    <a:pt x="2534570" y="76036"/>
                  </a:lnTo>
                  <a:lnTo>
                    <a:pt x="2855650" y="885100"/>
                  </a:lnTo>
                  <a:close/>
                  <a:moveTo>
                    <a:pt x="1508762" y="342637"/>
                  </a:moveTo>
                  <a:cubicBezTo>
                    <a:pt x="1400950" y="342637"/>
                    <a:pt x="1334911" y="450408"/>
                    <a:pt x="1334911" y="547789"/>
                  </a:cubicBezTo>
                  <a:lnTo>
                    <a:pt x="1659451" y="547789"/>
                  </a:lnTo>
                  <a:cubicBezTo>
                    <a:pt x="1659451" y="444632"/>
                    <a:pt x="1617727" y="342637"/>
                    <a:pt x="1508778" y="342637"/>
                  </a:cubicBezTo>
                  <a:close/>
                  <a:moveTo>
                    <a:pt x="1334911" y="610383"/>
                  </a:moveTo>
                  <a:cubicBezTo>
                    <a:pt x="1334911" y="735572"/>
                    <a:pt x="1402128" y="836421"/>
                    <a:pt x="1529640" y="836421"/>
                  </a:cubicBezTo>
                  <a:cubicBezTo>
                    <a:pt x="1582948" y="836421"/>
                    <a:pt x="1660613" y="814390"/>
                    <a:pt x="1695391" y="792358"/>
                  </a:cubicBezTo>
                  <a:lnTo>
                    <a:pt x="1695391" y="866521"/>
                  </a:lnTo>
                  <a:cubicBezTo>
                    <a:pt x="1644381" y="887391"/>
                    <a:pt x="1578318" y="899008"/>
                    <a:pt x="1523847" y="899008"/>
                  </a:cubicBezTo>
                  <a:cubicBezTo>
                    <a:pt x="1327956" y="899008"/>
                    <a:pt x="1254915" y="766865"/>
                    <a:pt x="1254915" y="589505"/>
                  </a:cubicBezTo>
                  <a:cubicBezTo>
                    <a:pt x="1254915" y="408684"/>
                    <a:pt x="1354611" y="280026"/>
                    <a:pt x="1504147" y="280026"/>
                  </a:cubicBezTo>
                  <a:cubicBezTo>
                    <a:pt x="1671060" y="280026"/>
                    <a:pt x="1739447" y="414460"/>
                    <a:pt x="1739447" y="573249"/>
                  </a:cubicBezTo>
                  <a:lnTo>
                    <a:pt x="1739447" y="610359"/>
                  </a:lnTo>
                  <a:close/>
                  <a:moveTo>
                    <a:pt x="1048633" y="885100"/>
                  </a:moveTo>
                  <a:lnTo>
                    <a:pt x="1048633" y="532743"/>
                  </a:lnTo>
                  <a:cubicBezTo>
                    <a:pt x="1048633" y="430740"/>
                    <a:pt x="1028933" y="342661"/>
                    <a:pt x="908375" y="342661"/>
                  </a:cubicBezTo>
                  <a:cubicBezTo>
                    <a:pt x="778587" y="342661"/>
                    <a:pt x="733346" y="465526"/>
                    <a:pt x="733346" y="568675"/>
                  </a:cubicBezTo>
                  <a:lnTo>
                    <a:pt x="733346" y="885132"/>
                  </a:lnTo>
                  <a:lnTo>
                    <a:pt x="660393" y="885132"/>
                  </a:lnTo>
                  <a:lnTo>
                    <a:pt x="660393" y="15789"/>
                  </a:lnTo>
                  <a:lnTo>
                    <a:pt x="733402" y="15789"/>
                  </a:lnTo>
                  <a:lnTo>
                    <a:pt x="733402" y="393638"/>
                  </a:lnTo>
                  <a:lnTo>
                    <a:pt x="735734" y="393638"/>
                  </a:lnTo>
                  <a:cubicBezTo>
                    <a:pt x="767043" y="328745"/>
                    <a:pt x="833098" y="280066"/>
                    <a:pt x="920039" y="280066"/>
                  </a:cubicBezTo>
                  <a:cubicBezTo>
                    <a:pt x="1078837" y="280066"/>
                    <a:pt x="1121731" y="385539"/>
                    <a:pt x="1121731" y="531573"/>
                  </a:cubicBezTo>
                  <a:lnTo>
                    <a:pt x="1121731" y="885124"/>
                  </a:lnTo>
                  <a:close/>
                  <a:moveTo>
                    <a:pt x="325373" y="145576"/>
                  </a:moveTo>
                  <a:lnTo>
                    <a:pt x="325373" y="885100"/>
                  </a:lnTo>
                  <a:lnTo>
                    <a:pt x="245410" y="885100"/>
                  </a:lnTo>
                  <a:lnTo>
                    <a:pt x="245410" y="145600"/>
                  </a:lnTo>
                  <a:lnTo>
                    <a:pt x="6649" y="145600"/>
                  </a:lnTo>
                  <a:lnTo>
                    <a:pt x="6649" y="76060"/>
                  </a:lnTo>
                  <a:lnTo>
                    <a:pt x="564190" y="76060"/>
                  </a:lnTo>
                  <a:lnTo>
                    <a:pt x="564190" y="145600"/>
                  </a:lnTo>
                  <a:close/>
                </a:path>
              </a:pathLst>
            </a:custGeom>
            <a:grpFill/>
            <a:ln w="801" cap="flat">
              <a:noFill/>
              <a:prstDash val="solid"/>
              <a:miter/>
            </a:ln>
          </p:spPr>
          <p:txBody>
            <a:bodyPr rtlCol="0" anchor="ctr"/>
            <a:lstStyle/>
            <a:p>
              <a:endParaRPr lang="fr-BE"/>
            </a:p>
          </p:txBody>
        </p:sp>
        <p:sp>
          <p:nvSpPr>
            <p:cNvPr id="7" name="Forme libre : forme 24">
              <a:extLst>
                <a:ext uri="{FF2B5EF4-FFF2-40B4-BE49-F238E27FC236}">
                  <a16:creationId xmlns:a16="http://schemas.microsoft.com/office/drawing/2014/main" id="{97546D95-3040-429A-8252-7B1A28ACC9A3}"/>
                </a:ext>
              </a:extLst>
            </p:cNvPr>
            <p:cNvSpPr/>
            <p:nvPr/>
          </p:nvSpPr>
          <p:spPr>
            <a:xfrm>
              <a:off x="-786557" y="8253511"/>
              <a:ext cx="12106540" cy="2183968"/>
            </a:xfrm>
            <a:custGeom>
              <a:avLst/>
              <a:gdLst>
                <a:gd name="connsiteX0" fmla="*/ 1817527 w 12106540"/>
                <a:gd name="connsiteY0" fmla="*/ 17639 h 2183968"/>
                <a:gd name="connsiteX1" fmla="*/ 2709919 w 12106540"/>
                <a:gd name="connsiteY1" fmla="*/ 219996 h 2183968"/>
                <a:gd name="connsiteX2" fmla="*/ 2399495 w 12106540"/>
                <a:gd name="connsiteY2" fmla="*/ 553709 h 2183968"/>
                <a:gd name="connsiteX3" fmla="*/ 1554275 w 12106540"/>
                <a:gd name="connsiteY3" fmla="*/ 421102 h 2183968"/>
                <a:gd name="connsiteX4" fmla="*/ 1093835 w 12106540"/>
                <a:gd name="connsiteY4" fmla="*/ 615663 h 2183968"/>
                <a:gd name="connsiteX5" fmla="*/ 2590034 w 12106540"/>
                <a:gd name="connsiteY5" fmla="*/ 1477163 h 2183968"/>
                <a:gd name="connsiteX6" fmla="*/ 1357920 w 12106540"/>
                <a:gd name="connsiteY6" fmla="*/ 2178888 h 2183968"/>
                <a:gd name="connsiteX7" fmla="*/ 6649 w 12106540"/>
                <a:gd name="connsiteY7" fmla="*/ 1870266 h 2183968"/>
                <a:gd name="connsiteX8" fmla="*/ 177127 w 12106540"/>
                <a:gd name="connsiteY8" fmla="*/ 1601366 h 2183968"/>
                <a:gd name="connsiteX9" fmla="*/ 315383 w 12106540"/>
                <a:gd name="connsiteY9" fmla="*/ 1540622 h 2183968"/>
                <a:gd name="connsiteX10" fmla="*/ 1266003 w 12106540"/>
                <a:gd name="connsiteY10" fmla="*/ 1757896 h 2183968"/>
                <a:gd name="connsiteX11" fmla="*/ 1878047 w 12106540"/>
                <a:gd name="connsiteY11" fmla="*/ 1547704 h 2183968"/>
                <a:gd name="connsiteX12" fmla="*/ 435781 w 12106540"/>
                <a:gd name="connsiteY12" fmla="*/ 659750 h 2183968"/>
                <a:gd name="connsiteX13" fmla="*/ 1817559 w 12106540"/>
                <a:gd name="connsiteY13" fmla="*/ 17639 h 2183968"/>
                <a:gd name="connsiteX14" fmla="*/ 5541880 w 12106540"/>
                <a:gd name="connsiteY14" fmla="*/ 339584 h 2183968"/>
                <a:gd name="connsiteX15" fmla="*/ 5124069 w 12106540"/>
                <a:gd name="connsiteY15" fmla="*/ 641084 h 2183968"/>
                <a:gd name="connsiteX16" fmla="*/ 4293630 w 12106540"/>
                <a:gd name="connsiteY16" fmla="*/ 471959 h 2183968"/>
                <a:gd name="connsiteX17" fmla="*/ 3500028 w 12106540"/>
                <a:gd name="connsiteY17" fmla="*/ 1112949 h 2183968"/>
                <a:gd name="connsiteX18" fmla="*/ 4294295 w 12106540"/>
                <a:gd name="connsiteY18" fmla="*/ 1709266 h 2183968"/>
                <a:gd name="connsiteX19" fmla="*/ 6285970 w 12106540"/>
                <a:gd name="connsiteY19" fmla="*/ 463467 h 2183968"/>
                <a:gd name="connsiteX20" fmla="*/ 7656116 w 12106540"/>
                <a:gd name="connsiteY20" fmla="*/ 1889 h 2183968"/>
                <a:gd name="connsiteX21" fmla="*/ 9088663 w 12106540"/>
                <a:gd name="connsiteY21" fmla="*/ 1112925 h 2183968"/>
                <a:gd name="connsiteX22" fmla="*/ 7660522 w 12106540"/>
                <a:gd name="connsiteY22" fmla="*/ 2185858 h 2183968"/>
                <a:gd name="connsiteX23" fmla="*/ 6096064 w 12106540"/>
                <a:gd name="connsiteY23" fmla="*/ 1561236 h 2183968"/>
                <a:gd name="connsiteX24" fmla="*/ 6461199 w 12106540"/>
                <a:gd name="connsiteY24" fmla="*/ 1232329 h 2183968"/>
                <a:gd name="connsiteX25" fmla="*/ 7621963 w 12106540"/>
                <a:gd name="connsiteY25" fmla="*/ 1709266 h 2183968"/>
                <a:gd name="connsiteX26" fmla="*/ 8449349 w 12106540"/>
                <a:gd name="connsiteY26" fmla="*/ 1112949 h 2183968"/>
                <a:gd name="connsiteX27" fmla="*/ 7656436 w 12106540"/>
                <a:gd name="connsiteY27" fmla="*/ 471959 h 2183968"/>
                <a:gd name="connsiteX28" fmla="*/ 4297451 w 12106540"/>
                <a:gd name="connsiteY28" fmla="*/ 2178872 h 2183968"/>
                <a:gd name="connsiteX29" fmla="*/ 2858141 w 12106540"/>
                <a:gd name="connsiteY29" fmla="*/ 1209152 h 2183968"/>
                <a:gd name="connsiteX30" fmla="*/ 2858141 w 12106540"/>
                <a:gd name="connsiteY30" fmla="*/ 1027145 h 2183968"/>
                <a:gd name="connsiteX31" fmla="*/ 4317048 w 12106540"/>
                <a:gd name="connsiteY31" fmla="*/ 1913 h 2183968"/>
                <a:gd name="connsiteX32" fmla="*/ 5541912 w 12106540"/>
                <a:gd name="connsiteY32" fmla="*/ 339584 h 2183968"/>
                <a:gd name="connsiteX33" fmla="*/ 11334842 w 12106540"/>
                <a:gd name="connsiteY33" fmla="*/ 2127766 h 2183968"/>
                <a:gd name="connsiteX34" fmla="*/ 11045520 w 12106540"/>
                <a:gd name="connsiteY34" fmla="*/ 1920675 h 2183968"/>
                <a:gd name="connsiteX35" fmla="*/ 10375930 w 12106540"/>
                <a:gd name="connsiteY35" fmla="*/ 1108086 h 2183968"/>
                <a:gd name="connsiteX36" fmla="*/ 11480516 w 12106540"/>
                <a:gd name="connsiteY36" fmla="*/ 670702 h 2183968"/>
                <a:gd name="connsiteX37" fmla="*/ 10929641 w 12106540"/>
                <a:gd name="connsiteY37" fmla="*/ 419059 h 2183968"/>
                <a:gd name="connsiteX38" fmla="*/ 10098626 w 12106540"/>
                <a:gd name="connsiteY38" fmla="*/ 1123011 h 2183968"/>
                <a:gd name="connsiteX39" fmla="*/ 9779148 w 12106540"/>
                <a:gd name="connsiteY39" fmla="*/ 2142018 h 2183968"/>
                <a:gd name="connsiteX40" fmla="*/ 9150385 w 12106540"/>
                <a:gd name="connsiteY40" fmla="*/ 2142018 h 2183968"/>
                <a:gd name="connsiteX41" fmla="*/ 9474348 w 12106540"/>
                <a:gd name="connsiteY41" fmla="*/ 1112380 h 2183968"/>
                <a:gd name="connsiteX42" fmla="*/ 10977422 w 12106540"/>
                <a:gd name="connsiteY42" fmla="*/ 1913 h 2183968"/>
                <a:gd name="connsiteX43" fmla="*/ 12113190 w 12106540"/>
                <a:gd name="connsiteY43" fmla="*/ 602988 h 2183968"/>
                <a:gd name="connsiteX44" fmla="*/ 11137950 w 12106540"/>
                <a:gd name="connsiteY44" fmla="*/ 1304105 h 2183968"/>
                <a:gd name="connsiteX45" fmla="*/ 11974357 w 12106540"/>
                <a:gd name="connsiteY45" fmla="*/ 2142018 h 2183968"/>
                <a:gd name="connsiteX46" fmla="*/ 11447725 w 12106540"/>
                <a:gd name="connsiteY46" fmla="*/ 2142018 h 2183968"/>
                <a:gd name="connsiteX47" fmla="*/ 11334842 w 12106540"/>
                <a:gd name="connsiteY47" fmla="*/ 2127774 h 218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106540" h="2183968">
                  <a:moveTo>
                    <a:pt x="1817527" y="17639"/>
                  </a:moveTo>
                  <a:cubicBezTo>
                    <a:pt x="2181084" y="56095"/>
                    <a:pt x="2662459" y="205110"/>
                    <a:pt x="2709919" y="219996"/>
                  </a:cubicBezTo>
                  <a:cubicBezTo>
                    <a:pt x="2630797" y="359493"/>
                    <a:pt x="2565463" y="553709"/>
                    <a:pt x="2399495" y="553709"/>
                  </a:cubicBezTo>
                  <a:cubicBezTo>
                    <a:pt x="2276846" y="553709"/>
                    <a:pt x="1935209" y="421102"/>
                    <a:pt x="1554275" y="421102"/>
                  </a:cubicBezTo>
                  <a:cubicBezTo>
                    <a:pt x="1397593" y="421102"/>
                    <a:pt x="1093835" y="445185"/>
                    <a:pt x="1093835" y="615663"/>
                  </a:cubicBezTo>
                  <a:cubicBezTo>
                    <a:pt x="1093153" y="909687"/>
                    <a:pt x="2652981" y="818476"/>
                    <a:pt x="2590034" y="1477163"/>
                  </a:cubicBezTo>
                  <a:cubicBezTo>
                    <a:pt x="2552701" y="1872982"/>
                    <a:pt x="2043541" y="2178888"/>
                    <a:pt x="1357920" y="2178888"/>
                  </a:cubicBezTo>
                  <a:cubicBezTo>
                    <a:pt x="782273" y="2178888"/>
                    <a:pt x="216808" y="1980601"/>
                    <a:pt x="6649" y="1870266"/>
                  </a:cubicBezTo>
                  <a:cubicBezTo>
                    <a:pt x="66680" y="1775153"/>
                    <a:pt x="88832" y="1742081"/>
                    <a:pt x="177127" y="1601366"/>
                  </a:cubicBezTo>
                  <a:cubicBezTo>
                    <a:pt x="203237" y="1558905"/>
                    <a:pt x="252748" y="1534069"/>
                    <a:pt x="315383" y="1540622"/>
                  </a:cubicBezTo>
                  <a:cubicBezTo>
                    <a:pt x="402549" y="1549435"/>
                    <a:pt x="885373" y="1747497"/>
                    <a:pt x="1266003" y="1757896"/>
                  </a:cubicBezTo>
                  <a:cubicBezTo>
                    <a:pt x="1501703" y="1764601"/>
                    <a:pt x="1853403" y="1759178"/>
                    <a:pt x="1878047" y="1547704"/>
                  </a:cubicBezTo>
                  <a:cubicBezTo>
                    <a:pt x="1915805" y="1221377"/>
                    <a:pt x="435781" y="1302430"/>
                    <a:pt x="435781" y="659750"/>
                  </a:cubicBezTo>
                  <a:cubicBezTo>
                    <a:pt x="435781" y="328296"/>
                    <a:pt x="862533" y="-83651"/>
                    <a:pt x="1817559" y="17639"/>
                  </a:cubicBezTo>
                  <a:close/>
                  <a:moveTo>
                    <a:pt x="5541880" y="339584"/>
                  </a:moveTo>
                  <a:cubicBezTo>
                    <a:pt x="5376842" y="528144"/>
                    <a:pt x="5312413" y="641084"/>
                    <a:pt x="5124069" y="641084"/>
                  </a:cubicBezTo>
                  <a:cubicBezTo>
                    <a:pt x="4930870" y="641084"/>
                    <a:pt x="4776775" y="471959"/>
                    <a:pt x="4293630" y="471959"/>
                  </a:cubicBezTo>
                  <a:cubicBezTo>
                    <a:pt x="3804003" y="471959"/>
                    <a:pt x="3500028" y="757972"/>
                    <a:pt x="3500028" y="1112949"/>
                  </a:cubicBezTo>
                  <a:cubicBezTo>
                    <a:pt x="3500028" y="1600525"/>
                    <a:pt x="4056904" y="1709266"/>
                    <a:pt x="4294295" y="1709266"/>
                  </a:cubicBezTo>
                  <a:cubicBezTo>
                    <a:pt x="5033762" y="1709266"/>
                    <a:pt x="5737923" y="837335"/>
                    <a:pt x="6285970" y="463467"/>
                  </a:cubicBezTo>
                  <a:cubicBezTo>
                    <a:pt x="6654975" y="201753"/>
                    <a:pt x="7039105" y="1889"/>
                    <a:pt x="7656116" y="1889"/>
                  </a:cubicBezTo>
                  <a:cubicBezTo>
                    <a:pt x="8550110" y="1889"/>
                    <a:pt x="9088663" y="511841"/>
                    <a:pt x="9088663" y="1112925"/>
                  </a:cubicBezTo>
                  <a:cubicBezTo>
                    <a:pt x="9088663" y="1697336"/>
                    <a:pt x="8519922" y="2185858"/>
                    <a:pt x="7660522" y="2185858"/>
                  </a:cubicBezTo>
                  <a:cubicBezTo>
                    <a:pt x="6960760" y="2185858"/>
                    <a:pt x="6536043" y="1989158"/>
                    <a:pt x="6096064" y="1561236"/>
                  </a:cubicBezTo>
                  <a:lnTo>
                    <a:pt x="6461199" y="1232329"/>
                  </a:lnTo>
                  <a:cubicBezTo>
                    <a:pt x="6648669" y="1436151"/>
                    <a:pt x="7079091" y="1709266"/>
                    <a:pt x="7621963" y="1709266"/>
                  </a:cubicBezTo>
                  <a:cubicBezTo>
                    <a:pt x="8032667" y="1709266"/>
                    <a:pt x="8449349" y="1472997"/>
                    <a:pt x="8449349" y="1112949"/>
                  </a:cubicBezTo>
                  <a:cubicBezTo>
                    <a:pt x="8449349" y="746019"/>
                    <a:pt x="8141865" y="471959"/>
                    <a:pt x="7656436" y="471959"/>
                  </a:cubicBezTo>
                  <a:cubicBezTo>
                    <a:pt x="6427054" y="471959"/>
                    <a:pt x="5839413" y="2178872"/>
                    <a:pt x="4297451" y="2178872"/>
                  </a:cubicBezTo>
                  <a:cubicBezTo>
                    <a:pt x="3724865" y="2178872"/>
                    <a:pt x="2942239" y="1957520"/>
                    <a:pt x="2858141" y="1209152"/>
                  </a:cubicBezTo>
                  <a:cubicBezTo>
                    <a:pt x="2858141" y="1200443"/>
                    <a:pt x="2857228" y="1046132"/>
                    <a:pt x="2858141" y="1027145"/>
                  </a:cubicBezTo>
                  <a:cubicBezTo>
                    <a:pt x="2903231" y="432174"/>
                    <a:pt x="3572148" y="1913"/>
                    <a:pt x="4317048" y="1913"/>
                  </a:cubicBezTo>
                  <a:cubicBezTo>
                    <a:pt x="4766985" y="1913"/>
                    <a:pt x="5233987" y="181772"/>
                    <a:pt x="5541912" y="339584"/>
                  </a:cubicBezTo>
                  <a:close/>
                  <a:moveTo>
                    <a:pt x="11334842" y="2127766"/>
                  </a:moveTo>
                  <a:cubicBezTo>
                    <a:pt x="11226157" y="2098836"/>
                    <a:pt x="11134137" y="2026940"/>
                    <a:pt x="11045520" y="1920675"/>
                  </a:cubicBezTo>
                  <a:cubicBezTo>
                    <a:pt x="10795912" y="1620185"/>
                    <a:pt x="10464217" y="1219102"/>
                    <a:pt x="10375930" y="1108086"/>
                  </a:cubicBezTo>
                  <a:cubicBezTo>
                    <a:pt x="10657937" y="1064335"/>
                    <a:pt x="11480516" y="1037880"/>
                    <a:pt x="11480516" y="670702"/>
                  </a:cubicBezTo>
                  <a:cubicBezTo>
                    <a:pt x="11480516" y="462017"/>
                    <a:pt x="11163915" y="419059"/>
                    <a:pt x="10929641" y="419059"/>
                  </a:cubicBezTo>
                  <a:cubicBezTo>
                    <a:pt x="10276450" y="419059"/>
                    <a:pt x="10188259" y="864238"/>
                    <a:pt x="10098626" y="1123011"/>
                  </a:cubicBezTo>
                  <a:cubicBezTo>
                    <a:pt x="10098626" y="1123011"/>
                    <a:pt x="9826408" y="1990760"/>
                    <a:pt x="9779148" y="2142018"/>
                  </a:cubicBezTo>
                  <a:lnTo>
                    <a:pt x="9150385" y="2142018"/>
                  </a:lnTo>
                  <a:lnTo>
                    <a:pt x="9474348" y="1112380"/>
                  </a:lnTo>
                  <a:cubicBezTo>
                    <a:pt x="9670143" y="436132"/>
                    <a:pt x="10036087" y="1913"/>
                    <a:pt x="10977422" y="1913"/>
                  </a:cubicBezTo>
                  <a:cubicBezTo>
                    <a:pt x="11551114" y="1913"/>
                    <a:pt x="12113190" y="181772"/>
                    <a:pt x="12113190" y="602988"/>
                  </a:cubicBezTo>
                  <a:cubicBezTo>
                    <a:pt x="12113190" y="1094514"/>
                    <a:pt x="11492462" y="1260017"/>
                    <a:pt x="11137950" y="1304105"/>
                  </a:cubicBezTo>
                  <a:lnTo>
                    <a:pt x="11974357" y="2142018"/>
                  </a:lnTo>
                  <a:lnTo>
                    <a:pt x="11447725" y="2142018"/>
                  </a:lnTo>
                  <a:cubicBezTo>
                    <a:pt x="11407947" y="2142018"/>
                    <a:pt x="11370421" y="2137268"/>
                    <a:pt x="11334842" y="2127774"/>
                  </a:cubicBezTo>
                </a:path>
              </a:pathLst>
            </a:custGeom>
            <a:grpFill/>
            <a:ln w="801" cap="flat">
              <a:noFill/>
              <a:prstDash val="solid"/>
              <a:miter/>
            </a:ln>
          </p:spPr>
          <p:txBody>
            <a:bodyPr rtlCol="0" anchor="ctr"/>
            <a:lstStyle/>
            <a:p>
              <a:endParaRPr lang="fr-BE"/>
            </a:p>
          </p:txBody>
        </p:sp>
      </p:grpSp>
      <p:grpSp>
        <p:nvGrpSpPr>
          <p:cNvPr id="11" name="Groupe 10">
            <a:extLst>
              <a:ext uri="{FF2B5EF4-FFF2-40B4-BE49-F238E27FC236}">
                <a16:creationId xmlns:a16="http://schemas.microsoft.com/office/drawing/2014/main" id="{518949EC-CEAC-4A26-ADC7-5697E88B2189}"/>
              </a:ext>
            </a:extLst>
          </p:cNvPr>
          <p:cNvGrpSpPr/>
          <p:nvPr userDrawn="1"/>
        </p:nvGrpSpPr>
        <p:grpSpPr>
          <a:xfrm>
            <a:off x="12360696" y="-13072"/>
            <a:ext cx="1885826" cy="1528108"/>
            <a:chOff x="4867566" y="1651754"/>
            <a:chExt cx="1885826" cy="1528108"/>
          </a:xfrm>
        </p:grpSpPr>
        <p:sp>
          <p:nvSpPr>
            <p:cNvPr id="12" name="Freeform 5">
              <a:extLst>
                <a:ext uri="{FF2B5EF4-FFF2-40B4-BE49-F238E27FC236}">
                  <a16:creationId xmlns:a16="http://schemas.microsoft.com/office/drawing/2014/main" id="{21CC3C08-F188-4A1C-9E99-B5866872A766}"/>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3" name="Rectangle 12">
              <a:extLst>
                <a:ext uri="{FF2B5EF4-FFF2-40B4-BE49-F238E27FC236}">
                  <a16:creationId xmlns:a16="http://schemas.microsoft.com/office/drawing/2014/main" id="{A9BBCCC8-8321-4E90-9EC6-A10050336397}"/>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a:solidFill>
                    <a:schemeClr val="accent1"/>
                  </a:solidFill>
                  <a:latin typeface="+mj-lt"/>
                </a:rPr>
                <a:t>To change the </a:t>
              </a:r>
              <a:r>
                <a:rPr lang="fr-FR" sz="1000" b="1" err="1">
                  <a:solidFill>
                    <a:schemeClr val="accent1"/>
                  </a:solidFill>
                  <a:latin typeface="+mj-lt"/>
                </a:rPr>
                <a:t>visual</a:t>
              </a:r>
              <a:r>
                <a:rPr lang="fr-FR" sz="1000" b="1">
                  <a:solidFill>
                    <a:schemeClr val="accent1"/>
                  </a:solidFill>
                  <a:latin typeface="+mj-lt"/>
                </a:rPr>
                <a:t>:</a:t>
              </a:r>
            </a:p>
            <a:p>
              <a:pPr marL="171450" lvl="0" indent="-171450">
                <a:buFont typeface="Arial" panose="020B0604020202020204" pitchFamily="34" charset="0"/>
                <a:buChar char="•"/>
              </a:pPr>
              <a:r>
                <a:rPr lang="en-US" sz="1000">
                  <a:solidFill>
                    <a:schemeClr val="tx1"/>
                  </a:solidFill>
                </a:rPr>
                <a:t>Right click on the slide</a:t>
              </a:r>
            </a:p>
            <a:p>
              <a:pPr marL="171450" lvl="0" indent="-171450">
                <a:buFont typeface="Arial" panose="020B0604020202020204" pitchFamily="34" charset="0"/>
                <a:buChar char="•"/>
              </a:pPr>
              <a:r>
                <a:rPr lang="en-US" sz="1000">
                  <a:solidFill>
                    <a:schemeClr val="tx1"/>
                  </a:solidFill>
                </a:rPr>
                <a:t>Click on “Format Background”</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 (1920x1080px)</a:t>
              </a:r>
            </a:p>
          </p:txBody>
        </p:sp>
      </p:grpSp>
    </p:spTree>
    <p:extLst>
      <p:ext uri="{BB962C8B-B14F-4D97-AF65-F5344CB8AC3E}">
        <p14:creationId xmlns:p14="http://schemas.microsoft.com/office/powerpoint/2010/main" val="14437725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icture fullscreen - V2">
    <p:bg>
      <p:bgPr>
        <a:solidFill>
          <a:schemeClr val="bg2"/>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BF6A12A6-4E53-4BFE-B060-C589E78F03D4}"/>
              </a:ext>
            </a:extLst>
          </p:cNvPr>
          <p:cNvSpPr/>
          <p:nvPr userDrawn="1"/>
        </p:nvSpPr>
        <p:spPr>
          <a:xfrm>
            <a:off x="0" y="0"/>
            <a:ext cx="12192000" cy="6858000"/>
          </a:xfrm>
          <a:custGeom>
            <a:avLst/>
            <a:gdLst>
              <a:gd name="connsiteX0" fmla="*/ 640633 w 12192000"/>
              <a:gd name="connsiteY0" fmla="*/ 368300 h 6858000"/>
              <a:gd name="connsiteX1" fmla="*/ 371475 w 12192000"/>
              <a:gd name="connsiteY1" fmla="*/ 637458 h 6858000"/>
              <a:gd name="connsiteX2" fmla="*/ 371475 w 12192000"/>
              <a:gd name="connsiteY2" fmla="*/ 6220542 h 6858000"/>
              <a:gd name="connsiteX3" fmla="*/ 640633 w 12192000"/>
              <a:gd name="connsiteY3" fmla="*/ 6489700 h 6858000"/>
              <a:gd name="connsiteX4" fmla="*/ 11551367 w 12192000"/>
              <a:gd name="connsiteY4" fmla="*/ 6489700 h 6858000"/>
              <a:gd name="connsiteX5" fmla="*/ 11820525 w 12192000"/>
              <a:gd name="connsiteY5" fmla="*/ 6220542 h 6858000"/>
              <a:gd name="connsiteX6" fmla="*/ 11820525 w 12192000"/>
              <a:gd name="connsiteY6" fmla="*/ 637458 h 6858000"/>
              <a:gd name="connsiteX7" fmla="*/ 11551367 w 12192000"/>
              <a:gd name="connsiteY7" fmla="*/ 3683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40633" y="368300"/>
                </a:moveTo>
                <a:cubicBezTo>
                  <a:pt x="491981" y="368300"/>
                  <a:pt x="371475" y="488806"/>
                  <a:pt x="371475" y="637458"/>
                </a:cubicBezTo>
                <a:lnTo>
                  <a:pt x="371475" y="6220542"/>
                </a:lnTo>
                <a:cubicBezTo>
                  <a:pt x="371475" y="6369194"/>
                  <a:pt x="491981" y="6489700"/>
                  <a:pt x="640633" y="6489700"/>
                </a:cubicBezTo>
                <a:lnTo>
                  <a:pt x="11551367" y="6489700"/>
                </a:lnTo>
                <a:cubicBezTo>
                  <a:pt x="11700019" y="6489700"/>
                  <a:pt x="11820525" y="6369194"/>
                  <a:pt x="11820525" y="6220542"/>
                </a:cubicBezTo>
                <a:lnTo>
                  <a:pt x="11820525" y="637458"/>
                </a:lnTo>
                <a:cubicBezTo>
                  <a:pt x="11820525" y="488806"/>
                  <a:pt x="11700019" y="368300"/>
                  <a:pt x="11551367" y="368300"/>
                </a:cubicBezTo>
                <a:close/>
                <a:moveTo>
                  <a:pt x="0" y="0"/>
                </a:moveTo>
                <a:lnTo>
                  <a:pt x="12192000" y="0"/>
                </a:lnTo>
                <a:lnTo>
                  <a:pt x="12192000" y="6858000"/>
                </a:lnTo>
                <a:lnTo>
                  <a:pt x="0" y="685800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BE"/>
          </a:p>
        </p:txBody>
      </p:sp>
      <p:grpSp>
        <p:nvGrpSpPr>
          <p:cNvPr id="13" name="Groupe 12">
            <a:extLst>
              <a:ext uri="{FF2B5EF4-FFF2-40B4-BE49-F238E27FC236}">
                <a16:creationId xmlns:a16="http://schemas.microsoft.com/office/drawing/2014/main" id="{63104B44-5F7E-42DC-8475-50B0A721189C}"/>
              </a:ext>
            </a:extLst>
          </p:cNvPr>
          <p:cNvGrpSpPr/>
          <p:nvPr userDrawn="1"/>
        </p:nvGrpSpPr>
        <p:grpSpPr>
          <a:xfrm>
            <a:off x="12360696" y="-13072"/>
            <a:ext cx="1885826" cy="1528108"/>
            <a:chOff x="4867566" y="1651754"/>
            <a:chExt cx="1885826" cy="1528108"/>
          </a:xfrm>
        </p:grpSpPr>
        <p:sp>
          <p:nvSpPr>
            <p:cNvPr id="14" name="Freeform 5">
              <a:extLst>
                <a:ext uri="{FF2B5EF4-FFF2-40B4-BE49-F238E27FC236}">
                  <a16:creationId xmlns:a16="http://schemas.microsoft.com/office/drawing/2014/main" id="{662BAC8D-2C56-439D-A9F2-A6C436F696F4}"/>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5" name="Rectangle 14">
              <a:extLst>
                <a:ext uri="{FF2B5EF4-FFF2-40B4-BE49-F238E27FC236}">
                  <a16:creationId xmlns:a16="http://schemas.microsoft.com/office/drawing/2014/main" id="{5615AD06-9243-45C1-BF29-A7EEB3383E11}"/>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a:solidFill>
                    <a:schemeClr val="accent1"/>
                  </a:solidFill>
                  <a:latin typeface="+mj-lt"/>
                </a:rPr>
                <a:t>To change the </a:t>
              </a:r>
              <a:r>
                <a:rPr lang="fr-FR" sz="1000" b="1" err="1">
                  <a:solidFill>
                    <a:schemeClr val="accent1"/>
                  </a:solidFill>
                  <a:latin typeface="+mj-lt"/>
                </a:rPr>
                <a:t>visual</a:t>
              </a:r>
              <a:r>
                <a:rPr lang="fr-FR" sz="1000" b="1">
                  <a:solidFill>
                    <a:schemeClr val="accent1"/>
                  </a:solidFill>
                  <a:latin typeface="+mj-lt"/>
                </a:rPr>
                <a:t>:</a:t>
              </a:r>
            </a:p>
            <a:p>
              <a:pPr marL="171450" lvl="0" indent="-171450">
                <a:buFont typeface="Arial" panose="020B0604020202020204" pitchFamily="34" charset="0"/>
                <a:buChar char="•"/>
              </a:pPr>
              <a:r>
                <a:rPr lang="en-US" sz="1000">
                  <a:solidFill>
                    <a:schemeClr val="tx1"/>
                  </a:solidFill>
                </a:rPr>
                <a:t>Right click on the slide</a:t>
              </a:r>
            </a:p>
            <a:p>
              <a:pPr marL="171450" lvl="0" indent="-171450">
                <a:buFont typeface="Arial" panose="020B0604020202020204" pitchFamily="34" charset="0"/>
                <a:buChar char="•"/>
              </a:pPr>
              <a:r>
                <a:rPr lang="en-US" sz="1000">
                  <a:solidFill>
                    <a:schemeClr val="tx1"/>
                  </a:solidFill>
                </a:rPr>
                <a:t>Click on “Format Background”</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 (1920x1080px)</a:t>
              </a:r>
            </a:p>
          </p:txBody>
        </p:sp>
      </p:grpSp>
    </p:spTree>
    <p:extLst>
      <p:ext uri="{BB962C8B-B14F-4D97-AF65-F5344CB8AC3E}">
        <p14:creationId xmlns:p14="http://schemas.microsoft.com/office/powerpoint/2010/main" val="32407936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icture fullscreen - V3">
    <p:bg>
      <p:bgPr>
        <a:solidFill>
          <a:schemeClr val="bg2"/>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BF6A12A6-4E53-4BFE-B060-C589E78F03D4}"/>
              </a:ext>
            </a:extLst>
          </p:cNvPr>
          <p:cNvSpPr/>
          <p:nvPr userDrawn="1"/>
        </p:nvSpPr>
        <p:spPr>
          <a:xfrm>
            <a:off x="0" y="0"/>
            <a:ext cx="12192000" cy="6858000"/>
          </a:xfrm>
          <a:custGeom>
            <a:avLst/>
            <a:gdLst>
              <a:gd name="connsiteX0" fmla="*/ 640633 w 12192000"/>
              <a:gd name="connsiteY0" fmla="*/ 368300 h 6858000"/>
              <a:gd name="connsiteX1" fmla="*/ 371475 w 12192000"/>
              <a:gd name="connsiteY1" fmla="*/ 637458 h 6858000"/>
              <a:gd name="connsiteX2" fmla="*/ 371475 w 12192000"/>
              <a:gd name="connsiteY2" fmla="*/ 6220542 h 6858000"/>
              <a:gd name="connsiteX3" fmla="*/ 640633 w 12192000"/>
              <a:gd name="connsiteY3" fmla="*/ 6489700 h 6858000"/>
              <a:gd name="connsiteX4" fmla="*/ 11551367 w 12192000"/>
              <a:gd name="connsiteY4" fmla="*/ 6489700 h 6858000"/>
              <a:gd name="connsiteX5" fmla="*/ 11820525 w 12192000"/>
              <a:gd name="connsiteY5" fmla="*/ 6220542 h 6858000"/>
              <a:gd name="connsiteX6" fmla="*/ 11820525 w 12192000"/>
              <a:gd name="connsiteY6" fmla="*/ 637458 h 6858000"/>
              <a:gd name="connsiteX7" fmla="*/ 11551367 w 12192000"/>
              <a:gd name="connsiteY7" fmla="*/ 3683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40633" y="368300"/>
                </a:moveTo>
                <a:cubicBezTo>
                  <a:pt x="491981" y="368300"/>
                  <a:pt x="371475" y="488806"/>
                  <a:pt x="371475" y="637458"/>
                </a:cubicBezTo>
                <a:lnTo>
                  <a:pt x="371475" y="6220542"/>
                </a:lnTo>
                <a:cubicBezTo>
                  <a:pt x="371475" y="6369194"/>
                  <a:pt x="491981" y="6489700"/>
                  <a:pt x="640633" y="6489700"/>
                </a:cubicBezTo>
                <a:lnTo>
                  <a:pt x="11551367" y="6489700"/>
                </a:lnTo>
                <a:cubicBezTo>
                  <a:pt x="11700019" y="6489700"/>
                  <a:pt x="11820525" y="6369194"/>
                  <a:pt x="11820525" y="6220542"/>
                </a:cubicBezTo>
                <a:lnTo>
                  <a:pt x="11820525" y="637458"/>
                </a:lnTo>
                <a:cubicBezTo>
                  <a:pt x="11820525" y="488806"/>
                  <a:pt x="11700019" y="368300"/>
                  <a:pt x="11551367" y="368300"/>
                </a:cubicBezTo>
                <a:close/>
                <a:moveTo>
                  <a:pt x="0" y="0"/>
                </a:moveTo>
                <a:lnTo>
                  <a:pt x="12192000" y="0"/>
                </a:lnTo>
                <a:lnTo>
                  <a:pt x="12192000" y="6858000"/>
                </a:lnTo>
                <a:lnTo>
                  <a:pt x="0" y="6858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BE"/>
          </a:p>
        </p:txBody>
      </p:sp>
      <p:grpSp>
        <p:nvGrpSpPr>
          <p:cNvPr id="7" name="Groupe 6">
            <a:extLst>
              <a:ext uri="{FF2B5EF4-FFF2-40B4-BE49-F238E27FC236}">
                <a16:creationId xmlns:a16="http://schemas.microsoft.com/office/drawing/2014/main" id="{EB62B1C9-BDAD-4848-BB8F-EE598B449E29}"/>
              </a:ext>
            </a:extLst>
          </p:cNvPr>
          <p:cNvGrpSpPr/>
          <p:nvPr userDrawn="1"/>
        </p:nvGrpSpPr>
        <p:grpSpPr>
          <a:xfrm>
            <a:off x="12360696" y="-13072"/>
            <a:ext cx="1885826" cy="1528108"/>
            <a:chOff x="4867566" y="1651754"/>
            <a:chExt cx="1885826" cy="1528108"/>
          </a:xfrm>
        </p:grpSpPr>
        <p:sp>
          <p:nvSpPr>
            <p:cNvPr id="8" name="Freeform 5">
              <a:extLst>
                <a:ext uri="{FF2B5EF4-FFF2-40B4-BE49-F238E27FC236}">
                  <a16:creationId xmlns:a16="http://schemas.microsoft.com/office/drawing/2014/main" id="{B0D9B8E1-7E41-4E68-9B02-C0BCF9482878}"/>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9" name="Rectangle 8">
              <a:extLst>
                <a:ext uri="{FF2B5EF4-FFF2-40B4-BE49-F238E27FC236}">
                  <a16:creationId xmlns:a16="http://schemas.microsoft.com/office/drawing/2014/main" id="{BD2F0014-6241-46EF-A829-2C9A9EC95DE9}"/>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a:solidFill>
                    <a:schemeClr val="accent1"/>
                  </a:solidFill>
                  <a:latin typeface="+mj-lt"/>
                </a:rPr>
                <a:t>To change the </a:t>
              </a:r>
              <a:r>
                <a:rPr lang="fr-FR" sz="1000" b="1" err="1">
                  <a:solidFill>
                    <a:schemeClr val="accent1"/>
                  </a:solidFill>
                  <a:latin typeface="+mj-lt"/>
                </a:rPr>
                <a:t>visual</a:t>
              </a:r>
              <a:r>
                <a:rPr lang="fr-FR" sz="1000" b="1">
                  <a:solidFill>
                    <a:schemeClr val="accent1"/>
                  </a:solidFill>
                  <a:latin typeface="+mj-lt"/>
                </a:rPr>
                <a:t>:</a:t>
              </a:r>
            </a:p>
            <a:p>
              <a:pPr marL="171450" lvl="0" indent="-171450">
                <a:buFont typeface="Arial" panose="020B0604020202020204" pitchFamily="34" charset="0"/>
                <a:buChar char="•"/>
              </a:pPr>
              <a:r>
                <a:rPr lang="en-US" sz="1000">
                  <a:solidFill>
                    <a:schemeClr val="tx1"/>
                  </a:solidFill>
                </a:rPr>
                <a:t>Right click on the slide</a:t>
              </a:r>
            </a:p>
            <a:p>
              <a:pPr marL="171450" lvl="0" indent="-171450">
                <a:buFont typeface="Arial" panose="020B0604020202020204" pitchFamily="34" charset="0"/>
                <a:buChar char="•"/>
              </a:pPr>
              <a:r>
                <a:rPr lang="en-US" sz="1000">
                  <a:solidFill>
                    <a:schemeClr val="tx1"/>
                  </a:solidFill>
                </a:rPr>
                <a:t>Click on “Format Background”</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 (1920x1080px)</a:t>
              </a:r>
            </a:p>
          </p:txBody>
        </p:sp>
      </p:grpSp>
    </p:spTree>
    <p:extLst>
      <p:ext uri="{BB962C8B-B14F-4D97-AF65-F5344CB8AC3E}">
        <p14:creationId xmlns:p14="http://schemas.microsoft.com/office/powerpoint/2010/main" val="39056395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icture fullscreen - V4">
    <p:bg>
      <p:bgPr>
        <a:solidFill>
          <a:schemeClr val="bg2"/>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BF6A12A6-4E53-4BFE-B060-C589E78F03D4}"/>
              </a:ext>
            </a:extLst>
          </p:cNvPr>
          <p:cNvSpPr/>
          <p:nvPr userDrawn="1"/>
        </p:nvSpPr>
        <p:spPr>
          <a:xfrm>
            <a:off x="0" y="0"/>
            <a:ext cx="12192000" cy="6858000"/>
          </a:xfrm>
          <a:custGeom>
            <a:avLst/>
            <a:gdLst>
              <a:gd name="connsiteX0" fmla="*/ 640633 w 12192000"/>
              <a:gd name="connsiteY0" fmla="*/ 368300 h 6858000"/>
              <a:gd name="connsiteX1" fmla="*/ 371475 w 12192000"/>
              <a:gd name="connsiteY1" fmla="*/ 637458 h 6858000"/>
              <a:gd name="connsiteX2" fmla="*/ 371475 w 12192000"/>
              <a:gd name="connsiteY2" fmla="*/ 6220542 h 6858000"/>
              <a:gd name="connsiteX3" fmla="*/ 640633 w 12192000"/>
              <a:gd name="connsiteY3" fmla="*/ 6489700 h 6858000"/>
              <a:gd name="connsiteX4" fmla="*/ 11551367 w 12192000"/>
              <a:gd name="connsiteY4" fmla="*/ 6489700 h 6858000"/>
              <a:gd name="connsiteX5" fmla="*/ 11820525 w 12192000"/>
              <a:gd name="connsiteY5" fmla="*/ 6220542 h 6858000"/>
              <a:gd name="connsiteX6" fmla="*/ 11820525 w 12192000"/>
              <a:gd name="connsiteY6" fmla="*/ 637458 h 6858000"/>
              <a:gd name="connsiteX7" fmla="*/ 11551367 w 12192000"/>
              <a:gd name="connsiteY7" fmla="*/ 3683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40633" y="368300"/>
                </a:moveTo>
                <a:cubicBezTo>
                  <a:pt x="491981" y="368300"/>
                  <a:pt x="371475" y="488806"/>
                  <a:pt x="371475" y="637458"/>
                </a:cubicBezTo>
                <a:lnTo>
                  <a:pt x="371475" y="6220542"/>
                </a:lnTo>
                <a:cubicBezTo>
                  <a:pt x="371475" y="6369194"/>
                  <a:pt x="491981" y="6489700"/>
                  <a:pt x="640633" y="6489700"/>
                </a:cubicBezTo>
                <a:lnTo>
                  <a:pt x="11551367" y="6489700"/>
                </a:lnTo>
                <a:cubicBezTo>
                  <a:pt x="11700019" y="6489700"/>
                  <a:pt x="11820525" y="6369194"/>
                  <a:pt x="11820525" y="6220542"/>
                </a:cubicBezTo>
                <a:lnTo>
                  <a:pt x="11820525" y="637458"/>
                </a:lnTo>
                <a:cubicBezTo>
                  <a:pt x="11820525" y="488806"/>
                  <a:pt x="11700019" y="368300"/>
                  <a:pt x="11551367" y="368300"/>
                </a:cubicBezTo>
                <a:close/>
                <a:moveTo>
                  <a:pt x="0" y="0"/>
                </a:moveTo>
                <a:lnTo>
                  <a:pt x="12192000" y="0"/>
                </a:lnTo>
                <a:lnTo>
                  <a:pt x="12192000" y="6858000"/>
                </a:lnTo>
                <a:lnTo>
                  <a:pt x="0" y="685800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BE"/>
          </a:p>
        </p:txBody>
      </p:sp>
      <p:grpSp>
        <p:nvGrpSpPr>
          <p:cNvPr id="7" name="Groupe 6">
            <a:extLst>
              <a:ext uri="{FF2B5EF4-FFF2-40B4-BE49-F238E27FC236}">
                <a16:creationId xmlns:a16="http://schemas.microsoft.com/office/drawing/2014/main" id="{4D1AD4DB-EA2D-42B2-97BE-28E112FB46DE}"/>
              </a:ext>
            </a:extLst>
          </p:cNvPr>
          <p:cNvGrpSpPr/>
          <p:nvPr userDrawn="1"/>
        </p:nvGrpSpPr>
        <p:grpSpPr>
          <a:xfrm>
            <a:off x="12360696" y="-13072"/>
            <a:ext cx="1885826" cy="1528108"/>
            <a:chOff x="4867566" y="1651754"/>
            <a:chExt cx="1885826" cy="1528108"/>
          </a:xfrm>
        </p:grpSpPr>
        <p:sp>
          <p:nvSpPr>
            <p:cNvPr id="8" name="Freeform 5">
              <a:extLst>
                <a:ext uri="{FF2B5EF4-FFF2-40B4-BE49-F238E27FC236}">
                  <a16:creationId xmlns:a16="http://schemas.microsoft.com/office/drawing/2014/main" id="{EBB7AB26-9296-400A-BEEC-AE7F0EAD6B50}"/>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9" name="Rectangle 8">
              <a:extLst>
                <a:ext uri="{FF2B5EF4-FFF2-40B4-BE49-F238E27FC236}">
                  <a16:creationId xmlns:a16="http://schemas.microsoft.com/office/drawing/2014/main" id="{161C1736-7B77-4700-BA59-C0463998A8F9}"/>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a:solidFill>
                    <a:schemeClr val="accent1"/>
                  </a:solidFill>
                  <a:latin typeface="+mj-lt"/>
                </a:rPr>
                <a:t>To change the </a:t>
              </a:r>
              <a:r>
                <a:rPr lang="fr-FR" sz="1000" b="1" err="1">
                  <a:solidFill>
                    <a:schemeClr val="accent1"/>
                  </a:solidFill>
                  <a:latin typeface="+mj-lt"/>
                </a:rPr>
                <a:t>visual</a:t>
              </a:r>
              <a:r>
                <a:rPr lang="fr-FR" sz="1000" b="1">
                  <a:solidFill>
                    <a:schemeClr val="accent1"/>
                  </a:solidFill>
                  <a:latin typeface="+mj-lt"/>
                </a:rPr>
                <a:t>:</a:t>
              </a:r>
            </a:p>
            <a:p>
              <a:pPr marL="171450" lvl="0" indent="-171450">
                <a:buFont typeface="Arial" panose="020B0604020202020204" pitchFamily="34" charset="0"/>
                <a:buChar char="•"/>
              </a:pPr>
              <a:r>
                <a:rPr lang="en-US" sz="1000">
                  <a:solidFill>
                    <a:schemeClr val="tx1"/>
                  </a:solidFill>
                </a:rPr>
                <a:t>Right click on the slide</a:t>
              </a:r>
            </a:p>
            <a:p>
              <a:pPr marL="171450" lvl="0" indent="-171450">
                <a:buFont typeface="Arial" panose="020B0604020202020204" pitchFamily="34" charset="0"/>
                <a:buChar char="•"/>
              </a:pPr>
              <a:r>
                <a:rPr lang="en-US" sz="1000">
                  <a:solidFill>
                    <a:schemeClr val="tx1"/>
                  </a:solidFill>
                </a:rPr>
                <a:t>Click on “Format Background”</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 (1920x1080px)</a:t>
              </a:r>
            </a:p>
          </p:txBody>
        </p:sp>
      </p:grpSp>
    </p:spTree>
    <p:extLst>
      <p:ext uri="{BB962C8B-B14F-4D97-AF65-F5344CB8AC3E}">
        <p14:creationId xmlns:p14="http://schemas.microsoft.com/office/powerpoint/2010/main" val="245726615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icture fullscreen - V5">
    <p:bg>
      <p:bgPr>
        <a:solidFill>
          <a:schemeClr val="bg2"/>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BF6A12A6-4E53-4BFE-B060-C589E78F03D4}"/>
              </a:ext>
            </a:extLst>
          </p:cNvPr>
          <p:cNvSpPr/>
          <p:nvPr userDrawn="1"/>
        </p:nvSpPr>
        <p:spPr>
          <a:xfrm>
            <a:off x="0" y="0"/>
            <a:ext cx="12192000" cy="6858000"/>
          </a:xfrm>
          <a:custGeom>
            <a:avLst/>
            <a:gdLst>
              <a:gd name="connsiteX0" fmla="*/ 640633 w 12192000"/>
              <a:gd name="connsiteY0" fmla="*/ 368300 h 6858000"/>
              <a:gd name="connsiteX1" fmla="*/ 371475 w 12192000"/>
              <a:gd name="connsiteY1" fmla="*/ 637458 h 6858000"/>
              <a:gd name="connsiteX2" fmla="*/ 371475 w 12192000"/>
              <a:gd name="connsiteY2" fmla="*/ 6220542 h 6858000"/>
              <a:gd name="connsiteX3" fmla="*/ 640633 w 12192000"/>
              <a:gd name="connsiteY3" fmla="*/ 6489700 h 6858000"/>
              <a:gd name="connsiteX4" fmla="*/ 11551367 w 12192000"/>
              <a:gd name="connsiteY4" fmla="*/ 6489700 h 6858000"/>
              <a:gd name="connsiteX5" fmla="*/ 11820525 w 12192000"/>
              <a:gd name="connsiteY5" fmla="*/ 6220542 h 6858000"/>
              <a:gd name="connsiteX6" fmla="*/ 11820525 w 12192000"/>
              <a:gd name="connsiteY6" fmla="*/ 637458 h 6858000"/>
              <a:gd name="connsiteX7" fmla="*/ 11551367 w 12192000"/>
              <a:gd name="connsiteY7" fmla="*/ 3683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40633" y="368300"/>
                </a:moveTo>
                <a:cubicBezTo>
                  <a:pt x="491981" y="368300"/>
                  <a:pt x="371475" y="488806"/>
                  <a:pt x="371475" y="637458"/>
                </a:cubicBezTo>
                <a:lnTo>
                  <a:pt x="371475" y="6220542"/>
                </a:lnTo>
                <a:cubicBezTo>
                  <a:pt x="371475" y="6369194"/>
                  <a:pt x="491981" y="6489700"/>
                  <a:pt x="640633" y="6489700"/>
                </a:cubicBezTo>
                <a:lnTo>
                  <a:pt x="11551367" y="6489700"/>
                </a:lnTo>
                <a:cubicBezTo>
                  <a:pt x="11700019" y="6489700"/>
                  <a:pt x="11820525" y="6369194"/>
                  <a:pt x="11820525" y="6220542"/>
                </a:cubicBezTo>
                <a:lnTo>
                  <a:pt x="11820525" y="637458"/>
                </a:lnTo>
                <a:cubicBezTo>
                  <a:pt x="11820525" y="488806"/>
                  <a:pt x="11700019" y="368300"/>
                  <a:pt x="11551367" y="368300"/>
                </a:cubicBezTo>
                <a:close/>
                <a:moveTo>
                  <a:pt x="0" y="0"/>
                </a:moveTo>
                <a:lnTo>
                  <a:pt x="12192000" y="0"/>
                </a:lnTo>
                <a:lnTo>
                  <a:pt x="12192000" y="6858000"/>
                </a:lnTo>
                <a:lnTo>
                  <a:pt x="0" y="68580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BE"/>
          </a:p>
        </p:txBody>
      </p:sp>
      <p:grpSp>
        <p:nvGrpSpPr>
          <p:cNvPr id="7" name="Groupe 6">
            <a:extLst>
              <a:ext uri="{FF2B5EF4-FFF2-40B4-BE49-F238E27FC236}">
                <a16:creationId xmlns:a16="http://schemas.microsoft.com/office/drawing/2014/main" id="{3FECF7A7-4DC7-4B9E-86AD-6C1FF77CD8A5}"/>
              </a:ext>
            </a:extLst>
          </p:cNvPr>
          <p:cNvGrpSpPr/>
          <p:nvPr userDrawn="1"/>
        </p:nvGrpSpPr>
        <p:grpSpPr>
          <a:xfrm>
            <a:off x="12360696" y="-13072"/>
            <a:ext cx="1885826" cy="1528108"/>
            <a:chOff x="4867566" y="1651754"/>
            <a:chExt cx="1885826" cy="1528108"/>
          </a:xfrm>
        </p:grpSpPr>
        <p:sp>
          <p:nvSpPr>
            <p:cNvPr id="8" name="Freeform 5">
              <a:extLst>
                <a:ext uri="{FF2B5EF4-FFF2-40B4-BE49-F238E27FC236}">
                  <a16:creationId xmlns:a16="http://schemas.microsoft.com/office/drawing/2014/main" id="{5097FB52-83E6-4DD0-AB3B-89CFC77304A0}"/>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9" name="Rectangle 8">
              <a:extLst>
                <a:ext uri="{FF2B5EF4-FFF2-40B4-BE49-F238E27FC236}">
                  <a16:creationId xmlns:a16="http://schemas.microsoft.com/office/drawing/2014/main" id="{83AAED9D-340B-48EF-9D09-C238DB8EC6F9}"/>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a:solidFill>
                    <a:schemeClr val="accent1"/>
                  </a:solidFill>
                  <a:latin typeface="+mj-lt"/>
                </a:rPr>
                <a:t>To change the </a:t>
              </a:r>
              <a:r>
                <a:rPr lang="fr-FR" sz="1000" b="1" err="1">
                  <a:solidFill>
                    <a:schemeClr val="accent1"/>
                  </a:solidFill>
                  <a:latin typeface="+mj-lt"/>
                </a:rPr>
                <a:t>visual</a:t>
              </a:r>
              <a:r>
                <a:rPr lang="fr-FR" sz="1000" b="1">
                  <a:solidFill>
                    <a:schemeClr val="accent1"/>
                  </a:solidFill>
                  <a:latin typeface="+mj-lt"/>
                </a:rPr>
                <a:t>:</a:t>
              </a:r>
            </a:p>
            <a:p>
              <a:pPr marL="171450" lvl="0" indent="-171450">
                <a:buFont typeface="Arial" panose="020B0604020202020204" pitchFamily="34" charset="0"/>
                <a:buChar char="•"/>
              </a:pPr>
              <a:r>
                <a:rPr lang="en-US" sz="1000">
                  <a:solidFill>
                    <a:schemeClr val="tx1"/>
                  </a:solidFill>
                </a:rPr>
                <a:t>Right click on the slide</a:t>
              </a:r>
            </a:p>
            <a:p>
              <a:pPr marL="171450" lvl="0" indent="-171450">
                <a:buFont typeface="Arial" panose="020B0604020202020204" pitchFamily="34" charset="0"/>
                <a:buChar char="•"/>
              </a:pPr>
              <a:r>
                <a:rPr lang="en-US" sz="1000">
                  <a:solidFill>
                    <a:schemeClr val="tx1"/>
                  </a:solidFill>
                </a:rPr>
                <a:t>Click on “Format Background”</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 (1920x1080px)</a:t>
              </a:r>
            </a:p>
          </p:txBody>
        </p:sp>
      </p:grpSp>
    </p:spTree>
    <p:extLst>
      <p:ext uri="{BB962C8B-B14F-4D97-AF65-F5344CB8AC3E}">
        <p14:creationId xmlns:p14="http://schemas.microsoft.com/office/powerpoint/2010/main" val="362767596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Quotes">
    <p:bg>
      <p:bgPr>
        <a:solidFill>
          <a:schemeClr val="bg2"/>
        </a:solidFill>
        <a:effectLst/>
      </p:bgPr>
    </p:bg>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4B3AECF1-EF64-48C4-8108-D329D1A2B8C7}"/>
              </a:ext>
            </a:extLst>
          </p:cNvPr>
          <p:cNvSpPr>
            <a:spLocks noGrp="1"/>
          </p:cNvSpPr>
          <p:nvPr>
            <p:ph type="body" sz="quarter" idx="11"/>
          </p:nvPr>
        </p:nvSpPr>
        <p:spPr>
          <a:xfrm>
            <a:off x="371475" y="368300"/>
            <a:ext cx="11449050" cy="6121400"/>
          </a:xfrm>
          <a:custGeom>
            <a:avLst/>
            <a:gdLst>
              <a:gd name="connsiteX0" fmla="*/ 269158 w 11449050"/>
              <a:gd name="connsiteY0" fmla="*/ 0 h 6121400"/>
              <a:gd name="connsiteX1" fmla="*/ 11179892 w 11449050"/>
              <a:gd name="connsiteY1" fmla="*/ 0 h 6121400"/>
              <a:gd name="connsiteX2" fmla="*/ 11449050 w 11449050"/>
              <a:gd name="connsiteY2" fmla="*/ 269158 h 6121400"/>
              <a:gd name="connsiteX3" fmla="*/ 11449050 w 11449050"/>
              <a:gd name="connsiteY3" fmla="*/ 5852242 h 6121400"/>
              <a:gd name="connsiteX4" fmla="*/ 11179892 w 11449050"/>
              <a:gd name="connsiteY4" fmla="*/ 6121400 h 6121400"/>
              <a:gd name="connsiteX5" fmla="*/ 269158 w 11449050"/>
              <a:gd name="connsiteY5" fmla="*/ 6121400 h 6121400"/>
              <a:gd name="connsiteX6" fmla="*/ 0 w 11449050"/>
              <a:gd name="connsiteY6" fmla="*/ 5852242 h 6121400"/>
              <a:gd name="connsiteX7" fmla="*/ 0 w 11449050"/>
              <a:gd name="connsiteY7" fmla="*/ 269158 h 6121400"/>
              <a:gd name="connsiteX8" fmla="*/ 269158 w 11449050"/>
              <a:gd name="connsiteY8" fmla="*/ 0 h 612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49050" h="6121400">
                <a:moveTo>
                  <a:pt x="269158" y="0"/>
                </a:moveTo>
                <a:lnTo>
                  <a:pt x="11179892" y="0"/>
                </a:lnTo>
                <a:cubicBezTo>
                  <a:pt x="11328544" y="0"/>
                  <a:pt x="11449050" y="120506"/>
                  <a:pt x="11449050" y="269158"/>
                </a:cubicBezTo>
                <a:lnTo>
                  <a:pt x="11449050" y="5852242"/>
                </a:lnTo>
                <a:cubicBezTo>
                  <a:pt x="11449050" y="6000894"/>
                  <a:pt x="11328544" y="6121400"/>
                  <a:pt x="11179892" y="6121400"/>
                </a:cubicBezTo>
                <a:lnTo>
                  <a:pt x="269158" y="6121400"/>
                </a:lnTo>
                <a:cubicBezTo>
                  <a:pt x="120506" y="6121400"/>
                  <a:pt x="0" y="6000894"/>
                  <a:pt x="0" y="5852242"/>
                </a:cubicBezTo>
                <a:lnTo>
                  <a:pt x="0" y="269158"/>
                </a:lnTo>
                <a:cubicBezTo>
                  <a:pt x="0" y="120506"/>
                  <a:pt x="120506" y="0"/>
                  <a:pt x="269158" y="0"/>
                </a:cubicBezTo>
                <a:close/>
              </a:path>
            </a:pathLst>
          </a:custGeom>
          <a:solidFill>
            <a:schemeClr val="accent5">
              <a:alpha val="40000"/>
            </a:schemeClr>
          </a:solidFill>
        </p:spPr>
        <p:txBody>
          <a:bodyPr wrap="square" rIns="0" anchor="ctr">
            <a:noAutofit/>
          </a:bodyPr>
          <a:lstStyle>
            <a:lvl1pPr marL="0" indent="0" algn="ctr">
              <a:spcBef>
                <a:spcPts val="1200"/>
              </a:spcBef>
              <a:buNone/>
              <a:defRPr sz="2400" b="0">
                <a:solidFill>
                  <a:schemeClr val="bg1"/>
                </a:solidFill>
              </a:defRPr>
            </a:lvl1pPr>
            <a:lvl2pPr marL="457200" indent="0">
              <a:buNone/>
              <a:defRPr/>
            </a:lvl2pPr>
          </a:lstStyle>
          <a:p>
            <a:pPr lvl="0"/>
            <a:r>
              <a:rPr lang="en-US"/>
              <a:t>Click to edit Master text styles</a:t>
            </a:r>
          </a:p>
        </p:txBody>
      </p:sp>
      <p:grpSp>
        <p:nvGrpSpPr>
          <p:cNvPr id="7" name="Groupe 6">
            <a:extLst>
              <a:ext uri="{FF2B5EF4-FFF2-40B4-BE49-F238E27FC236}">
                <a16:creationId xmlns:a16="http://schemas.microsoft.com/office/drawing/2014/main" id="{179D036D-3F73-4CD0-8D81-228CCB1B55D7}"/>
              </a:ext>
            </a:extLst>
          </p:cNvPr>
          <p:cNvGrpSpPr/>
          <p:nvPr userDrawn="1"/>
        </p:nvGrpSpPr>
        <p:grpSpPr>
          <a:xfrm>
            <a:off x="12360696" y="-13072"/>
            <a:ext cx="1885826" cy="1528108"/>
            <a:chOff x="4867566" y="1651754"/>
            <a:chExt cx="1885826" cy="1528108"/>
          </a:xfrm>
        </p:grpSpPr>
        <p:sp>
          <p:nvSpPr>
            <p:cNvPr id="8" name="Freeform 5">
              <a:extLst>
                <a:ext uri="{FF2B5EF4-FFF2-40B4-BE49-F238E27FC236}">
                  <a16:creationId xmlns:a16="http://schemas.microsoft.com/office/drawing/2014/main" id="{A71D2B0D-3016-44C3-A951-AF6C16D3E6BC}"/>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9" name="Rectangle 8">
              <a:extLst>
                <a:ext uri="{FF2B5EF4-FFF2-40B4-BE49-F238E27FC236}">
                  <a16:creationId xmlns:a16="http://schemas.microsoft.com/office/drawing/2014/main" id="{36157990-C805-4B81-8C3C-87AD0CF099C4}"/>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a:solidFill>
                    <a:schemeClr val="accent1"/>
                  </a:solidFill>
                  <a:latin typeface="+mj-lt"/>
                </a:rPr>
                <a:t>To change the </a:t>
              </a:r>
              <a:r>
                <a:rPr lang="fr-FR" sz="1000" b="1" err="1">
                  <a:solidFill>
                    <a:schemeClr val="accent1"/>
                  </a:solidFill>
                  <a:latin typeface="+mj-lt"/>
                </a:rPr>
                <a:t>visual</a:t>
              </a:r>
              <a:r>
                <a:rPr lang="fr-FR" sz="1000" b="1">
                  <a:solidFill>
                    <a:schemeClr val="accent1"/>
                  </a:solidFill>
                  <a:latin typeface="+mj-lt"/>
                </a:rPr>
                <a:t>:</a:t>
              </a:r>
            </a:p>
            <a:p>
              <a:pPr marL="171450" lvl="0" indent="-171450">
                <a:buFont typeface="Arial" panose="020B0604020202020204" pitchFamily="34" charset="0"/>
                <a:buChar char="•"/>
              </a:pPr>
              <a:r>
                <a:rPr lang="en-US" sz="1000">
                  <a:solidFill>
                    <a:schemeClr val="tx1"/>
                  </a:solidFill>
                </a:rPr>
                <a:t>Right click on the slide</a:t>
              </a:r>
            </a:p>
            <a:p>
              <a:pPr marL="171450" lvl="0" indent="-171450">
                <a:buFont typeface="Arial" panose="020B0604020202020204" pitchFamily="34" charset="0"/>
                <a:buChar char="•"/>
              </a:pPr>
              <a:r>
                <a:rPr lang="en-US" sz="1000">
                  <a:solidFill>
                    <a:schemeClr val="tx1"/>
                  </a:solidFill>
                </a:rPr>
                <a:t>Click on “Format Background”</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 (1920x1080px)</a:t>
              </a:r>
            </a:p>
          </p:txBody>
        </p:sp>
      </p:grpSp>
    </p:spTree>
    <p:extLst>
      <p:ext uri="{BB962C8B-B14F-4D97-AF65-F5344CB8AC3E}">
        <p14:creationId xmlns:p14="http://schemas.microsoft.com/office/powerpoint/2010/main" val="21209869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5689A-25C2-46FE-A630-B72E633CAE6B}"/>
              </a:ext>
            </a:extLst>
          </p:cNvPr>
          <p:cNvSpPr>
            <a:spLocks noGrp="1"/>
          </p:cNvSpPr>
          <p:nvPr>
            <p:ph type="ctrTitle"/>
          </p:nvPr>
        </p:nvSpPr>
        <p:spPr>
          <a:xfrm>
            <a:off x="6095999" y="2254757"/>
            <a:ext cx="5724525" cy="1329595"/>
          </a:xfrm>
        </p:spPr>
        <p:txBody>
          <a:bodyPr lIns="0" rIns="0" anchor="b">
            <a:spAutoFit/>
          </a:bodyPr>
          <a:lstStyle>
            <a:lvl1pPr algn="l">
              <a:defRPr sz="4800" b="1"/>
            </a:lvl1pPr>
          </a:lstStyle>
          <a:p>
            <a:r>
              <a:rPr lang="en-US"/>
              <a:t>Click to edit Master title style</a:t>
            </a:r>
            <a:endParaRPr lang="fr-BE"/>
          </a:p>
        </p:txBody>
      </p:sp>
      <p:sp>
        <p:nvSpPr>
          <p:cNvPr id="3" name="Subtitle 2">
            <a:extLst>
              <a:ext uri="{FF2B5EF4-FFF2-40B4-BE49-F238E27FC236}">
                <a16:creationId xmlns:a16="http://schemas.microsoft.com/office/drawing/2014/main" id="{B457FC78-AF62-44A8-826D-6106F41083C7}"/>
              </a:ext>
            </a:extLst>
          </p:cNvPr>
          <p:cNvSpPr>
            <a:spLocks noGrp="1"/>
          </p:cNvSpPr>
          <p:nvPr>
            <p:ph type="subTitle" idx="1"/>
          </p:nvPr>
        </p:nvSpPr>
        <p:spPr>
          <a:xfrm>
            <a:off x="6095999" y="3694856"/>
            <a:ext cx="5724525" cy="276999"/>
          </a:xfrm>
        </p:spPr>
        <p:txBody>
          <a:bodyPr lIns="0" rIns="0">
            <a:spAutoFit/>
          </a:bodyPr>
          <a:lstStyle>
            <a:lvl1pPr marL="0" indent="0" algn="l">
              <a:buNone/>
              <a:defRPr sz="20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BE"/>
          </a:p>
        </p:txBody>
      </p:sp>
      <p:sp>
        <p:nvSpPr>
          <p:cNvPr id="8" name="Picture Placeholder 8">
            <a:extLst>
              <a:ext uri="{FF2B5EF4-FFF2-40B4-BE49-F238E27FC236}">
                <a16:creationId xmlns:a16="http://schemas.microsoft.com/office/drawing/2014/main" id="{53D9F3C2-2910-426E-A746-48C9C387B6EF}"/>
              </a:ext>
            </a:extLst>
          </p:cNvPr>
          <p:cNvSpPr>
            <a:spLocks noGrp="1"/>
          </p:cNvSpPr>
          <p:nvPr>
            <p:ph type="pic" sz="quarter" idx="11"/>
          </p:nvPr>
        </p:nvSpPr>
        <p:spPr>
          <a:xfrm>
            <a:off x="371477" y="1041993"/>
            <a:ext cx="4716412" cy="4763272"/>
          </a:xfrm>
          <a:prstGeom prst="roundRect">
            <a:avLst>
              <a:gd name="adj" fmla="val 5651"/>
            </a:avLst>
          </a:prstGeom>
          <a:noFill/>
          <a:effectLst>
            <a:outerShdw blurRad="228600" dist="50800" algn="l" rotWithShape="0">
              <a:schemeClr val="accent1">
                <a:alpha val="70000"/>
              </a:schemeClr>
            </a:outerShdw>
          </a:effectLst>
        </p:spPr>
        <p:txBody>
          <a:bodyPr rIns="0" anchor="ctr"/>
          <a:lstStyle>
            <a:lvl1pPr marL="0" indent="0" algn="ctr">
              <a:buNone/>
              <a:defRPr b="0">
                <a:solidFill>
                  <a:schemeClr val="tx1"/>
                </a:solidFill>
              </a:defRPr>
            </a:lvl1pPr>
          </a:lstStyle>
          <a:p>
            <a:r>
              <a:rPr lang="en-US"/>
              <a:t>Click icon to add picture</a:t>
            </a:r>
            <a:endParaRPr lang="fr-BE"/>
          </a:p>
        </p:txBody>
      </p:sp>
      <p:sp>
        <p:nvSpPr>
          <p:cNvPr id="6" name="Text Placeholder 5">
            <a:extLst>
              <a:ext uri="{FF2B5EF4-FFF2-40B4-BE49-F238E27FC236}">
                <a16:creationId xmlns:a16="http://schemas.microsoft.com/office/drawing/2014/main" id="{3EF95E7E-0014-4357-AA8D-B347801195E4}"/>
              </a:ext>
            </a:extLst>
          </p:cNvPr>
          <p:cNvSpPr>
            <a:spLocks noGrp="1"/>
          </p:cNvSpPr>
          <p:nvPr>
            <p:ph type="body" sz="quarter" idx="12"/>
          </p:nvPr>
        </p:nvSpPr>
        <p:spPr>
          <a:xfrm>
            <a:off x="3657768" y="4819561"/>
            <a:ext cx="4084465" cy="696216"/>
          </a:xfrm>
          <a:prstGeom prst="roundRect">
            <a:avLst>
              <a:gd name="adj" fmla="val 50000"/>
            </a:avLst>
          </a:prstGeom>
          <a:solidFill>
            <a:schemeClr val="accent1"/>
          </a:solidFill>
        </p:spPr>
        <p:txBody>
          <a:bodyPr wrap="none" lIns="252000" tIns="108000" rIns="252000" bIns="108000" anchor="ctr">
            <a:spAutoFit/>
          </a:bodyPr>
          <a:lstStyle>
            <a:lvl1pPr marL="0" indent="0" algn="ctr">
              <a:buNone/>
              <a:defRPr sz="2000" b="0">
                <a:solidFill>
                  <a:schemeClr val="bg1"/>
                </a:solidFill>
              </a:defRPr>
            </a:lvl1pPr>
          </a:lstStyle>
          <a:p>
            <a:pPr lvl="0"/>
            <a:r>
              <a:rPr lang="en-US"/>
              <a:t>Click to edit Master text styles</a:t>
            </a:r>
          </a:p>
        </p:txBody>
      </p:sp>
      <p:grpSp>
        <p:nvGrpSpPr>
          <p:cNvPr id="13" name="Groupe 22">
            <a:extLst>
              <a:ext uri="{FF2B5EF4-FFF2-40B4-BE49-F238E27FC236}">
                <a16:creationId xmlns:a16="http://schemas.microsoft.com/office/drawing/2014/main" id="{4F5D00FF-2E5D-4132-8F49-3D33939597B4}"/>
              </a:ext>
            </a:extLst>
          </p:cNvPr>
          <p:cNvGrpSpPr/>
          <p:nvPr userDrawn="1"/>
        </p:nvGrpSpPr>
        <p:grpSpPr>
          <a:xfrm>
            <a:off x="10746581" y="6172768"/>
            <a:ext cx="1062036" cy="301675"/>
            <a:chOff x="-838200" y="8253511"/>
            <a:chExt cx="12192000" cy="3463176"/>
          </a:xfrm>
          <a:solidFill>
            <a:schemeClr val="accent1"/>
          </a:solidFill>
        </p:grpSpPr>
        <p:sp>
          <p:nvSpPr>
            <p:cNvPr id="14" name="Forme libre : forme 23">
              <a:extLst>
                <a:ext uri="{FF2B5EF4-FFF2-40B4-BE49-F238E27FC236}">
                  <a16:creationId xmlns:a16="http://schemas.microsoft.com/office/drawing/2014/main" id="{516FE380-B89F-48F9-8007-E2D927394E2E}"/>
                </a:ext>
              </a:extLst>
            </p:cNvPr>
            <p:cNvSpPr/>
            <p:nvPr/>
          </p:nvSpPr>
          <p:spPr>
            <a:xfrm>
              <a:off x="-838200" y="10819488"/>
              <a:ext cx="12192000" cy="897199"/>
            </a:xfrm>
            <a:custGeom>
              <a:avLst/>
              <a:gdLst>
                <a:gd name="connsiteX0" fmla="*/ 12198649 w 12192000"/>
                <a:gd name="connsiteY0" fmla="*/ 885124 h 897199"/>
                <a:gd name="connsiteX1" fmla="*/ 12097839 w 12192000"/>
                <a:gd name="connsiteY1" fmla="*/ 885124 h 897199"/>
                <a:gd name="connsiteX2" fmla="*/ 11805730 w 12192000"/>
                <a:gd name="connsiteY2" fmla="*/ 581421 h 897199"/>
                <a:gd name="connsiteX3" fmla="*/ 11805730 w 12192000"/>
                <a:gd name="connsiteY3" fmla="*/ 885124 h 897199"/>
                <a:gd name="connsiteX4" fmla="*/ 11732688 w 12192000"/>
                <a:gd name="connsiteY4" fmla="*/ 885124 h 897199"/>
                <a:gd name="connsiteX5" fmla="*/ 11732688 w 12192000"/>
                <a:gd name="connsiteY5" fmla="*/ 15789 h 897199"/>
                <a:gd name="connsiteX6" fmla="*/ 11805730 w 12192000"/>
                <a:gd name="connsiteY6" fmla="*/ 15789 h 897199"/>
                <a:gd name="connsiteX7" fmla="*/ 11805730 w 12192000"/>
                <a:gd name="connsiteY7" fmla="*/ 536236 h 897199"/>
                <a:gd name="connsiteX8" fmla="*/ 12070007 w 12192000"/>
                <a:gd name="connsiteY8" fmla="*/ 293982 h 897199"/>
                <a:gd name="connsiteX9" fmla="*/ 12163887 w 12192000"/>
                <a:gd name="connsiteY9" fmla="*/ 293982 h 897199"/>
                <a:gd name="connsiteX10" fmla="*/ 11875270 w 12192000"/>
                <a:gd name="connsiteY10" fmla="*/ 555961 h 897199"/>
                <a:gd name="connsiteX11" fmla="*/ 12198649 w 12192000"/>
                <a:gd name="connsiteY11" fmla="*/ 885124 h 897199"/>
                <a:gd name="connsiteX12" fmla="*/ 11444120 w 12192000"/>
                <a:gd name="connsiteY12" fmla="*/ 342661 h 897199"/>
                <a:gd name="connsiteX13" fmla="*/ 11316608 w 12192000"/>
                <a:gd name="connsiteY13" fmla="*/ 441203 h 897199"/>
                <a:gd name="connsiteX14" fmla="*/ 11607548 w 12192000"/>
                <a:gd name="connsiteY14" fmla="*/ 730989 h 897199"/>
                <a:gd name="connsiteX15" fmla="*/ 11401218 w 12192000"/>
                <a:gd name="connsiteY15" fmla="*/ 899088 h 897199"/>
                <a:gd name="connsiteX16" fmla="*/ 11235475 w 12192000"/>
                <a:gd name="connsiteY16" fmla="*/ 871248 h 897199"/>
                <a:gd name="connsiteX17" fmla="*/ 11242445 w 12192000"/>
                <a:gd name="connsiteY17" fmla="*/ 799384 h 897199"/>
                <a:gd name="connsiteX18" fmla="*/ 11396595 w 12192000"/>
                <a:gd name="connsiteY18" fmla="*/ 836485 h 897199"/>
                <a:gd name="connsiteX19" fmla="*/ 11527584 w 12192000"/>
                <a:gd name="connsiteY19" fmla="*/ 730989 h 897199"/>
                <a:gd name="connsiteX20" fmla="*/ 11243590 w 12192000"/>
                <a:gd name="connsiteY20" fmla="*/ 441203 h 897199"/>
                <a:gd name="connsiteX21" fmla="*/ 11436004 w 12192000"/>
                <a:gd name="connsiteY21" fmla="*/ 280106 h 897199"/>
                <a:gd name="connsiteX22" fmla="*/ 11582055 w 12192000"/>
                <a:gd name="connsiteY22" fmla="*/ 306761 h 897199"/>
                <a:gd name="connsiteX23" fmla="*/ 11575085 w 12192000"/>
                <a:gd name="connsiteY23" fmla="*/ 370533 h 897199"/>
                <a:gd name="connsiteX24" fmla="*/ 11444120 w 12192000"/>
                <a:gd name="connsiteY24" fmla="*/ 342701 h 897199"/>
                <a:gd name="connsiteX25" fmla="*/ 11036115 w 12192000"/>
                <a:gd name="connsiteY25" fmla="*/ 38950 h 897199"/>
                <a:gd name="connsiteX26" fmla="*/ 11109148 w 12192000"/>
                <a:gd name="connsiteY26" fmla="*/ 38950 h 897199"/>
                <a:gd name="connsiteX27" fmla="*/ 11109148 w 12192000"/>
                <a:gd name="connsiteY27" fmla="*/ 136339 h 897199"/>
                <a:gd name="connsiteX28" fmla="*/ 11036115 w 12192000"/>
                <a:gd name="connsiteY28" fmla="*/ 136339 h 897199"/>
                <a:gd name="connsiteX29" fmla="*/ 11036115 w 12192000"/>
                <a:gd name="connsiteY29" fmla="*/ 38950 h 897199"/>
                <a:gd name="connsiteX30" fmla="*/ 11036115 w 12192000"/>
                <a:gd name="connsiteY30" fmla="*/ 885124 h 897199"/>
                <a:gd name="connsiteX31" fmla="*/ 11036115 w 12192000"/>
                <a:gd name="connsiteY31" fmla="*/ 293982 h 897199"/>
                <a:gd name="connsiteX32" fmla="*/ 11109148 w 12192000"/>
                <a:gd name="connsiteY32" fmla="*/ 293982 h 897199"/>
                <a:gd name="connsiteX33" fmla="*/ 11109148 w 12192000"/>
                <a:gd name="connsiteY33" fmla="*/ 885124 h 897199"/>
                <a:gd name="connsiteX34" fmla="*/ 10570226 w 12192000"/>
                <a:gd name="connsiteY34" fmla="*/ 145600 h 897199"/>
                <a:gd name="connsiteX35" fmla="*/ 10487892 w 12192000"/>
                <a:gd name="connsiteY35" fmla="*/ 145600 h 897199"/>
                <a:gd name="connsiteX36" fmla="*/ 10487892 w 12192000"/>
                <a:gd name="connsiteY36" fmla="*/ 434217 h 897199"/>
                <a:gd name="connsiteX37" fmla="*/ 10572525 w 12192000"/>
                <a:gd name="connsiteY37" fmla="*/ 434217 h 897199"/>
                <a:gd name="connsiteX38" fmla="*/ 10774209 w 12192000"/>
                <a:gd name="connsiteY38" fmla="*/ 285859 h 897199"/>
                <a:gd name="connsiteX39" fmla="*/ 10570226 w 12192000"/>
                <a:gd name="connsiteY39" fmla="*/ 145600 h 897199"/>
                <a:gd name="connsiteX40" fmla="*/ 10674529 w 12192000"/>
                <a:gd name="connsiteY40" fmla="*/ 472472 h 897199"/>
                <a:gd name="connsiteX41" fmla="*/ 10674529 w 12192000"/>
                <a:gd name="connsiteY41" fmla="*/ 474795 h 897199"/>
                <a:gd name="connsiteX42" fmla="*/ 10778855 w 12192000"/>
                <a:gd name="connsiteY42" fmla="*/ 572176 h 897199"/>
                <a:gd name="connsiteX43" fmla="*/ 10916799 w 12192000"/>
                <a:gd name="connsiteY43" fmla="*/ 885124 h 897199"/>
                <a:gd name="connsiteX44" fmla="*/ 10828671 w 12192000"/>
                <a:gd name="connsiteY44" fmla="*/ 885124 h 897199"/>
                <a:gd name="connsiteX45" fmla="*/ 10711598 w 12192000"/>
                <a:gd name="connsiteY45" fmla="*/ 611561 h 897199"/>
                <a:gd name="connsiteX46" fmla="*/ 10553987 w 12192000"/>
                <a:gd name="connsiteY46" fmla="*/ 503757 h 897199"/>
                <a:gd name="connsiteX47" fmla="*/ 10487892 w 12192000"/>
                <a:gd name="connsiteY47" fmla="*/ 503757 h 897199"/>
                <a:gd name="connsiteX48" fmla="*/ 10487892 w 12192000"/>
                <a:gd name="connsiteY48" fmla="*/ 885108 h 897199"/>
                <a:gd name="connsiteX49" fmla="*/ 10407928 w 12192000"/>
                <a:gd name="connsiteY49" fmla="*/ 885108 h 897199"/>
                <a:gd name="connsiteX50" fmla="*/ 10407928 w 12192000"/>
                <a:gd name="connsiteY50" fmla="*/ 76060 h 897199"/>
                <a:gd name="connsiteX51" fmla="*/ 10616581 w 12192000"/>
                <a:gd name="connsiteY51" fmla="*/ 76060 h 897199"/>
                <a:gd name="connsiteX52" fmla="*/ 10854188 w 12192000"/>
                <a:gd name="connsiteY52" fmla="*/ 285859 h 897199"/>
                <a:gd name="connsiteX53" fmla="*/ 10674529 w 12192000"/>
                <a:gd name="connsiteY53" fmla="*/ 472472 h 897199"/>
                <a:gd name="connsiteX54" fmla="*/ 9970977 w 12192000"/>
                <a:gd name="connsiteY54" fmla="*/ 77229 h 897199"/>
                <a:gd name="connsiteX55" fmla="*/ 9913053 w 12192000"/>
                <a:gd name="connsiteY55" fmla="*/ 64483 h 897199"/>
                <a:gd name="connsiteX56" fmla="*/ 9823773 w 12192000"/>
                <a:gd name="connsiteY56" fmla="*/ 242981 h 897199"/>
                <a:gd name="connsiteX57" fmla="*/ 9823773 w 12192000"/>
                <a:gd name="connsiteY57" fmla="*/ 293982 h 897199"/>
                <a:gd name="connsiteX58" fmla="*/ 9957061 w 12192000"/>
                <a:gd name="connsiteY58" fmla="*/ 293982 h 897199"/>
                <a:gd name="connsiteX59" fmla="*/ 9957061 w 12192000"/>
                <a:gd name="connsiteY59" fmla="*/ 356577 h 897199"/>
                <a:gd name="connsiteX60" fmla="*/ 9823773 w 12192000"/>
                <a:gd name="connsiteY60" fmla="*/ 356577 h 897199"/>
                <a:gd name="connsiteX61" fmla="*/ 9823773 w 12192000"/>
                <a:gd name="connsiteY61" fmla="*/ 885124 h 897199"/>
                <a:gd name="connsiteX62" fmla="*/ 9750755 w 12192000"/>
                <a:gd name="connsiteY62" fmla="*/ 885124 h 897199"/>
                <a:gd name="connsiteX63" fmla="*/ 9750755 w 12192000"/>
                <a:gd name="connsiteY63" fmla="*/ 356577 h 897199"/>
                <a:gd name="connsiteX64" fmla="*/ 9631383 w 12192000"/>
                <a:gd name="connsiteY64" fmla="*/ 356577 h 897199"/>
                <a:gd name="connsiteX65" fmla="*/ 9631383 w 12192000"/>
                <a:gd name="connsiteY65" fmla="*/ 293982 h 897199"/>
                <a:gd name="connsiteX66" fmla="*/ 9750755 w 12192000"/>
                <a:gd name="connsiteY66" fmla="*/ 293982 h 897199"/>
                <a:gd name="connsiteX67" fmla="*/ 9750755 w 12192000"/>
                <a:gd name="connsiteY67" fmla="*/ 251096 h 897199"/>
                <a:gd name="connsiteX68" fmla="*/ 9907229 w 12192000"/>
                <a:gd name="connsiteY68" fmla="*/ 1889 h 897199"/>
                <a:gd name="connsiteX69" fmla="*/ 9975624 w 12192000"/>
                <a:gd name="connsiteY69" fmla="*/ 13465 h 897199"/>
                <a:gd name="connsiteX70" fmla="*/ 9970977 w 12192000"/>
                <a:gd name="connsiteY70" fmla="*/ 77229 h 897199"/>
                <a:gd name="connsiteX71" fmla="*/ 9292942 w 12192000"/>
                <a:gd name="connsiteY71" fmla="*/ 342661 h 897199"/>
                <a:gd name="connsiteX72" fmla="*/ 9097060 w 12192000"/>
                <a:gd name="connsiteY72" fmla="*/ 589545 h 897199"/>
                <a:gd name="connsiteX73" fmla="*/ 9292942 w 12192000"/>
                <a:gd name="connsiteY73" fmla="*/ 836446 h 897199"/>
                <a:gd name="connsiteX74" fmla="*/ 9488825 w 12192000"/>
                <a:gd name="connsiteY74" fmla="*/ 589545 h 897199"/>
                <a:gd name="connsiteX75" fmla="*/ 9292942 w 12192000"/>
                <a:gd name="connsiteY75" fmla="*/ 342661 h 897199"/>
                <a:gd name="connsiteX76" fmla="*/ 9292942 w 12192000"/>
                <a:gd name="connsiteY76" fmla="*/ 899048 h 897199"/>
                <a:gd name="connsiteX77" fmla="*/ 9017048 w 12192000"/>
                <a:gd name="connsiteY77" fmla="*/ 589545 h 897199"/>
                <a:gd name="connsiteX78" fmla="*/ 9292942 w 12192000"/>
                <a:gd name="connsiteY78" fmla="*/ 280066 h 897199"/>
                <a:gd name="connsiteX79" fmla="*/ 9568813 w 12192000"/>
                <a:gd name="connsiteY79" fmla="*/ 589545 h 897199"/>
                <a:gd name="connsiteX80" fmla="*/ 9292942 w 12192000"/>
                <a:gd name="connsiteY80" fmla="*/ 899040 h 897199"/>
                <a:gd name="connsiteX81" fmla="*/ 8381940 w 12192000"/>
                <a:gd name="connsiteY81" fmla="*/ 342661 h 897199"/>
                <a:gd name="connsiteX82" fmla="*/ 8208089 w 12192000"/>
                <a:gd name="connsiteY82" fmla="*/ 547813 h 897199"/>
                <a:gd name="connsiteX83" fmla="*/ 8532661 w 12192000"/>
                <a:gd name="connsiteY83" fmla="*/ 547813 h 897199"/>
                <a:gd name="connsiteX84" fmla="*/ 8381956 w 12192000"/>
                <a:gd name="connsiteY84" fmla="*/ 342661 h 897199"/>
                <a:gd name="connsiteX85" fmla="*/ 8208089 w 12192000"/>
                <a:gd name="connsiteY85" fmla="*/ 610407 h 897199"/>
                <a:gd name="connsiteX86" fmla="*/ 8402826 w 12192000"/>
                <a:gd name="connsiteY86" fmla="*/ 836446 h 897199"/>
                <a:gd name="connsiteX87" fmla="*/ 8568569 w 12192000"/>
                <a:gd name="connsiteY87" fmla="*/ 792382 h 897199"/>
                <a:gd name="connsiteX88" fmla="*/ 8568569 w 12192000"/>
                <a:gd name="connsiteY88" fmla="*/ 866545 h 897199"/>
                <a:gd name="connsiteX89" fmla="*/ 8397025 w 12192000"/>
                <a:gd name="connsiteY89" fmla="*/ 899032 h 897199"/>
                <a:gd name="connsiteX90" fmla="*/ 8128125 w 12192000"/>
                <a:gd name="connsiteY90" fmla="*/ 589529 h 897199"/>
                <a:gd name="connsiteX91" fmla="*/ 8377333 w 12192000"/>
                <a:gd name="connsiteY91" fmla="*/ 280050 h 897199"/>
                <a:gd name="connsiteX92" fmla="*/ 8612624 w 12192000"/>
                <a:gd name="connsiteY92" fmla="*/ 573274 h 897199"/>
                <a:gd name="connsiteX93" fmla="*/ 8612624 w 12192000"/>
                <a:gd name="connsiteY93" fmla="*/ 610383 h 897199"/>
                <a:gd name="connsiteX94" fmla="*/ 7921843 w 12192000"/>
                <a:gd name="connsiteY94" fmla="*/ 342661 h 897199"/>
                <a:gd name="connsiteX95" fmla="*/ 7699274 w 12192000"/>
                <a:gd name="connsiteY95" fmla="*/ 589545 h 897199"/>
                <a:gd name="connsiteX96" fmla="*/ 7913720 w 12192000"/>
                <a:gd name="connsiteY96" fmla="*/ 836446 h 897199"/>
                <a:gd name="connsiteX97" fmla="*/ 8047008 w 12192000"/>
                <a:gd name="connsiteY97" fmla="*/ 809767 h 897199"/>
                <a:gd name="connsiteX98" fmla="*/ 8053978 w 12192000"/>
                <a:gd name="connsiteY98" fmla="*/ 878178 h 897199"/>
                <a:gd name="connsiteX99" fmla="*/ 7902127 w 12192000"/>
                <a:gd name="connsiteY99" fmla="*/ 899048 h 897199"/>
                <a:gd name="connsiteX100" fmla="*/ 7619319 w 12192000"/>
                <a:gd name="connsiteY100" fmla="*/ 589545 h 897199"/>
                <a:gd name="connsiteX101" fmla="*/ 7911428 w 12192000"/>
                <a:gd name="connsiteY101" fmla="*/ 280066 h 897199"/>
                <a:gd name="connsiteX102" fmla="*/ 8054034 w 12192000"/>
                <a:gd name="connsiteY102" fmla="*/ 303228 h 897199"/>
                <a:gd name="connsiteX103" fmla="*/ 8048242 w 12192000"/>
                <a:gd name="connsiteY103" fmla="*/ 372768 h 897199"/>
                <a:gd name="connsiteX104" fmla="*/ 7921899 w 12192000"/>
                <a:gd name="connsiteY104" fmla="*/ 342661 h 897199"/>
                <a:gd name="connsiteX105" fmla="*/ 7413005 w 12192000"/>
                <a:gd name="connsiteY105" fmla="*/ 885124 h 897199"/>
                <a:gd name="connsiteX106" fmla="*/ 7413005 w 12192000"/>
                <a:gd name="connsiteY106" fmla="*/ 525773 h 897199"/>
                <a:gd name="connsiteX107" fmla="*/ 7272746 w 12192000"/>
                <a:gd name="connsiteY107" fmla="*/ 342661 h 897199"/>
                <a:gd name="connsiteX108" fmla="*/ 7097726 w 12192000"/>
                <a:gd name="connsiteY108" fmla="*/ 558252 h 897199"/>
                <a:gd name="connsiteX109" fmla="*/ 7097726 w 12192000"/>
                <a:gd name="connsiteY109" fmla="*/ 885124 h 897199"/>
                <a:gd name="connsiteX110" fmla="*/ 7024708 w 12192000"/>
                <a:gd name="connsiteY110" fmla="*/ 885124 h 897199"/>
                <a:gd name="connsiteX111" fmla="*/ 7024708 w 12192000"/>
                <a:gd name="connsiteY111" fmla="*/ 433063 h 897199"/>
                <a:gd name="connsiteX112" fmla="*/ 7020062 w 12192000"/>
                <a:gd name="connsiteY112" fmla="*/ 293982 h 897199"/>
                <a:gd name="connsiteX113" fmla="*/ 7090756 w 12192000"/>
                <a:gd name="connsiteY113" fmla="*/ 293982 h 897199"/>
                <a:gd name="connsiteX114" fmla="*/ 7090756 w 12192000"/>
                <a:gd name="connsiteY114" fmla="*/ 399431 h 897199"/>
                <a:gd name="connsiteX115" fmla="*/ 7093103 w 12192000"/>
                <a:gd name="connsiteY115" fmla="*/ 399431 h 897199"/>
                <a:gd name="connsiteX116" fmla="*/ 7284363 w 12192000"/>
                <a:gd name="connsiteY116" fmla="*/ 280058 h 897199"/>
                <a:gd name="connsiteX117" fmla="*/ 7486046 w 12192000"/>
                <a:gd name="connsiteY117" fmla="*/ 507250 h 897199"/>
                <a:gd name="connsiteX118" fmla="*/ 7486046 w 12192000"/>
                <a:gd name="connsiteY118" fmla="*/ 885116 h 897199"/>
                <a:gd name="connsiteX119" fmla="*/ 6660783 w 12192000"/>
                <a:gd name="connsiteY119" fmla="*/ 342661 h 897199"/>
                <a:gd name="connsiteX120" fmla="*/ 6486932 w 12192000"/>
                <a:gd name="connsiteY120" fmla="*/ 547813 h 897199"/>
                <a:gd name="connsiteX121" fmla="*/ 6811464 w 12192000"/>
                <a:gd name="connsiteY121" fmla="*/ 547813 h 897199"/>
                <a:gd name="connsiteX122" fmla="*/ 6660807 w 12192000"/>
                <a:gd name="connsiteY122" fmla="*/ 342661 h 897199"/>
                <a:gd name="connsiteX123" fmla="*/ 6486932 w 12192000"/>
                <a:gd name="connsiteY123" fmla="*/ 610407 h 897199"/>
                <a:gd name="connsiteX124" fmla="*/ 6681669 w 12192000"/>
                <a:gd name="connsiteY124" fmla="*/ 836446 h 897199"/>
                <a:gd name="connsiteX125" fmla="*/ 6847412 w 12192000"/>
                <a:gd name="connsiteY125" fmla="*/ 792382 h 897199"/>
                <a:gd name="connsiteX126" fmla="*/ 6847412 w 12192000"/>
                <a:gd name="connsiteY126" fmla="*/ 866545 h 897199"/>
                <a:gd name="connsiteX127" fmla="*/ 6675869 w 12192000"/>
                <a:gd name="connsiteY127" fmla="*/ 899032 h 897199"/>
                <a:gd name="connsiteX128" fmla="*/ 6406969 w 12192000"/>
                <a:gd name="connsiteY128" fmla="*/ 589529 h 897199"/>
                <a:gd name="connsiteX129" fmla="*/ 6656128 w 12192000"/>
                <a:gd name="connsiteY129" fmla="*/ 280050 h 897199"/>
                <a:gd name="connsiteX130" fmla="*/ 6891436 w 12192000"/>
                <a:gd name="connsiteY130" fmla="*/ 573274 h 897199"/>
                <a:gd name="connsiteX131" fmla="*/ 6891436 w 12192000"/>
                <a:gd name="connsiteY131" fmla="*/ 610383 h 897199"/>
                <a:gd name="connsiteX132" fmla="*/ 6199429 w 12192000"/>
                <a:gd name="connsiteY132" fmla="*/ 38950 h 897199"/>
                <a:gd name="connsiteX133" fmla="*/ 6272494 w 12192000"/>
                <a:gd name="connsiteY133" fmla="*/ 38950 h 897199"/>
                <a:gd name="connsiteX134" fmla="*/ 6272494 w 12192000"/>
                <a:gd name="connsiteY134" fmla="*/ 136339 h 897199"/>
                <a:gd name="connsiteX135" fmla="*/ 6199429 w 12192000"/>
                <a:gd name="connsiteY135" fmla="*/ 136339 h 897199"/>
                <a:gd name="connsiteX136" fmla="*/ 6199429 w 12192000"/>
                <a:gd name="connsiteY136" fmla="*/ 38950 h 897199"/>
                <a:gd name="connsiteX137" fmla="*/ 6199429 w 12192000"/>
                <a:gd name="connsiteY137" fmla="*/ 885124 h 897199"/>
                <a:gd name="connsiteX138" fmla="*/ 6199429 w 12192000"/>
                <a:gd name="connsiteY138" fmla="*/ 293982 h 897199"/>
                <a:gd name="connsiteX139" fmla="*/ 6272494 w 12192000"/>
                <a:gd name="connsiteY139" fmla="*/ 293982 h 897199"/>
                <a:gd name="connsiteX140" fmla="*/ 6272494 w 12192000"/>
                <a:gd name="connsiteY140" fmla="*/ 885124 h 897199"/>
                <a:gd name="connsiteX141" fmla="*/ 5949116 w 12192000"/>
                <a:gd name="connsiteY141" fmla="*/ 342661 h 897199"/>
                <a:gd name="connsiteX142" fmla="*/ 5726570 w 12192000"/>
                <a:gd name="connsiteY142" fmla="*/ 589545 h 897199"/>
                <a:gd name="connsiteX143" fmla="*/ 5940992 w 12192000"/>
                <a:gd name="connsiteY143" fmla="*/ 836446 h 897199"/>
                <a:gd name="connsiteX144" fmla="*/ 6074280 w 12192000"/>
                <a:gd name="connsiteY144" fmla="*/ 809767 h 897199"/>
                <a:gd name="connsiteX145" fmla="*/ 6081250 w 12192000"/>
                <a:gd name="connsiteY145" fmla="*/ 878178 h 897199"/>
                <a:gd name="connsiteX146" fmla="*/ 5929399 w 12192000"/>
                <a:gd name="connsiteY146" fmla="*/ 899040 h 897199"/>
                <a:gd name="connsiteX147" fmla="*/ 5646591 w 12192000"/>
                <a:gd name="connsiteY147" fmla="*/ 589537 h 897199"/>
                <a:gd name="connsiteX148" fmla="*/ 5938701 w 12192000"/>
                <a:gd name="connsiteY148" fmla="*/ 280058 h 897199"/>
                <a:gd name="connsiteX149" fmla="*/ 6081306 w 12192000"/>
                <a:gd name="connsiteY149" fmla="*/ 303220 h 897199"/>
                <a:gd name="connsiteX150" fmla="*/ 6075514 w 12192000"/>
                <a:gd name="connsiteY150" fmla="*/ 372760 h 897199"/>
                <a:gd name="connsiteX151" fmla="*/ 5949172 w 12192000"/>
                <a:gd name="connsiteY151" fmla="*/ 342653 h 897199"/>
                <a:gd name="connsiteX152" fmla="*/ 5347551 w 12192000"/>
                <a:gd name="connsiteY152" fmla="*/ 131708 h 897199"/>
                <a:gd name="connsiteX153" fmla="*/ 5172555 w 12192000"/>
                <a:gd name="connsiteY153" fmla="*/ 270789 h 897199"/>
                <a:gd name="connsiteX154" fmla="*/ 5543434 w 12192000"/>
                <a:gd name="connsiteY154" fmla="*/ 670678 h 897199"/>
                <a:gd name="connsiteX155" fmla="*/ 5278003 w 12192000"/>
                <a:gd name="connsiteY155" fmla="*/ 899040 h 897199"/>
                <a:gd name="connsiteX156" fmla="*/ 5094890 w 12192000"/>
                <a:gd name="connsiteY156" fmla="*/ 864254 h 897199"/>
                <a:gd name="connsiteX157" fmla="*/ 5103006 w 12192000"/>
                <a:gd name="connsiteY157" fmla="*/ 781943 h 897199"/>
                <a:gd name="connsiteX158" fmla="*/ 5281504 w 12192000"/>
                <a:gd name="connsiteY158" fmla="*/ 829467 h 897199"/>
                <a:gd name="connsiteX159" fmla="*/ 5463463 w 12192000"/>
                <a:gd name="connsiteY159" fmla="*/ 663700 h 897199"/>
                <a:gd name="connsiteX160" fmla="*/ 5092567 w 12192000"/>
                <a:gd name="connsiteY160" fmla="*/ 273104 h 897199"/>
                <a:gd name="connsiteX161" fmla="*/ 5348721 w 12192000"/>
                <a:gd name="connsiteY161" fmla="*/ 62136 h 897199"/>
                <a:gd name="connsiteX162" fmla="*/ 5507494 w 12192000"/>
                <a:gd name="connsiteY162" fmla="*/ 88798 h 897199"/>
                <a:gd name="connsiteX163" fmla="*/ 5494756 w 12192000"/>
                <a:gd name="connsiteY163" fmla="*/ 161831 h 897199"/>
                <a:gd name="connsiteX164" fmla="*/ 5347551 w 12192000"/>
                <a:gd name="connsiteY164" fmla="*/ 131700 h 897199"/>
                <a:gd name="connsiteX165" fmla="*/ 4231388 w 12192000"/>
                <a:gd name="connsiteY165" fmla="*/ 482895 h 897199"/>
                <a:gd name="connsiteX166" fmla="*/ 4079561 w 12192000"/>
                <a:gd name="connsiteY166" fmla="*/ 669565 h 897199"/>
                <a:gd name="connsiteX167" fmla="*/ 4267320 w 12192000"/>
                <a:gd name="connsiteY167" fmla="*/ 836477 h 897199"/>
                <a:gd name="connsiteX168" fmla="*/ 4466680 w 12192000"/>
                <a:gd name="connsiteY168" fmla="*/ 742574 h 897199"/>
                <a:gd name="connsiteX169" fmla="*/ 4231388 w 12192000"/>
                <a:gd name="connsiteY169" fmla="*/ 482927 h 897199"/>
                <a:gd name="connsiteX170" fmla="*/ 4413379 w 12192000"/>
                <a:gd name="connsiteY170" fmla="*/ 241803 h 897199"/>
                <a:gd name="connsiteX171" fmla="*/ 4298605 w 12192000"/>
                <a:gd name="connsiteY171" fmla="*/ 124738 h 897199"/>
                <a:gd name="connsiteX172" fmla="*/ 4165316 w 12192000"/>
                <a:gd name="connsiteY172" fmla="*/ 242981 h 897199"/>
                <a:gd name="connsiteX173" fmla="*/ 4256881 w 12192000"/>
                <a:gd name="connsiteY173" fmla="*/ 407554 h 897199"/>
                <a:gd name="connsiteX174" fmla="*/ 4413379 w 12192000"/>
                <a:gd name="connsiteY174" fmla="*/ 241803 h 897199"/>
                <a:gd name="connsiteX175" fmla="*/ 4698518 w 12192000"/>
                <a:gd name="connsiteY175" fmla="*/ 882800 h 897199"/>
                <a:gd name="connsiteX176" fmla="*/ 4596539 w 12192000"/>
                <a:gd name="connsiteY176" fmla="*/ 882800 h 897199"/>
                <a:gd name="connsiteX177" fmla="*/ 4510751 w 12192000"/>
                <a:gd name="connsiteY177" fmla="*/ 792398 h 897199"/>
                <a:gd name="connsiteX178" fmla="*/ 4264996 w 12192000"/>
                <a:gd name="connsiteY178" fmla="*/ 899048 h 897199"/>
                <a:gd name="connsiteX179" fmla="*/ 3999573 w 12192000"/>
                <a:gd name="connsiteY179" fmla="*/ 673002 h 897199"/>
                <a:gd name="connsiteX180" fmla="*/ 4190833 w 12192000"/>
                <a:gd name="connsiteY180" fmla="*/ 437710 h 897199"/>
                <a:gd name="connsiteX181" fmla="*/ 4085353 w 12192000"/>
                <a:gd name="connsiteY181" fmla="*/ 238334 h 897199"/>
                <a:gd name="connsiteX182" fmla="*/ 4303268 w 12192000"/>
                <a:gd name="connsiteY182" fmla="*/ 62144 h 897199"/>
                <a:gd name="connsiteX183" fmla="*/ 4493334 w 12192000"/>
                <a:gd name="connsiteY183" fmla="*/ 229065 h 897199"/>
                <a:gd name="connsiteX184" fmla="*/ 4298597 w 12192000"/>
                <a:gd name="connsiteY184" fmla="*/ 449286 h 897199"/>
                <a:gd name="connsiteX185" fmla="*/ 4511897 w 12192000"/>
                <a:gd name="connsiteY185" fmla="*/ 686902 h 897199"/>
                <a:gd name="connsiteX186" fmla="*/ 4581437 w 12192000"/>
                <a:gd name="connsiteY186" fmla="*/ 441163 h 897199"/>
                <a:gd name="connsiteX187" fmla="*/ 4650986 w 12192000"/>
                <a:gd name="connsiteY187" fmla="*/ 441163 h 897199"/>
                <a:gd name="connsiteX188" fmla="*/ 4560575 w 12192000"/>
                <a:gd name="connsiteY188" fmla="*/ 733249 h 897199"/>
                <a:gd name="connsiteX189" fmla="*/ 4698510 w 12192000"/>
                <a:gd name="connsiteY189" fmla="*/ 882800 h 897199"/>
                <a:gd name="connsiteX190" fmla="*/ 3535960 w 12192000"/>
                <a:gd name="connsiteY190" fmla="*/ 836446 h 897199"/>
                <a:gd name="connsiteX191" fmla="*/ 3603201 w 12192000"/>
                <a:gd name="connsiteY191" fmla="*/ 822529 h 897199"/>
                <a:gd name="connsiteX192" fmla="*/ 3607824 w 12192000"/>
                <a:gd name="connsiteY192" fmla="*/ 882800 h 897199"/>
                <a:gd name="connsiteX193" fmla="*/ 3518591 w 12192000"/>
                <a:gd name="connsiteY193" fmla="*/ 899048 h 897199"/>
                <a:gd name="connsiteX194" fmla="*/ 3384109 w 12192000"/>
                <a:gd name="connsiteY194" fmla="*/ 701963 h 897199"/>
                <a:gd name="connsiteX195" fmla="*/ 3384109 w 12192000"/>
                <a:gd name="connsiteY195" fmla="*/ 356577 h 897199"/>
                <a:gd name="connsiteX196" fmla="*/ 3268213 w 12192000"/>
                <a:gd name="connsiteY196" fmla="*/ 356577 h 897199"/>
                <a:gd name="connsiteX197" fmla="*/ 3268213 w 12192000"/>
                <a:gd name="connsiteY197" fmla="*/ 293982 h 897199"/>
                <a:gd name="connsiteX198" fmla="*/ 3384109 w 12192000"/>
                <a:gd name="connsiteY198" fmla="*/ 293982 h 897199"/>
                <a:gd name="connsiteX199" fmla="*/ 3384109 w 12192000"/>
                <a:gd name="connsiteY199" fmla="*/ 151376 h 897199"/>
                <a:gd name="connsiteX200" fmla="*/ 3457150 w 12192000"/>
                <a:gd name="connsiteY200" fmla="*/ 125884 h 897199"/>
                <a:gd name="connsiteX201" fmla="*/ 3457150 w 12192000"/>
                <a:gd name="connsiteY201" fmla="*/ 293958 h 897199"/>
                <a:gd name="connsiteX202" fmla="*/ 3591584 w 12192000"/>
                <a:gd name="connsiteY202" fmla="*/ 293958 h 897199"/>
                <a:gd name="connsiteX203" fmla="*/ 3591584 w 12192000"/>
                <a:gd name="connsiteY203" fmla="*/ 356553 h 897199"/>
                <a:gd name="connsiteX204" fmla="*/ 3457150 w 12192000"/>
                <a:gd name="connsiteY204" fmla="*/ 356553 h 897199"/>
                <a:gd name="connsiteX205" fmla="*/ 3457150 w 12192000"/>
                <a:gd name="connsiteY205" fmla="*/ 739049 h 897199"/>
                <a:gd name="connsiteX206" fmla="*/ 3535960 w 12192000"/>
                <a:gd name="connsiteY206" fmla="*/ 836421 h 897199"/>
                <a:gd name="connsiteX207" fmla="*/ 3176673 w 12192000"/>
                <a:gd name="connsiteY207" fmla="*/ 356553 h 897199"/>
                <a:gd name="connsiteX208" fmla="*/ 3029469 w 12192000"/>
                <a:gd name="connsiteY208" fmla="*/ 593014 h 897199"/>
                <a:gd name="connsiteX209" fmla="*/ 3029469 w 12192000"/>
                <a:gd name="connsiteY209" fmla="*/ 885100 h 897199"/>
                <a:gd name="connsiteX210" fmla="*/ 2956451 w 12192000"/>
                <a:gd name="connsiteY210" fmla="*/ 885100 h 897199"/>
                <a:gd name="connsiteX211" fmla="*/ 2956451 w 12192000"/>
                <a:gd name="connsiteY211" fmla="*/ 426117 h 897199"/>
                <a:gd name="connsiteX212" fmla="*/ 2951789 w 12192000"/>
                <a:gd name="connsiteY212" fmla="*/ 293982 h 897199"/>
                <a:gd name="connsiteX213" fmla="*/ 3024822 w 12192000"/>
                <a:gd name="connsiteY213" fmla="*/ 293982 h 897199"/>
                <a:gd name="connsiteX214" fmla="*/ 3024822 w 12192000"/>
                <a:gd name="connsiteY214" fmla="*/ 407554 h 897199"/>
                <a:gd name="connsiteX215" fmla="*/ 3027169 w 12192000"/>
                <a:gd name="connsiteY215" fmla="*/ 407554 h 897199"/>
                <a:gd name="connsiteX216" fmla="*/ 3178997 w 12192000"/>
                <a:gd name="connsiteY216" fmla="*/ 280066 h 897199"/>
                <a:gd name="connsiteX217" fmla="*/ 3229974 w 12192000"/>
                <a:gd name="connsiteY217" fmla="*/ 287036 h 897199"/>
                <a:gd name="connsiteX218" fmla="*/ 3229974 w 12192000"/>
                <a:gd name="connsiteY218" fmla="*/ 363523 h 897199"/>
                <a:gd name="connsiteX219" fmla="*/ 3176673 w 12192000"/>
                <a:gd name="connsiteY219" fmla="*/ 356577 h 897199"/>
                <a:gd name="connsiteX220" fmla="*/ 2483569 w 12192000"/>
                <a:gd name="connsiteY220" fmla="*/ 152546 h 897199"/>
                <a:gd name="connsiteX221" fmla="*/ 2307402 w 12192000"/>
                <a:gd name="connsiteY221" fmla="*/ 598790 h 897199"/>
                <a:gd name="connsiteX222" fmla="*/ 2658589 w 12192000"/>
                <a:gd name="connsiteY222" fmla="*/ 598790 h 897199"/>
                <a:gd name="connsiteX223" fmla="*/ 2483569 w 12192000"/>
                <a:gd name="connsiteY223" fmla="*/ 152546 h 897199"/>
                <a:gd name="connsiteX224" fmla="*/ 2772185 w 12192000"/>
                <a:gd name="connsiteY224" fmla="*/ 885100 h 897199"/>
                <a:gd name="connsiteX225" fmla="*/ 2685252 w 12192000"/>
                <a:gd name="connsiteY225" fmla="*/ 668355 h 897199"/>
                <a:gd name="connsiteX226" fmla="*/ 2277247 w 12192000"/>
                <a:gd name="connsiteY226" fmla="*/ 668355 h 897199"/>
                <a:gd name="connsiteX227" fmla="*/ 2190297 w 12192000"/>
                <a:gd name="connsiteY227" fmla="*/ 885100 h 897199"/>
                <a:gd name="connsiteX228" fmla="*/ 2112665 w 12192000"/>
                <a:gd name="connsiteY228" fmla="*/ 885100 h 897199"/>
                <a:gd name="connsiteX229" fmla="*/ 2444168 w 12192000"/>
                <a:gd name="connsiteY229" fmla="*/ 76036 h 897199"/>
                <a:gd name="connsiteX230" fmla="*/ 2534570 w 12192000"/>
                <a:gd name="connsiteY230" fmla="*/ 76036 h 897199"/>
                <a:gd name="connsiteX231" fmla="*/ 2855650 w 12192000"/>
                <a:gd name="connsiteY231" fmla="*/ 885100 h 897199"/>
                <a:gd name="connsiteX232" fmla="*/ 1508762 w 12192000"/>
                <a:gd name="connsiteY232" fmla="*/ 342637 h 897199"/>
                <a:gd name="connsiteX233" fmla="*/ 1334911 w 12192000"/>
                <a:gd name="connsiteY233" fmla="*/ 547789 h 897199"/>
                <a:gd name="connsiteX234" fmla="*/ 1659451 w 12192000"/>
                <a:gd name="connsiteY234" fmla="*/ 547789 h 897199"/>
                <a:gd name="connsiteX235" fmla="*/ 1508778 w 12192000"/>
                <a:gd name="connsiteY235" fmla="*/ 342637 h 897199"/>
                <a:gd name="connsiteX236" fmla="*/ 1334911 w 12192000"/>
                <a:gd name="connsiteY236" fmla="*/ 610383 h 897199"/>
                <a:gd name="connsiteX237" fmla="*/ 1529640 w 12192000"/>
                <a:gd name="connsiteY237" fmla="*/ 836421 h 897199"/>
                <a:gd name="connsiteX238" fmla="*/ 1695391 w 12192000"/>
                <a:gd name="connsiteY238" fmla="*/ 792358 h 897199"/>
                <a:gd name="connsiteX239" fmla="*/ 1695391 w 12192000"/>
                <a:gd name="connsiteY239" fmla="*/ 866521 h 897199"/>
                <a:gd name="connsiteX240" fmla="*/ 1523847 w 12192000"/>
                <a:gd name="connsiteY240" fmla="*/ 899008 h 897199"/>
                <a:gd name="connsiteX241" fmla="*/ 1254915 w 12192000"/>
                <a:gd name="connsiteY241" fmla="*/ 589505 h 897199"/>
                <a:gd name="connsiteX242" fmla="*/ 1504147 w 12192000"/>
                <a:gd name="connsiteY242" fmla="*/ 280026 h 897199"/>
                <a:gd name="connsiteX243" fmla="*/ 1739447 w 12192000"/>
                <a:gd name="connsiteY243" fmla="*/ 573249 h 897199"/>
                <a:gd name="connsiteX244" fmla="*/ 1739447 w 12192000"/>
                <a:gd name="connsiteY244" fmla="*/ 610359 h 897199"/>
                <a:gd name="connsiteX245" fmla="*/ 1048633 w 12192000"/>
                <a:gd name="connsiteY245" fmla="*/ 885100 h 897199"/>
                <a:gd name="connsiteX246" fmla="*/ 1048633 w 12192000"/>
                <a:gd name="connsiteY246" fmla="*/ 532743 h 897199"/>
                <a:gd name="connsiteX247" fmla="*/ 908375 w 12192000"/>
                <a:gd name="connsiteY247" fmla="*/ 342661 h 897199"/>
                <a:gd name="connsiteX248" fmla="*/ 733346 w 12192000"/>
                <a:gd name="connsiteY248" fmla="*/ 568675 h 897199"/>
                <a:gd name="connsiteX249" fmla="*/ 733346 w 12192000"/>
                <a:gd name="connsiteY249" fmla="*/ 885132 h 897199"/>
                <a:gd name="connsiteX250" fmla="*/ 660393 w 12192000"/>
                <a:gd name="connsiteY250" fmla="*/ 885132 h 897199"/>
                <a:gd name="connsiteX251" fmla="*/ 660393 w 12192000"/>
                <a:gd name="connsiteY251" fmla="*/ 15789 h 897199"/>
                <a:gd name="connsiteX252" fmla="*/ 733402 w 12192000"/>
                <a:gd name="connsiteY252" fmla="*/ 15789 h 897199"/>
                <a:gd name="connsiteX253" fmla="*/ 733402 w 12192000"/>
                <a:gd name="connsiteY253" fmla="*/ 393638 h 897199"/>
                <a:gd name="connsiteX254" fmla="*/ 735734 w 12192000"/>
                <a:gd name="connsiteY254" fmla="*/ 393638 h 897199"/>
                <a:gd name="connsiteX255" fmla="*/ 920039 w 12192000"/>
                <a:gd name="connsiteY255" fmla="*/ 280066 h 897199"/>
                <a:gd name="connsiteX256" fmla="*/ 1121731 w 12192000"/>
                <a:gd name="connsiteY256" fmla="*/ 531573 h 897199"/>
                <a:gd name="connsiteX257" fmla="*/ 1121731 w 12192000"/>
                <a:gd name="connsiteY257" fmla="*/ 885124 h 897199"/>
                <a:gd name="connsiteX258" fmla="*/ 325373 w 12192000"/>
                <a:gd name="connsiteY258" fmla="*/ 145576 h 897199"/>
                <a:gd name="connsiteX259" fmla="*/ 325373 w 12192000"/>
                <a:gd name="connsiteY259" fmla="*/ 885100 h 897199"/>
                <a:gd name="connsiteX260" fmla="*/ 245410 w 12192000"/>
                <a:gd name="connsiteY260" fmla="*/ 885100 h 897199"/>
                <a:gd name="connsiteX261" fmla="*/ 245410 w 12192000"/>
                <a:gd name="connsiteY261" fmla="*/ 145600 h 897199"/>
                <a:gd name="connsiteX262" fmla="*/ 6649 w 12192000"/>
                <a:gd name="connsiteY262" fmla="*/ 145600 h 897199"/>
                <a:gd name="connsiteX263" fmla="*/ 6649 w 12192000"/>
                <a:gd name="connsiteY263" fmla="*/ 76060 h 897199"/>
                <a:gd name="connsiteX264" fmla="*/ 564190 w 12192000"/>
                <a:gd name="connsiteY264" fmla="*/ 76060 h 897199"/>
                <a:gd name="connsiteX265" fmla="*/ 564190 w 12192000"/>
                <a:gd name="connsiteY265" fmla="*/ 145600 h 89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2192000" h="897199">
                  <a:moveTo>
                    <a:pt x="12198649" y="885124"/>
                  </a:moveTo>
                  <a:lnTo>
                    <a:pt x="12097839" y="885124"/>
                  </a:lnTo>
                  <a:lnTo>
                    <a:pt x="11805730" y="581421"/>
                  </a:lnTo>
                  <a:lnTo>
                    <a:pt x="11805730" y="885124"/>
                  </a:lnTo>
                  <a:lnTo>
                    <a:pt x="11732688" y="885124"/>
                  </a:lnTo>
                  <a:lnTo>
                    <a:pt x="11732688" y="15789"/>
                  </a:lnTo>
                  <a:lnTo>
                    <a:pt x="11805730" y="15789"/>
                  </a:lnTo>
                  <a:lnTo>
                    <a:pt x="11805730" y="536236"/>
                  </a:lnTo>
                  <a:lnTo>
                    <a:pt x="12070007" y="293982"/>
                  </a:lnTo>
                  <a:lnTo>
                    <a:pt x="12163887" y="293982"/>
                  </a:lnTo>
                  <a:lnTo>
                    <a:pt x="11875270" y="555961"/>
                  </a:lnTo>
                  <a:lnTo>
                    <a:pt x="12198649" y="885124"/>
                  </a:lnTo>
                  <a:close/>
                  <a:moveTo>
                    <a:pt x="11444120" y="342661"/>
                  </a:moveTo>
                  <a:cubicBezTo>
                    <a:pt x="11368811" y="342661"/>
                    <a:pt x="11316608" y="365822"/>
                    <a:pt x="11316608" y="441203"/>
                  </a:cubicBezTo>
                  <a:cubicBezTo>
                    <a:pt x="11316608" y="551346"/>
                    <a:pt x="11607548" y="537430"/>
                    <a:pt x="11607548" y="730989"/>
                  </a:cubicBezTo>
                  <a:cubicBezTo>
                    <a:pt x="11607548" y="856178"/>
                    <a:pt x="11490475" y="899088"/>
                    <a:pt x="11401218" y="899088"/>
                  </a:cubicBezTo>
                  <a:cubicBezTo>
                    <a:pt x="11344424" y="899088"/>
                    <a:pt x="11287622" y="892118"/>
                    <a:pt x="11235475" y="871248"/>
                  </a:cubicBezTo>
                  <a:lnTo>
                    <a:pt x="11242445" y="799384"/>
                  </a:lnTo>
                  <a:cubicBezTo>
                    <a:pt x="11286468" y="821424"/>
                    <a:pt x="11339793" y="836485"/>
                    <a:pt x="11396595" y="836485"/>
                  </a:cubicBezTo>
                  <a:cubicBezTo>
                    <a:pt x="11466136" y="836485"/>
                    <a:pt x="11527584" y="798214"/>
                    <a:pt x="11527584" y="730989"/>
                  </a:cubicBezTo>
                  <a:cubicBezTo>
                    <a:pt x="11527584" y="590731"/>
                    <a:pt x="11243590" y="612770"/>
                    <a:pt x="11243590" y="441203"/>
                  </a:cubicBezTo>
                  <a:cubicBezTo>
                    <a:pt x="11243590" y="324130"/>
                    <a:pt x="11338647" y="280106"/>
                    <a:pt x="11436004" y="280106"/>
                  </a:cubicBezTo>
                  <a:cubicBezTo>
                    <a:pt x="11467289" y="280106"/>
                    <a:pt x="11529884" y="287076"/>
                    <a:pt x="11582055" y="306761"/>
                  </a:cubicBezTo>
                  <a:lnTo>
                    <a:pt x="11575085" y="370533"/>
                  </a:lnTo>
                  <a:cubicBezTo>
                    <a:pt x="11536830" y="353116"/>
                    <a:pt x="11484682" y="342701"/>
                    <a:pt x="11444120" y="342701"/>
                  </a:cubicBezTo>
                  <a:close/>
                  <a:moveTo>
                    <a:pt x="11036115" y="38950"/>
                  </a:moveTo>
                  <a:lnTo>
                    <a:pt x="11109148" y="38950"/>
                  </a:lnTo>
                  <a:lnTo>
                    <a:pt x="11109148" y="136339"/>
                  </a:lnTo>
                  <a:lnTo>
                    <a:pt x="11036115" y="136339"/>
                  </a:lnTo>
                  <a:lnTo>
                    <a:pt x="11036115" y="38950"/>
                  </a:lnTo>
                  <a:close/>
                  <a:moveTo>
                    <a:pt x="11036115" y="885124"/>
                  </a:moveTo>
                  <a:lnTo>
                    <a:pt x="11036115" y="293982"/>
                  </a:lnTo>
                  <a:lnTo>
                    <a:pt x="11109148" y="293982"/>
                  </a:lnTo>
                  <a:lnTo>
                    <a:pt x="11109148" y="885124"/>
                  </a:lnTo>
                  <a:close/>
                  <a:moveTo>
                    <a:pt x="10570226" y="145600"/>
                  </a:moveTo>
                  <a:lnTo>
                    <a:pt x="10487892" y="145600"/>
                  </a:lnTo>
                  <a:lnTo>
                    <a:pt x="10487892" y="434217"/>
                  </a:lnTo>
                  <a:lnTo>
                    <a:pt x="10572525" y="434217"/>
                  </a:lnTo>
                  <a:cubicBezTo>
                    <a:pt x="10666405" y="434217"/>
                    <a:pt x="10774209" y="398309"/>
                    <a:pt x="10774209" y="285859"/>
                  </a:cubicBezTo>
                  <a:cubicBezTo>
                    <a:pt x="10774209" y="153724"/>
                    <a:pt x="10680321" y="145600"/>
                    <a:pt x="10570226" y="145600"/>
                  </a:cubicBezTo>
                  <a:close/>
                  <a:moveTo>
                    <a:pt x="10674529" y="472472"/>
                  </a:moveTo>
                  <a:lnTo>
                    <a:pt x="10674529" y="474795"/>
                  </a:lnTo>
                  <a:cubicBezTo>
                    <a:pt x="10739423" y="482895"/>
                    <a:pt x="10753339" y="517673"/>
                    <a:pt x="10778855" y="572176"/>
                  </a:cubicBezTo>
                  <a:lnTo>
                    <a:pt x="10916799" y="885124"/>
                  </a:lnTo>
                  <a:lnTo>
                    <a:pt x="10828671" y="885124"/>
                  </a:lnTo>
                  <a:lnTo>
                    <a:pt x="10711598" y="611561"/>
                  </a:lnTo>
                  <a:cubicBezTo>
                    <a:pt x="10665235" y="507274"/>
                    <a:pt x="10630473" y="503757"/>
                    <a:pt x="10553987" y="503757"/>
                  </a:cubicBezTo>
                  <a:lnTo>
                    <a:pt x="10487892" y="503757"/>
                  </a:lnTo>
                  <a:lnTo>
                    <a:pt x="10487892" y="885108"/>
                  </a:lnTo>
                  <a:lnTo>
                    <a:pt x="10407928" y="885108"/>
                  </a:lnTo>
                  <a:lnTo>
                    <a:pt x="10407928" y="76060"/>
                  </a:lnTo>
                  <a:lnTo>
                    <a:pt x="10616581" y="76060"/>
                  </a:lnTo>
                  <a:cubicBezTo>
                    <a:pt x="10760285" y="76060"/>
                    <a:pt x="10854188" y="137484"/>
                    <a:pt x="10854188" y="285859"/>
                  </a:cubicBezTo>
                  <a:cubicBezTo>
                    <a:pt x="10854188" y="390185"/>
                    <a:pt x="10774209" y="459710"/>
                    <a:pt x="10674529" y="472472"/>
                  </a:cubicBezTo>
                  <a:close/>
                  <a:moveTo>
                    <a:pt x="9970977" y="77229"/>
                  </a:moveTo>
                  <a:cubicBezTo>
                    <a:pt x="9955908" y="69114"/>
                    <a:pt x="9933916" y="64483"/>
                    <a:pt x="9913053" y="64483"/>
                  </a:cubicBezTo>
                  <a:cubicBezTo>
                    <a:pt x="9813350" y="64483"/>
                    <a:pt x="9823773" y="172263"/>
                    <a:pt x="9823773" y="242981"/>
                  </a:cubicBezTo>
                  <a:lnTo>
                    <a:pt x="9823773" y="293982"/>
                  </a:lnTo>
                  <a:lnTo>
                    <a:pt x="9957061" y="293982"/>
                  </a:lnTo>
                  <a:lnTo>
                    <a:pt x="9957061" y="356577"/>
                  </a:lnTo>
                  <a:lnTo>
                    <a:pt x="9823773" y="356577"/>
                  </a:lnTo>
                  <a:lnTo>
                    <a:pt x="9823773" y="885124"/>
                  </a:lnTo>
                  <a:lnTo>
                    <a:pt x="9750755" y="885124"/>
                  </a:lnTo>
                  <a:lnTo>
                    <a:pt x="9750755" y="356577"/>
                  </a:lnTo>
                  <a:lnTo>
                    <a:pt x="9631383" y="356577"/>
                  </a:lnTo>
                  <a:lnTo>
                    <a:pt x="9631383" y="293982"/>
                  </a:lnTo>
                  <a:lnTo>
                    <a:pt x="9750755" y="293982"/>
                  </a:lnTo>
                  <a:lnTo>
                    <a:pt x="9750755" y="251096"/>
                  </a:lnTo>
                  <a:cubicBezTo>
                    <a:pt x="9750755" y="127061"/>
                    <a:pt x="9755378" y="1889"/>
                    <a:pt x="9907229" y="1889"/>
                  </a:cubicBezTo>
                  <a:cubicBezTo>
                    <a:pt x="9930463" y="1889"/>
                    <a:pt x="9961708" y="5342"/>
                    <a:pt x="9975624" y="13465"/>
                  </a:cubicBezTo>
                  <a:lnTo>
                    <a:pt x="9970977" y="77229"/>
                  </a:lnTo>
                  <a:close/>
                  <a:moveTo>
                    <a:pt x="9292942" y="342661"/>
                  </a:moveTo>
                  <a:cubicBezTo>
                    <a:pt x="9165430" y="342661"/>
                    <a:pt x="9097060" y="452780"/>
                    <a:pt x="9097060" y="589545"/>
                  </a:cubicBezTo>
                  <a:cubicBezTo>
                    <a:pt x="9097060" y="726310"/>
                    <a:pt x="9165430" y="836446"/>
                    <a:pt x="9292942" y="836446"/>
                  </a:cubicBezTo>
                  <a:cubicBezTo>
                    <a:pt x="9420454" y="836446"/>
                    <a:pt x="9488825" y="726302"/>
                    <a:pt x="9488825" y="589545"/>
                  </a:cubicBezTo>
                  <a:cubicBezTo>
                    <a:pt x="9488825" y="452788"/>
                    <a:pt x="9420431" y="342661"/>
                    <a:pt x="9292942" y="342661"/>
                  </a:cubicBezTo>
                  <a:close/>
                  <a:moveTo>
                    <a:pt x="9292942" y="899048"/>
                  </a:moveTo>
                  <a:cubicBezTo>
                    <a:pt x="9101682" y="899048"/>
                    <a:pt x="9017048" y="750666"/>
                    <a:pt x="9017048" y="589545"/>
                  </a:cubicBezTo>
                  <a:cubicBezTo>
                    <a:pt x="9017048" y="428424"/>
                    <a:pt x="9101682" y="280066"/>
                    <a:pt x="9292942" y="280066"/>
                  </a:cubicBezTo>
                  <a:cubicBezTo>
                    <a:pt x="9484202" y="280066"/>
                    <a:pt x="9568813" y="428416"/>
                    <a:pt x="9568813" y="589545"/>
                  </a:cubicBezTo>
                  <a:cubicBezTo>
                    <a:pt x="9568813" y="750674"/>
                    <a:pt x="9484179" y="899040"/>
                    <a:pt x="9292942" y="899040"/>
                  </a:cubicBezTo>
                  <a:close/>
                  <a:moveTo>
                    <a:pt x="8381940" y="342661"/>
                  </a:moveTo>
                  <a:cubicBezTo>
                    <a:pt x="8274144" y="342661"/>
                    <a:pt x="8208089" y="450432"/>
                    <a:pt x="8208089" y="547813"/>
                  </a:cubicBezTo>
                  <a:lnTo>
                    <a:pt x="8532661" y="547813"/>
                  </a:lnTo>
                  <a:cubicBezTo>
                    <a:pt x="8532661" y="444656"/>
                    <a:pt x="8490929" y="342661"/>
                    <a:pt x="8381956" y="342661"/>
                  </a:cubicBezTo>
                  <a:close/>
                  <a:moveTo>
                    <a:pt x="8208089" y="610407"/>
                  </a:moveTo>
                  <a:cubicBezTo>
                    <a:pt x="8208089" y="735596"/>
                    <a:pt x="8275306" y="836446"/>
                    <a:pt x="8402826" y="836446"/>
                  </a:cubicBezTo>
                  <a:cubicBezTo>
                    <a:pt x="8456143" y="836446"/>
                    <a:pt x="8533791" y="814414"/>
                    <a:pt x="8568569" y="792382"/>
                  </a:cubicBezTo>
                  <a:lnTo>
                    <a:pt x="8568569" y="866545"/>
                  </a:lnTo>
                  <a:cubicBezTo>
                    <a:pt x="8517591" y="887415"/>
                    <a:pt x="8451496" y="899032"/>
                    <a:pt x="8397025" y="899032"/>
                  </a:cubicBezTo>
                  <a:cubicBezTo>
                    <a:pt x="8201119" y="899032"/>
                    <a:pt x="8128125" y="766889"/>
                    <a:pt x="8128125" y="589529"/>
                  </a:cubicBezTo>
                  <a:cubicBezTo>
                    <a:pt x="8128125" y="408708"/>
                    <a:pt x="8227781" y="280050"/>
                    <a:pt x="8377333" y="280050"/>
                  </a:cubicBezTo>
                  <a:cubicBezTo>
                    <a:pt x="8544230" y="280050"/>
                    <a:pt x="8612624" y="414484"/>
                    <a:pt x="8612624" y="573274"/>
                  </a:cubicBezTo>
                  <a:lnTo>
                    <a:pt x="8612624" y="610383"/>
                  </a:lnTo>
                  <a:close/>
                  <a:moveTo>
                    <a:pt x="7921843" y="342661"/>
                  </a:moveTo>
                  <a:cubicBezTo>
                    <a:pt x="7779237" y="342661"/>
                    <a:pt x="7699274" y="445810"/>
                    <a:pt x="7699274" y="589545"/>
                  </a:cubicBezTo>
                  <a:cubicBezTo>
                    <a:pt x="7699274" y="724003"/>
                    <a:pt x="7780415" y="836446"/>
                    <a:pt x="7913720" y="836446"/>
                  </a:cubicBezTo>
                  <a:cubicBezTo>
                    <a:pt x="7960075" y="836446"/>
                    <a:pt x="8002960" y="826030"/>
                    <a:pt x="8047008" y="809767"/>
                  </a:cubicBezTo>
                  <a:lnTo>
                    <a:pt x="8053978" y="878178"/>
                  </a:lnTo>
                  <a:cubicBezTo>
                    <a:pt x="8004130" y="895547"/>
                    <a:pt x="7957775" y="899048"/>
                    <a:pt x="7902127" y="899048"/>
                  </a:cubicBezTo>
                  <a:cubicBezTo>
                    <a:pt x="7712045" y="899048"/>
                    <a:pt x="7619319" y="754119"/>
                    <a:pt x="7619319" y="589545"/>
                  </a:cubicBezTo>
                  <a:cubicBezTo>
                    <a:pt x="7619319" y="407554"/>
                    <a:pt x="7736392" y="280066"/>
                    <a:pt x="7911428" y="280066"/>
                  </a:cubicBezTo>
                  <a:cubicBezTo>
                    <a:pt x="7982122" y="280066"/>
                    <a:pt x="8033148" y="296282"/>
                    <a:pt x="8054034" y="303228"/>
                  </a:cubicBezTo>
                  <a:lnTo>
                    <a:pt x="8048242" y="372768"/>
                  </a:lnTo>
                  <a:cubicBezTo>
                    <a:pt x="8008809" y="355399"/>
                    <a:pt x="7961284" y="342661"/>
                    <a:pt x="7921899" y="342661"/>
                  </a:cubicBezTo>
                  <a:close/>
                  <a:moveTo>
                    <a:pt x="7413005" y="885124"/>
                  </a:moveTo>
                  <a:lnTo>
                    <a:pt x="7413005" y="525773"/>
                  </a:lnTo>
                  <a:cubicBezTo>
                    <a:pt x="7413005" y="414500"/>
                    <a:pt x="7373596" y="342661"/>
                    <a:pt x="7272746" y="342661"/>
                  </a:cubicBezTo>
                  <a:cubicBezTo>
                    <a:pt x="7139458" y="342661"/>
                    <a:pt x="7097726" y="459726"/>
                    <a:pt x="7097726" y="558252"/>
                  </a:cubicBezTo>
                  <a:lnTo>
                    <a:pt x="7097726" y="885124"/>
                  </a:lnTo>
                  <a:lnTo>
                    <a:pt x="7024708" y="885124"/>
                  </a:lnTo>
                  <a:lnTo>
                    <a:pt x="7024708" y="433063"/>
                  </a:lnTo>
                  <a:cubicBezTo>
                    <a:pt x="7024708" y="387862"/>
                    <a:pt x="7024708" y="341507"/>
                    <a:pt x="7020062" y="293982"/>
                  </a:cubicBezTo>
                  <a:lnTo>
                    <a:pt x="7090756" y="293982"/>
                  </a:lnTo>
                  <a:lnTo>
                    <a:pt x="7090756" y="399431"/>
                  </a:lnTo>
                  <a:lnTo>
                    <a:pt x="7093103" y="399431"/>
                  </a:lnTo>
                  <a:cubicBezTo>
                    <a:pt x="7117418" y="346130"/>
                    <a:pt x="7161474" y="280058"/>
                    <a:pt x="7284363" y="280058"/>
                  </a:cubicBezTo>
                  <a:cubicBezTo>
                    <a:pt x="7430422" y="280058"/>
                    <a:pt x="7486046" y="377431"/>
                    <a:pt x="7486046" y="507250"/>
                  </a:cubicBezTo>
                  <a:lnTo>
                    <a:pt x="7486046" y="885116"/>
                  </a:lnTo>
                  <a:close/>
                  <a:moveTo>
                    <a:pt x="6660783" y="342661"/>
                  </a:moveTo>
                  <a:cubicBezTo>
                    <a:pt x="6552979" y="342661"/>
                    <a:pt x="6486932" y="450432"/>
                    <a:pt x="6486932" y="547813"/>
                  </a:cubicBezTo>
                  <a:lnTo>
                    <a:pt x="6811464" y="547813"/>
                  </a:lnTo>
                  <a:cubicBezTo>
                    <a:pt x="6811464" y="444656"/>
                    <a:pt x="6769732" y="342661"/>
                    <a:pt x="6660807" y="342661"/>
                  </a:cubicBezTo>
                  <a:close/>
                  <a:moveTo>
                    <a:pt x="6486932" y="610407"/>
                  </a:moveTo>
                  <a:cubicBezTo>
                    <a:pt x="6486932" y="735596"/>
                    <a:pt x="6554157" y="836446"/>
                    <a:pt x="6681669" y="836446"/>
                  </a:cubicBezTo>
                  <a:cubicBezTo>
                    <a:pt x="6734970" y="836446"/>
                    <a:pt x="6812634" y="814414"/>
                    <a:pt x="6847412" y="792382"/>
                  </a:cubicBezTo>
                  <a:lnTo>
                    <a:pt x="6847412" y="866545"/>
                  </a:lnTo>
                  <a:cubicBezTo>
                    <a:pt x="6796419" y="887415"/>
                    <a:pt x="6730347" y="899032"/>
                    <a:pt x="6675869" y="899032"/>
                  </a:cubicBezTo>
                  <a:cubicBezTo>
                    <a:pt x="6479970" y="899032"/>
                    <a:pt x="6406969" y="766889"/>
                    <a:pt x="6406969" y="589529"/>
                  </a:cubicBezTo>
                  <a:cubicBezTo>
                    <a:pt x="6406969" y="408708"/>
                    <a:pt x="6506624" y="280050"/>
                    <a:pt x="6656128" y="280050"/>
                  </a:cubicBezTo>
                  <a:cubicBezTo>
                    <a:pt x="6823041" y="280050"/>
                    <a:pt x="6891436" y="414484"/>
                    <a:pt x="6891436" y="573274"/>
                  </a:cubicBezTo>
                  <a:lnTo>
                    <a:pt x="6891436" y="610383"/>
                  </a:lnTo>
                  <a:close/>
                  <a:moveTo>
                    <a:pt x="6199429" y="38950"/>
                  </a:moveTo>
                  <a:lnTo>
                    <a:pt x="6272494" y="38950"/>
                  </a:lnTo>
                  <a:lnTo>
                    <a:pt x="6272494" y="136339"/>
                  </a:lnTo>
                  <a:lnTo>
                    <a:pt x="6199429" y="136339"/>
                  </a:lnTo>
                  <a:lnTo>
                    <a:pt x="6199429" y="38950"/>
                  </a:lnTo>
                  <a:close/>
                  <a:moveTo>
                    <a:pt x="6199429" y="885124"/>
                  </a:moveTo>
                  <a:lnTo>
                    <a:pt x="6199429" y="293982"/>
                  </a:lnTo>
                  <a:lnTo>
                    <a:pt x="6272494" y="293982"/>
                  </a:lnTo>
                  <a:lnTo>
                    <a:pt x="6272494" y="885124"/>
                  </a:lnTo>
                  <a:close/>
                  <a:moveTo>
                    <a:pt x="5949116" y="342661"/>
                  </a:moveTo>
                  <a:cubicBezTo>
                    <a:pt x="5806510" y="342661"/>
                    <a:pt x="5726570" y="445810"/>
                    <a:pt x="5726570" y="589545"/>
                  </a:cubicBezTo>
                  <a:cubicBezTo>
                    <a:pt x="5726570" y="724003"/>
                    <a:pt x="5807687" y="836446"/>
                    <a:pt x="5940992" y="836446"/>
                  </a:cubicBezTo>
                  <a:cubicBezTo>
                    <a:pt x="5987347" y="836446"/>
                    <a:pt x="6030233" y="826030"/>
                    <a:pt x="6074280" y="809767"/>
                  </a:cubicBezTo>
                  <a:lnTo>
                    <a:pt x="6081250" y="878178"/>
                  </a:lnTo>
                  <a:cubicBezTo>
                    <a:pt x="6031402" y="895547"/>
                    <a:pt x="5985048" y="899040"/>
                    <a:pt x="5929399" y="899040"/>
                  </a:cubicBezTo>
                  <a:cubicBezTo>
                    <a:pt x="5739317" y="899040"/>
                    <a:pt x="5646591" y="754111"/>
                    <a:pt x="5646591" y="589537"/>
                  </a:cubicBezTo>
                  <a:cubicBezTo>
                    <a:pt x="5646591" y="407546"/>
                    <a:pt x="5763688" y="280058"/>
                    <a:pt x="5938701" y="280058"/>
                  </a:cubicBezTo>
                  <a:cubicBezTo>
                    <a:pt x="6009419" y="280058"/>
                    <a:pt x="6060420" y="296274"/>
                    <a:pt x="6081306" y="303220"/>
                  </a:cubicBezTo>
                  <a:lnTo>
                    <a:pt x="6075514" y="372760"/>
                  </a:lnTo>
                  <a:cubicBezTo>
                    <a:pt x="6036081" y="355391"/>
                    <a:pt x="5988581" y="342653"/>
                    <a:pt x="5949172" y="342653"/>
                  </a:cubicBezTo>
                  <a:close/>
                  <a:moveTo>
                    <a:pt x="5347551" y="131708"/>
                  </a:moveTo>
                  <a:cubicBezTo>
                    <a:pt x="5264087" y="131708"/>
                    <a:pt x="5172555" y="166470"/>
                    <a:pt x="5172555" y="270789"/>
                  </a:cubicBezTo>
                  <a:cubicBezTo>
                    <a:pt x="5172555" y="433063"/>
                    <a:pt x="5543434" y="434225"/>
                    <a:pt x="5543434" y="670678"/>
                  </a:cubicBezTo>
                  <a:cubicBezTo>
                    <a:pt x="5543442" y="834146"/>
                    <a:pt x="5403192" y="899040"/>
                    <a:pt x="5278003" y="899040"/>
                  </a:cubicBezTo>
                  <a:cubicBezTo>
                    <a:pt x="5199193" y="899040"/>
                    <a:pt x="5137800" y="882792"/>
                    <a:pt x="5094890" y="864254"/>
                  </a:cubicBezTo>
                  <a:lnTo>
                    <a:pt x="5103006" y="781943"/>
                  </a:lnTo>
                  <a:cubicBezTo>
                    <a:pt x="5150515" y="812082"/>
                    <a:pt x="5206163" y="829467"/>
                    <a:pt x="5281504" y="829467"/>
                  </a:cubicBezTo>
                  <a:cubicBezTo>
                    <a:pt x="5381176" y="829467"/>
                    <a:pt x="5463463" y="778474"/>
                    <a:pt x="5463463" y="663700"/>
                  </a:cubicBezTo>
                  <a:cubicBezTo>
                    <a:pt x="5463463" y="504927"/>
                    <a:pt x="5092567" y="485210"/>
                    <a:pt x="5092567" y="273104"/>
                  </a:cubicBezTo>
                  <a:cubicBezTo>
                    <a:pt x="5092567" y="143269"/>
                    <a:pt x="5206163" y="62136"/>
                    <a:pt x="5348721" y="62136"/>
                  </a:cubicBezTo>
                  <a:cubicBezTo>
                    <a:pt x="5388146" y="62136"/>
                    <a:pt x="5451870" y="67928"/>
                    <a:pt x="5507494" y="88798"/>
                  </a:cubicBezTo>
                  <a:lnTo>
                    <a:pt x="5494756" y="161831"/>
                  </a:lnTo>
                  <a:cubicBezTo>
                    <a:pt x="5458824" y="142099"/>
                    <a:pt x="5402046" y="131700"/>
                    <a:pt x="5347551" y="131700"/>
                  </a:cubicBezTo>
                  <a:close/>
                  <a:moveTo>
                    <a:pt x="4231388" y="482895"/>
                  </a:moveTo>
                  <a:cubicBezTo>
                    <a:pt x="4154901" y="513027"/>
                    <a:pt x="4079561" y="580252"/>
                    <a:pt x="4079561" y="669565"/>
                  </a:cubicBezTo>
                  <a:cubicBezTo>
                    <a:pt x="4079561" y="779684"/>
                    <a:pt x="4169963" y="836477"/>
                    <a:pt x="4267320" y="836477"/>
                  </a:cubicBezTo>
                  <a:cubicBezTo>
                    <a:pt x="4340337" y="836477"/>
                    <a:pt x="4420341" y="799376"/>
                    <a:pt x="4466680" y="742574"/>
                  </a:cubicBezTo>
                  <a:lnTo>
                    <a:pt x="4231388" y="482927"/>
                  </a:lnTo>
                  <a:close/>
                  <a:moveTo>
                    <a:pt x="4413379" y="241803"/>
                  </a:moveTo>
                  <a:cubicBezTo>
                    <a:pt x="4413379" y="165293"/>
                    <a:pt x="4367024" y="124738"/>
                    <a:pt x="4298605" y="124738"/>
                  </a:cubicBezTo>
                  <a:cubicBezTo>
                    <a:pt x="4230186" y="124738"/>
                    <a:pt x="4165316" y="164147"/>
                    <a:pt x="4165316" y="242981"/>
                  </a:cubicBezTo>
                  <a:cubicBezTo>
                    <a:pt x="4165316" y="306721"/>
                    <a:pt x="4212873" y="358876"/>
                    <a:pt x="4256881" y="407554"/>
                  </a:cubicBezTo>
                  <a:cubicBezTo>
                    <a:pt x="4327591" y="373906"/>
                    <a:pt x="4413379" y="336836"/>
                    <a:pt x="4413379" y="241803"/>
                  </a:cubicBezTo>
                  <a:close/>
                  <a:moveTo>
                    <a:pt x="4698518" y="882800"/>
                  </a:moveTo>
                  <a:lnTo>
                    <a:pt x="4596539" y="882800"/>
                  </a:lnTo>
                  <a:lnTo>
                    <a:pt x="4510751" y="792398"/>
                  </a:lnTo>
                  <a:cubicBezTo>
                    <a:pt x="4444664" y="866561"/>
                    <a:pt x="4360078" y="899048"/>
                    <a:pt x="4264996" y="899048"/>
                  </a:cubicBezTo>
                  <a:cubicBezTo>
                    <a:pt x="4128239" y="899048"/>
                    <a:pt x="3999573" y="829475"/>
                    <a:pt x="3999573" y="673002"/>
                  </a:cubicBezTo>
                  <a:cubicBezTo>
                    <a:pt x="3999573" y="548982"/>
                    <a:pt x="4083014" y="479418"/>
                    <a:pt x="4190833" y="437710"/>
                  </a:cubicBezTo>
                  <a:cubicBezTo>
                    <a:pt x="4140977" y="380892"/>
                    <a:pt x="4085353" y="319467"/>
                    <a:pt x="4085353" y="238334"/>
                  </a:cubicBezTo>
                  <a:cubicBezTo>
                    <a:pt x="4085353" y="122415"/>
                    <a:pt x="4196626" y="62144"/>
                    <a:pt x="4303268" y="62144"/>
                  </a:cubicBezTo>
                  <a:cubicBezTo>
                    <a:pt x="4399455" y="62144"/>
                    <a:pt x="4493334" y="115469"/>
                    <a:pt x="4493334" y="229065"/>
                  </a:cubicBezTo>
                  <a:cubicBezTo>
                    <a:pt x="4493334" y="355399"/>
                    <a:pt x="4395978" y="400608"/>
                    <a:pt x="4298597" y="449286"/>
                  </a:cubicBezTo>
                  <a:lnTo>
                    <a:pt x="4511897" y="686902"/>
                  </a:lnTo>
                  <a:cubicBezTo>
                    <a:pt x="4562874" y="613900"/>
                    <a:pt x="4581437" y="528120"/>
                    <a:pt x="4581437" y="441163"/>
                  </a:cubicBezTo>
                  <a:lnTo>
                    <a:pt x="4650986" y="441163"/>
                  </a:lnTo>
                  <a:cubicBezTo>
                    <a:pt x="4650986" y="545489"/>
                    <a:pt x="4620846" y="652139"/>
                    <a:pt x="4560575" y="733249"/>
                  </a:cubicBezTo>
                  <a:lnTo>
                    <a:pt x="4698510" y="882800"/>
                  </a:lnTo>
                  <a:close/>
                  <a:moveTo>
                    <a:pt x="3535960" y="836446"/>
                  </a:moveTo>
                  <a:cubicBezTo>
                    <a:pt x="3563776" y="836446"/>
                    <a:pt x="3582339" y="830653"/>
                    <a:pt x="3603201" y="822529"/>
                  </a:cubicBezTo>
                  <a:lnTo>
                    <a:pt x="3607824" y="882800"/>
                  </a:lnTo>
                  <a:cubicBezTo>
                    <a:pt x="3590455" y="889754"/>
                    <a:pt x="3554523" y="899048"/>
                    <a:pt x="3518591" y="899048"/>
                  </a:cubicBezTo>
                  <a:cubicBezTo>
                    <a:pt x="3388804" y="899048"/>
                    <a:pt x="3384109" y="809767"/>
                    <a:pt x="3384109" y="701963"/>
                  </a:cubicBezTo>
                  <a:lnTo>
                    <a:pt x="3384109" y="356577"/>
                  </a:lnTo>
                  <a:lnTo>
                    <a:pt x="3268213" y="356577"/>
                  </a:lnTo>
                  <a:lnTo>
                    <a:pt x="3268213" y="293982"/>
                  </a:lnTo>
                  <a:lnTo>
                    <a:pt x="3384109" y="293982"/>
                  </a:lnTo>
                  <a:lnTo>
                    <a:pt x="3384109" y="151376"/>
                  </a:lnTo>
                  <a:lnTo>
                    <a:pt x="3457150" y="125884"/>
                  </a:lnTo>
                  <a:lnTo>
                    <a:pt x="3457150" y="293958"/>
                  </a:lnTo>
                  <a:lnTo>
                    <a:pt x="3591584" y="293958"/>
                  </a:lnTo>
                  <a:lnTo>
                    <a:pt x="3591584" y="356553"/>
                  </a:lnTo>
                  <a:lnTo>
                    <a:pt x="3457150" y="356553"/>
                  </a:lnTo>
                  <a:lnTo>
                    <a:pt x="3457150" y="739049"/>
                  </a:lnTo>
                  <a:cubicBezTo>
                    <a:pt x="3457150" y="792374"/>
                    <a:pt x="3476859" y="836421"/>
                    <a:pt x="3535960" y="836421"/>
                  </a:cubicBezTo>
                  <a:close/>
                  <a:moveTo>
                    <a:pt x="3176673" y="356553"/>
                  </a:moveTo>
                  <a:cubicBezTo>
                    <a:pt x="3060778" y="356553"/>
                    <a:pt x="3029469" y="486340"/>
                    <a:pt x="3029469" y="593014"/>
                  </a:cubicBezTo>
                  <a:lnTo>
                    <a:pt x="3029469" y="885100"/>
                  </a:lnTo>
                  <a:lnTo>
                    <a:pt x="2956451" y="885100"/>
                  </a:lnTo>
                  <a:lnTo>
                    <a:pt x="2956451" y="426117"/>
                  </a:lnTo>
                  <a:cubicBezTo>
                    <a:pt x="2956451" y="361223"/>
                    <a:pt x="2956451" y="336836"/>
                    <a:pt x="2951789" y="293982"/>
                  </a:cubicBezTo>
                  <a:lnTo>
                    <a:pt x="3024822" y="293982"/>
                  </a:lnTo>
                  <a:lnTo>
                    <a:pt x="3024822" y="407554"/>
                  </a:lnTo>
                  <a:lnTo>
                    <a:pt x="3027169" y="407554"/>
                  </a:lnTo>
                  <a:cubicBezTo>
                    <a:pt x="3053808" y="341507"/>
                    <a:pt x="3103656" y="280066"/>
                    <a:pt x="3178997" y="280066"/>
                  </a:cubicBezTo>
                  <a:cubicBezTo>
                    <a:pt x="3196366" y="280066"/>
                    <a:pt x="3217236" y="283535"/>
                    <a:pt x="3229974" y="287036"/>
                  </a:cubicBezTo>
                  <a:lnTo>
                    <a:pt x="3229974" y="363523"/>
                  </a:lnTo>
                  <a:cubicBezTo>
                    <a:pt x="3214929" y="358876"/>
                    <a:pt x="3195220" y="356577"/>
                    <a:pt x="3176673" y="356577"/>
                  </a:cubicBezTo>
                  <a:close/>
                  <a:moveTo>
                    <a:pt x="2483569" y="152546"/>
                  </a:moveTo>
                  <a:lnTo>
                    <a:pt x="2307402" y="598790"/>
                  </a:lnTo>
                  <a:lnTo>
                    <a:pt x="2658589" y="598790"/>
                  </a:lnTo>
                  <a:lnTo>
                    <a:pt x="2483569" y="152546"/>
                  </a:lnTo>
                  <a:close/>
                  <a:moveTo>
                    <a:pt x="2772185" y="885100"/>
                  </a:moveTo>
                  <a:lnTo>
                    <a:pt x="2685252" y="668355"/>
                  </a:lnTo>
                  <a:lnTo>
                    <a:pt x="2277247" y="668355"/>
                  </a:lnTo>
                  <a:lnTo>
                    <a:pt x="2190297" y="885100"/>
                  </a:lnTo>
                  <a:lnTo>
                    <a:pt x="2112665" y="885100"/>
                  </a:lnTo>
                  <a:lnTo>
                    <a:pt x="2444168" y="76036"/>
                  </a:lnTo>
                  <a:lnTo>
                    <a:pt x="2534570" y="76036"/>
                  </a:lnTo>
                  <a:lnTo>
                    <a:pt x="2855650" y="885100"/>
                  </a:lnTo>
                  <a:close/>
                  <a:moveTo>
                    <a:pt x="1508762" y="342637"/>
                  </a:moveTo>
                  <a:cubicBezTo>
                    <a:pt x="1400950" y="342637"/>
                    <a:pt x="1334911" y="450408"/>
                    <a:pt x="1334911" y="547789"/>
                  </a:cubicBezTo>
                  <a:lnTo>
                    <a:pt x="1659451" y="547789"/>
                  </a:lnTo>
                  <a:cubicBezTo>
                    <a:pt x="1659451" y="444632"/>
                    <a:pt x="1617727" y="342637"/>
                    <a:pt x="1508778" y="342637"/>
                  </a:cubicBezTo>
                  <a:close/>
                  <a:moveTo>
                    <a:pt x="1334911" y="610383"/>
                  </a:moveTo>
                  <a:cubicBezTo>
                    <a:pt x="1334911" y="735572"/>
                    <a:pt x="1402128" y="836421"/>
                    <a:pt x="1529640" y="836421"/>
                  </a:cubicBezTo>
                  <a:cubicBezTo>
                    <a:pt x="1582948" y="836421"/>
                    <a:pt x="1660613" y="814390"/>
                    <a:pt x="1695391" y="792358"/>
                  </a:cubicBezTo>
                  <a:lnTo>
                    <a:pt x="1695391" y="866521"/>
                  </a:lnTo>
                  <a:cubicBezTo>
                    <a:pt x="1644381" y="887391"/>
                    <a:pt x="1578318" y="899008"/>
                    <a:pt x="1523847" y="899008"/>
                  </a:cubicBezTo>
                  <a:cubicBezTo>
                    <a:pt x="1327956" y="899008"/>
                    <a:pt x="1254915" y="766865"/>
                    <a:pt x="1254915" y="589505"/>
                  </a:cubicBezTo>
                  <a:cubicBezTo>
                    <a:pt x="1254915" y="408684"/>
                    <a:pt x="1354611" y="280026"/>
                    <a:pt x="1504147" y="280026"/>
                  </a:cubicBezTo>
                  <a:cubicBezTo>
                    <a:pt x="1671060" y="280026"/>
                    <a:pt x="1739447" y="414460"/>
                    <a:pt x="1739447" y="573249"/>
                  </a:cubicBezTo>
                  <a:lnTo>
                    <a:pt x="1739447" y="610359"/>
                  </a:lnTo>
                  <a:close/>
                  <a:moveTo>
                    <a:pt x="1048633" y="885100"/>
                  </a:moveTo>
                  <a:lnTo>
                    <a:pt x="1048633" y="532743"/>
                  </a:lnTo>
                  <a:cubicBezTo>
                    <a:pt x="1048633" y="430740"/>
                    <a:pt x="1028933" y="342661"/>
                    <a:pt x="908375" y="342661"/>
                  </a:cubicBezTo>
                  <a:cubicBezTo>
                    <a:pt x="778587" y="342661"/>
                    <a:pt x="733346" y="465526"/>
                    <a:pt x="733346" y="568675"/>
                  </a:cubicBezTo>
                  <a:lnTo>
                    <a:pt x="733346" y="885132"/>
                  </a:lnTo>
                  <a:lnTo>
                    <a:pt x="660393" y="885132"/>
                  </a:lnTo>
                  <a:lnTo>
                    <a:pt x="660393" y="15789"/>
                  </a:lnTo>
                  <a:lnTo>
                    <a:pt x="733402" y="15789"/>
                  </a:lnTo>
                  <a:lnTo>
                    <a:pt x="733402" y="393638"/>
                  </a:lnTo>
                  <a:lnTo>
                    <a:pt x="735734" y="393638"/>
                  </a:lnTo>
                  <a:cubicBezTo>
                    <a:pt x="767043" y="328745"/>
                    <a:pt x="833098" y="280066"/>
                    <a:pt x="920039" y="280066"/>
                  </a:cubicBezTo>
                  <a:cubicBezTo>
                    <a:pt x="1078837" y="280066"/>
                    <a:pt x="1121731" y="385539"/>
                    <a:pt x="1121731" y="531573"/>
                  </a:cubicBezTo>
                  <a:lnTo>
                    <a:pt x="1121731" y="885124"/>
                  </a:lnTo>
                  <a:close/>
                  <a:moveTo>
                    <a:pt x="325373" y="145576"/>
                  </a:moveTo>
                  <a:lnTo>
                    <a:pt x="325373" y="885100"/>
                  </a:lnTo>
                  <a:lnTo>
                    <a:pt x="245410" y="885100"/>
                  </a:lnTo>
                  <a:lnTo>
                    <a:pt x="245410" y="145600"/>
                  </a:lnTo>
                  <a:lnTo>
                    <a:pt x="6649" y="145600"/>
                  </a:lnTo>
                  <a:lnTo>
                    <a:pt x="6649" y="76060"/>
                  </a:lnTo>
                  <a:lnTo>
                    <a:pt x="564190" y="76060"/>
                  </a:lnTo>
                  <a:lnTo>
                    <a:pt x="564190" y="145600"/>
                  </a:lnTo>
                  <a:close/>
                </a:path>
              </a:pathLst>
            </a:custGeom>
            <a:grpFill/>
            <a:ln w="801" cap="flat">
              <a:noFill/>
              <a:prstDash val="solid"/>
              <a:miter/>
            </a:ln>
          </p:spPr>
          <p:txBody>
            <a:bodyPr rtlCol="0" anchor="ctr"/>
            <a:lstStyle/>
            <a:p>
              <a:endParaRPr lang="fr-BE"/>
            </a:p>
          </p:txBody>
        </p:sp>
        <p:sp>
          <p:nvSpPr>
            <p:cNvPr id="15" name="Forme libre : forme 24">
              <a:extLst>
                <a:ext uri="{FF2B5EF4-FFF2-40B4-BE49-F238E27FC236}">
                  <a16:creationId xmlns:a16="http://schemas.microsoft.com/office/drawing/2014/main" id="{622674A7-AD92-41EF-BD54-F2CFF3D8658A}"/>
                </a:ext>
              </a:extLst>
            </p:cNvPr>
            <p:cNvSpPr/>
            <p:nvPr/>
          </p:nvSpPr>
          <p:spPr>
            <a:xfrm>
              <a:off x="-786557" y="8253511"/>
              <a:ext cx="12106540" cy="2183968"/>
            </a:xfrm>
            <a:custGeom>
              <a:avLst/>
              <a:gdLst>
                <a:gd name="connsiteX0" fmla="*/ 1817527 w 12106540"/>
                <a:gd name="connsiteY0" fmla="*/ 17639 h 2183968"/>
                <a:gd name="connsiteX1" fmla="*/ 2709919 w 12106540"/>
                <a:gd name="connsiteY1" fmla="*/ 219996 h 2183968"/>
                <a:gd name="connsiteX2" fmla="*/ 2399495 w 12106540"/>
                <a:gd name="connsiteY2" fmla="*/ 553709 h 2183968"/>
                <a:gd name="connsiteX3" fmla="*/ 1554275 w 12106540"/>
                <a:gd name="connsiteY3" fmla="*/ 421102 h 2183968"/>
                <a:gd name="connsiteX4" fmla="*/ 1093835 w 12106540"/>
                <a:gd name="connsiteY4" fmla="*/ 615663 h 2183968"/>
                <a:gd name="connsiteX5" fmla="*/ 2590034 w 12106540"/>
                <a:gd name="connsiteY5" fmla="*/ 1477163 h 2183968"/>
                <a:gd name="connsiteX6" fmla="*/ 1357920 w 12106540"/>
                <a:gd name="connsiteY6" fmla="*/ 2178888 h 2183968"/>
                <a:gd name="connsiteX7" fmla="*/ 6649 w 12106540"/>
                <a:gd name="connsiteY7" fmla="*/ 1870266 h 2183968"/>
                <a:gd name="connsiteX8" fmla="*/ 177127 w 12106540"/>
                <a:gd name="connsiteY8" fmla="*/ 1601366 h 2183968"/>
                <a:gd name="connsiteX9" fmla="*/ 315383 w 12106540"/>
                <a:gd name="connsiteY9" fmla="*/ 1540622 h 2183968"/>
                <a:gd name="connsiteX10" fmla="*/ 1266003 w 12106540"/>
                <a:gd name="connsiteY10" fmla="*/ 1757896 h 2183968"/>
                <a:gd name="connsiteX11" fmla="*/ 1878047 w 12106540"/>
                <a:gd name="connsiteY11" fmla="*/ 1547704 h 2183968"/>
                <a:gd name="connsiteX12" fmla="*/ 435781 w 12106540"/>
                <a:gd name="connsiteY12" fmla="*/ 659750 h 2183968"/>
                <a:gd name="connsiteX13" fmla="*/ 1817559 w 12106540"/>
                <a:gd name="connsiteY13" fmla="*/ 17639 h 2183968"/>
                <a:gd name="connsiteX14" fmla="*/ 5541880 w 12106540"/>
                <a:gd name="connsiteY14" fmla="*/ 339584 h 2183968"/>
                <a:gd name="connsiteX15" fmla="*/ 5124069 w 12106540"/>
                <a:gd name="connsiteY15" fmla="*/ 641084 h 2183968"/>
                <a:gd name="connsiteX16" fmla="*/ 4293630 w 12106540"/>
                <a:gd name="connsiteY16" fmla="*/ 471959 h 2183968"/>
                <a:gd name="connsiteX17" fmla="*/ 3500028 w 12106540"/>
                <a:gd name="connsiteY17" fmla="*/ 1112949 h 2183968"/>
                <a:gd name="connsiteX18" fmla="*/ 4294295 w 12106540"/>
                <a:gd name="connsiteY18" fmla="*/ 1709266 h 2183968"/>
                <a:gd name="connsiteX19" fmla="*/ 6285970 w 12106540"/>
                <a:gd name="connsiteY19" fmla="*/ 463467 h 2183968"/>
                <a:gd name="connsiteX20" fmla="*/ 7656116 w 12106540"/>
                <a:gd name="connsiteY20" fmla="*/ 1889 h 2183968"/>
                <a:gd name="connsiteX21" fmla="*/ 9088663 w 12106540"/>
                <a:gd name="connsiteY21" fmla="*/ 1112925 h 2183968"/>
                <a:gd name="connsiteX22" fmla="*/ 7660522 w 12106540"/>
                <a:gd name="connsiteY22" fmla="*/ 2185858 h 2183968"/>
                <a:gd name="connsiteX23" fmla="*/ 6096064 w 12106540"/>
                <a:gd name="connsiteY23" fmla="*/ 1561236 h 2183968"/>
                <a:gd name="connsiteX24" fmla="*/ 6461199 w 12106540"/>
                <a:gd name="connsiteY24" fmla="*/ 1232329 h 2183968"/>
                <a:gd name="connsiteX25" fmla="*/ 7621963 w 12106540"/>
                <a:gd name="connsiteY25" fmla="*/ 1709266 h 2183968"/>
                <a:gd name="connsiteX26" fmla="*/ 8449349 w 12106540"/>
                <a:gd name="connsiteY26" fmla="*/ 1112949 h 2183968"/>
                <a:gd name="connsiteX27" fmla="*/ 7656436 w 12106540"/>
                <a:gd name="connsiteY27" fmla="*/ 471959 h 2183968"/>
                <a:gd name="connsiteX28" fmla="*/ 4297451 w 12106540"/>
                <a:gd name="connsiteY28" fmla="*/ 2178872 h 2183968"/>
                <a:gd name="connsiteX29" fmla="*/ 2858141 w 12106540"/>
                <a:gd name="connsiteY29" fmla="*/ 1209152 h 2183968"/>
                <a:gd name="connsiteX30" fmla="*/ 2858141 w 12106540"/>
                <a:gd name="connsiteY30" fmla="*/ 1027145 h 2183968"/>
                <a:gd name="connsiteX31" fmla="*/ 4317048 w 12106540"/>
                <a:gd name="connsiteY31" fmla="*/ 1913 h 2183968"/>
                <a:gd name="connsiteX32" fmla="*/ 5541912 w 12106540"/>
                <a:gd name="connsiteY32" fmla="*/ 339584 h 2183968"/>
                <a:gd name="connsiteX33" fmla="*/ 11334842 w 12106540"/>
                <a:gd name="connsiteY33" fmla="*/ 2127766 h 2183968"/>
                <a:gd name="connsiteX34" fmla="*/ 11045520 w 12106540"/>
                <a:gd name="connsiteY34" fmla="*/ 1920675 h 2183968"/>
                <a:gd name="connsiteX35" fmla="*/ 10375930 w 12106540"/>
                <a:gd name="connsiteY35" fmla="*/ 1108086 h 2183968"/>
                <a:gd name="connsiteX36" fmla="*/ 11480516 w 12106540"/>
                <a:gd name="connsiteY36" fmla="*/ 670702 h 2183968"/>
                <a:gd name="connsiteX37" fmla="*/ 10929641 w 12106540"/>
                <a:gd name="connsiteY37" fmla="*/ 419059 h 2183968"/>
                <a:gd name="connsiteX38" fmla="*/ 10098626 w 12106540"/>
                <a:gd name="connsiteY38" fmla="*/ 1123011 h 2183968"/>
                <a:gd name="connsiteX39" fmla="*/ 9779148 w 12106540"/>
                <a:gd name="connsiteY39" fmla="*/ 2142018 h 2183968"/>
                <a:gd name="connsiteX40" fmla="*/ 9150385 w 12106540"/>
                <a:gd name="connsiteY40" fmla="*/ 2142018 h 2183968"/>
                <a:gd name="connsiteX41" fmla="*/ 9474348 w 12106540"/>
                <a:gd name="connsiteY41" fmla="*/ 1112380 h 2183968"/>
                <a:gd name="connsiteX42" fmla="*/ 10977422 w 12106540"/>
                <a:gd name="connsiteY42" fmla="*/ 1913 h 2183968"/>
                <a:gd name="connsiteX43" fmla="*/ 12113190 w 12106540"/>
                <a:gd name="connsiteY43" fmla="*/ 602988 h 2183968"/>
                <a:gd name="connsiteX44" fmla="*/ 11137950 w 12106540"/>
                <a:gd name="connsiteY44" fmla="*/ 1304105 h 2183968"/>
                <a:gd name="connsiteX45" fmla="*/ 11974357 w 12106540"/>
                <a:gd name="connsiteY45" fmla="*/ 2142018 h 2183968"/>
                <a:gd name="connsiteX46" fmla="*/ 11447725 w 12106540"/>
                <a:gd name="connsiteY46" fmla="*/ 2142018 h 2183968"/>
                <a:gd name="connsiteX47" fmla="*/ 11334842 w 12106540"/>
                <a:gd name="connsiteY47" fmla="*/ 2127774 h 218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106540" h="2183968">
                  <a:moveTo>
                    <a:pt x="1817527" y="17639"/>
                  </a:moveTo>
                  <a:cubicBezTo>
                    <a:pt x="2181084" y="56095"/>
                    <a:pt x="2662459" y="205110"/>
                    <a:pt x="2709919" y="219996"/>
                  </a:cubicBezTo>
                  <a:cubicBezTo>
                    <a:pt x="2630797" y="359493"/>
                    <a:pt x="2565463" y="553709"/>
                    <a:pt x="2399495" y="553709"/>
                  </a:cubicBezTo>
                  <a:cubicBezTo>
                    <a:pt x="2276846" y="553709"/>
                    <a:pt x="1935209" y="421102"/>
                    <a:pt x="1554275" y="421102"/>
                  </a:cubicBezTo>
                  <a:cubicBezTo>
                    <a:pt x="1397593" y="421102"/>
                    <a:pt x="1093835" y="445185"/>
                    <a:pt x="1093835" y="615663"/>
                  </a:cubicBezTo>
                  <a:cubicBezTo>
                    <a:pt x="1093153" y="909687"/>
                    <a:pt x="2652981" y="818476"/>
                    <a:pt x="2590034" y="1477163"/>
                  </a:cubicBezTo>
                  <a:cubicBezTo>
                    <a:pt x="2552701" y="1872982"/>
                    <a:pt x="2043541" y="2178888"/>
                    <a:pt x="1357920" y="2178888"/>
                  </a:cubicBezTo>
                  <a:cubicBezTo>
                    <a:pt x="782273" y="2178888"/>
                    <a:pt x="216808" y="1980601"/>
                    <a:pt x="6649" y="1870266"/>
                  </a:cubicBezTo>
                  <a:cubicBezTo>
                    <a:pt x="66680" y="1775153"/>
                    <a:pt x="88832" y="1742081"/>
                    <a:pt x="177127" y="1601366"/>
                  </a:cubicBezTo>
                  <a:cubicBezTo>
                    <a:pt x="203237" y="1558905"/>
                    <a:pt x="252748" y="1534069"/>
                    <a:pt x="315383" y="1540622"/>
                  </a:cubicBezTo>
                  <a:cubicBezTo>
                    <a:pt x="402549" y="1549435"/>
                    <a:pt x="885373" y="1747497"/>
                    <a:pt x="1266003" y="1757896"/>
                  </a:cubicBezTo>
                  <a:cubicBezTo>
                    <a:pt x="1501703" y="1764601"/>
                    <a:pt x="1853403" y="1759178"/>
                    <a:pt x="1878047" y="1547704"/>
                  </a:cubicBezTo>
                  <a:cubicBezTo>
                    <a:pt x="1915805" y="1221377"/>
                    <a:pt x="435781" y="1302430"/>
                    <a:pt x="435781" y="659750"/>
                  </a:cubicBezTo>
                  <a:cubicBezTo>
                    <a:pt x="435781" y="328296"/>
                    <a:pt x="862533" y="-83651"/>
                    <a:pt x="1817559" y="17639"/>
                  </a:cubicBezTo>
                  <a:close/>
                  <a:moveTo>
                    <a:pt x="5541880" y="339584"/>
                  </a:moveTo>
                  <a:cubicBezTo>
                    <a:pt x="5376842" y="528144"/>
                    <a:pt x="5312413" y="641084"/>
                    <a:pt x="5124069" y="641084"/>
                  </a:cubicBezTo>
                  <a:cubicBezTo>
                    <a:pt x="4930870" y="641084"/>
                    <a:pt x="4776775" y="471959"/>
                    <a:pt x="4293630" y="471959"/>
                  </a:cubicBezTo>
                  <a:cubicBezTo>
                    <a:pt x="3804003" y="471959"/>
                    <a:pt x="3500028" y="757972"/>
                    <a:pt x="3500028" y="1112949"/>
                  </a:cubicBezTo>
                  <a:cubicBezTo>
                    <a:pt x="3500028" y="1600525"/>
                    <a:pt x="4056904" y="1709266"/>
                    <a:pt x="4294295" y="1709266"/>
                  </a:cubicBezTo>
                  <a:cubicBezTo>
                    <a:pt x="5033762" y="1709266"/>
                    <a:pt x="5737923" y="837335"/>
                    <a:pt x="6285970" y="463467"/>
                  </a:cubicBezTo>
                  <a:cubicBezTo>
                    <a:pt x="6654975" y="201753"/>
                    <a:pt x="7039105" y="1889"/>
                    <a:pt x="7656116" y="1889"/>
                  </a:cubicBezTo>
                  <a:cubicBezTo>
                    <a:pt x="8550110" y="1889"/>
                    <a:pt x="9088663" y="511841"/>
                    <a:pt x="9088663" y="1112925"/>
                  </a:cubicBezTo>
                  <a:cubicBezTo>
                    <a:pt x="9088663" y="1697336"/>
                    <a:pt x="8519922" y="2185858"/>
                    <a:pt x="7660522" y="2185858"/>
                  </a:cubicBezTo>
                  <a:cubicBezTo>
                    <a:pt x="6960760" y="2185858"/>
                    <a:pt x="6536043" y="1989158"/>
                    <a:pt x="6096064" y="1561236"/>
                  </a:cubicBezTo>
                  <a:lnTo>
                    <a:pt x="6461199" y="1232329"/>
                  </a:lnTo>
                  <a:cubicBezTo>
                    <a:pt x="6648669" y="1436151"/>
                    <a:pt x="7079091" y="1709266"/>
                    <a:pt x="7621963" y="1709266"/>
                  </a:cubicBezTo>
                  <a:cubicBezTo>
                    <a:pt x="8032667" y="1709266"/>
                    <a:pt x="8449349" y="1472997"/>
                    <a:pt x="8449349" y="1112949"/>
                  </a:cubicBezTo>
                  <a:cubicBezTo>
                    <a:pt x="8449349" y="746019"/>
                    <a:pt x="8141865" y="471959"/>
                    <a:pt x="7656436" y="471959"/>
                  </a:cubicBezTo>
                  <a:cubicBezTo>
                    <a:pt x="6427054" y="471959"/>
                    <a:pt x="5839413" y="2178872"/>
                    <a:pt x="4297451" y="2178872"/>
                  </a:cubicBezTo>
                  <a:cubicBezTo>
                    <a:pt x="3724865" y="2178872"/>
                    <a:pt x="2942239" y="1957520"/>
                    <a:pt x="2858141" y="1209152"/>
                  </a:cubicBezTo>
                  <a:cubicBezTo>
                    <a:pt x="2858141" y="1200443"/>
                    <a:pt x="2857228" y="1046132"/>
                    <a:pt x="2858141" y="1027145"/>
                  </a:cubicBezTo>
                  <a:cubicBezTo>
                    <a:pt x="2903231" y="432174"/>
                    <a:pt x="3572148" y="1913"/>
                    <a:pt x="4317048" y="1913"/>
                  </a:cubicBezTo>
                  <a:cubicBezTo>
                    <a:pt x="4766985" y="1913"/>
                    <a:pt x="5233987" y="181772"/>
                    <a:pt x="5541912" y="339584"/>
                  </a:cubicBezTo>
                  <a:close/>
                  <a:moveTo>
                    <a:pt x="11334842" y="2127766"/>
                  </a:moveTo>
                  <a:cubicBezTo>
                    <a:pt x="11226157" y="2098836"/>
                    <a:pt x="11134137" y="2026940"/>
                    <a:pt x="11045520" y="1920675"/>
                  </a:cubicBezTo>
                  <a:cubicBezTo>
                    <a:pt x="10795912" y="1620185"/>
                    <a:pt x="10464217" y="1219102"/>
                    <a:pt x="10375930" y="1108086"/>
                  </a:cubicBezTo>
                  <a:cubicBezTo>
                    <a:pt x="10657937" y="1064335"/>
                    <a:pt x="11480516" y="1037880"/>
                    <a:pt x="11480516" y="670702"/>
                  </a:cubicBezTo>
                  <a:cubicBezTo>
                    <a:pt x="11480516" y="462017"/>
                    <a:pt x="11163915" y="419059"/>
                    <a:pt x="10929641" y="419059"/>
                  </a:cubicBezTo>
                  <a:cubicBezTo>
                    <a:pt x="10276450" y="419059"/>
                    <a:pt x="10188259" y="864238"/>
                    <a:pt x="10098626" y="1123011"/>
                  </a:cubicBezTo>
                  <a:cubicBezTo>
                    <a:pt x="10098626" y="1123011"/>
                    <a:pt x="9826408" y="1990760"/>
                    <a:pt x="9779148" y="2142018"/>
                  </a:cubicBezTo>
                  <a:lnTo>
                    <a:pt x="9150385" y="2142018"/>
                  </a:lnTo>
                  <a:lnTo>
                    <a:pt x="9474348" y="1112380"/>
                  </a:lnTo>
                  <a:cubicBezTo>
                    <a:pt x="9670143" y="436132"/>
                    <a:pt x="10036087" y="1913"/>
                    <a:pt x="10977422" y="1913"/>
                  </a:cubicBezTo>
                  <a:cubicBezTo>
                    <a:pt x="11551114" y="1913"/>
                    <a:pt x="12113190" y="181772"/>
                    <a:pt x="12113190" y="602988"/>
                  </a:cubicBezTo>
                  <a:cubicBezTo>
                    <a:pt x="12113190" y="1094514"/>
                    <a:pt x="11492462" y="1260017"/>
                    <a:pt x="11137950" y="1304105"/>
                  </a:cubicBezTo>
                  <a:lnTo>
                    <a:pt x="11974357" y="2142018"/>
                  </a:lnTo>
                  <a:lnTo>
                    <a:pt x="11447725" y="2142018"/>
                  </a:lnTo>
                  <a:cubicBezTo>
                    <a:pt x="11407947" y="2142018"/>
                    <a:pt x="11370421" y="2137268"/>
                    <a:pt x="11334842" y="2127774"/>
                  </a:cubicBezTo>
                </a:path>
              </a:pathLst>
            </a:custGeom>
            <a:grpFill/>
            <a:ln w="801" cap="flat">
              <a:noFill/>
              <a:prstDash val="solid"/>
              <a:miter/>
            </a:ln>
          </p:spPr>
          <p:txBody>
            <a:bodyPr rtlCol="0" anchor="ctr"/>
            <a:lstStyle/>
            <a:p>
              <a:endParaRPr lang="fr-BE"/>
            </a:p>
          </p:txBody>
        </p:sp>
      </p:grpSp>
      <p:grpSp>
        <p:nvGrpSpPr>
          <p:cNvPr id="12" name="Groupe 11">
            <a:extLst>
              <a:ext uri="{FF2B5EF4-FFF2-40B4-BE49-F238E27FC236}">
                <a16:creationId xmlns:a16="http://schemas.microsoft.com/office/drawing/2014/main" id="{54637B84-8CCD-4EE7-ADD3-4E416BE86B53}"/>
              </a:ext>
            </a:extLst>
          </p:cNvPr>
          <p:cNvGrpSpPr/>
          <p:nvPr userDrawn="1"/>
        </p:nvGrpSpPr>
        <p:grpSpPr>
          <a:xfrm>
            <a:off x="12360696" y="-13072"/>
            <a:ext cx="1885826" cy="1528108"/>
            <a:chOff x="511520" y="2588002"/>
            <a:chExt cx="1885826" cy="1528108"/>
          </a:xfrm>
        </p:grpSpPr>
        <p:sp>
          <p:nvSpPr>
            <p:cNvPr id="16" name="Freeform 5">
              <a:extLst>
                <a:ext uri="{FF2B5EF4-FFF2-40B4-BE49-F238E27FC236}">
                  <a16:creationId xmlns:a16="http://schemas.microsoft.com/office/drawing/2014/main" id="{2B64528F-07CC-40E3-BB23-7D04D3FF0F8A}"/>
                </a:ext>
              </a:extLst>
            </p:cNvPr>
            <p:cNvSpPr>
              <a:spLocks noEditPoints="1"/>
            </p:cNvSpPr>
            <p:nvPr/>
          </p:nvSpPr>
          <p:spPr bwMode="auto">
            <a:xfrm>
              <a:off x="1241708" y="2588002"/>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7" name="Rectangle 16">
              <a:extLst>
                <a:ext uri="{FF2B5EF4-FFF2-40B4-BE49-F238E27FC236}">
                  <a16:creationId xmlns:a16="http://schemas.microsoft.com/office/drawing/2014/main" id="{DBD3DA9E-5D58-4A6E-BDCD-D68C9CBB0F06}"/>
                </a:ext>
              </a:extLst>
            </p:cNvPr>
            <p:cNvSpPr/>
            <p:nvPr/>
          </p:nvSpPr>
          <p:spPr>
            <a:xfrm>
              <a:off x="511520" y="2946559"/>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chemeClr val="accent1"/>
                  </a:solidFill>
                  <a:effectLst/>
                  <a:uLnTx/>
                  <a:uFillTx/>
                  <a:latin typeface="+mj-lt"/>
                  <a:ea typeface="+mn-ea"/>
                  <a:cs typeface="+mn-cs"/>
                </a:rPr>
                <a:t>To change the </a:t>
              </a:r>
              <a:r>
                <a:rPr kumimoji="0" lang="fr-FR" sz="1000" b="1" i="0" u="none" strike="noStrike" kern="1200" cap="none" spc="0" normalizeH="0" baseline="0" noProof="0" err="1">
                  <a:ln>
                    <a:noFill/>
                  </a:ln>
                  <a:solidFill>
                    <a:schemeClr val="accent1"/>
                  </a:solidFill>
                  <a:effectLst/>
                  <a:uLnTx/>
                  <a:uFillTx/>
                  <a:latin typeface="+mj-lt"/>
                  <a:ea typeface="+mn-ea"/>
                  <a:cs typeface="+mn-cs"/>
                </a:rPr>
                <a:t>visual</a:t>
              </a:r>
              <a:r>
                <a:rPr kumimoji="0" lang="fr-FR" sz="1000" b="1" i="0" u="none" strike="noStrike" kern="1200" cap="none" spc="0" normalizeH="0" baseline="0" noProof="0">
                  <a:ln>
                    <a:noFill/>
                  </a:ln>
                  <a:solidFill>
                    <a:schemeClr val="accent1"/>
                  </a:solidFill>
                  <a:effectLst/>
                  <a:uLnTx/>
                  <a:uFillTx/>
                  <a:latin typeface="+mj-lt"/>
                  <a:ea typeface="+mn-ea"/>
                  <a:cs typeface="+mn-cs"/>
                </a:rPr>
                <a:t>:</a:t>
              </a:r>
            </a:p>
            <a:p>
              <a:pPr marL="171450" lvl="0" indent="-171450">
                <a:buFont typeface="Arial" panose="020B0604020202020204" pitchFamily="34" charset="0"/>
                <a:buChar char="•"/>
              </a:pPr>
              <a:r>
                <a:rPr lang="en-US" sz="1000">
                  <a:solidFill>
                    <a:schemeClr val="tx1"/>
                  </a:solidFill>
                </a:rPr>
                <a:t>Remove the visual</a:t>
              </a:r>
            </a:p>
            <a:p>
              <a:pPr marL="171450" lvl="0" indent="-171450">
                <a:buFont typeface="Arial" panose="020B0604020202020204" pitchFamily="34" charset="0"/>
                <a:buChar char="•"/>
              </a:pPr>
              <a:r>
                <a:rPr lang="en-US" sz="1000">
                  <a:solidFill>
                    <a:schemeClr val="tx1"/>
                  </a:solidFill>
                </a:rPr>
                <a:t>Click on the icon </a:t>
              </a:r>
              <a:br>
                <a:rPr lang="en-US" sz="1000">
                  <a:solidFill>
                    <a:schemeClr val="tx1"/>
                  </a:solidFill>
                </a:rPr>
              </a:br>
              <a:r>
                <a:rPr lang="en-US" sz="1000">
                  <a:solidFill>
                    <a:schemeClr val="tx1"/>
                  </a:solidFill>
                </a:rPr>
                <a:t>in the center of the gray block</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a:t>
              </a:r>
            </a:p>
          </p:txBody>
        </p:sp>
      </p:grpSp>
    </p:spTree>
    <p:extLst>
      <p:ext uri="{BB962C8B-B14F-4D97-AF65-F5344CB8AC3E}">
        <p14:creationId xmlns:p14="http://schemas.microsoft.com/office/powerpoint/2010/main" val="32301482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6" name="Picture Placeholder 10">
            <a:extLst>
              <a:ext uri="{FF2B5EF4-FFF2-40B4-BE49-F238E27FC236}">
                <a16:creationId xmlns:a16="http://schemas.microsoft.com/office/drawing/2014/main" id="{0D4B4745-8A24-4A64-BC03-4A193413DBDD}"/>
              </a:ext>
            </a:extLst>
          </p:cNvPr>
          <p:cNvSpPr>
            <a:spLocks noGrp="1"/>
          </p:cNvSpPr>
          <p:nvPr>
            <p:ph type="pic" sz="quarter" idx="13"/>
          </p:nvPr>
        </p:nvSpPr>
        <p:spPr>
          <a:xfrm>
            <a:off x="4190478" y="1"/>
            <a:ext cx="8001521"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1025" y="381000"/>
            <a:ext cx="949899" cy="359398"/>
          </a:xfrm>
          <a:prstGeom prst="rect">
            <a:avLst/>
          </a:prstGeom>
        </p:spPr>
      </p:pic>
      <p:sp>
        <p:nvSpPr>
          <p:cNvPr id="17" name="Text Placeholder 4">
            <a:extLst>
              <a:ext uri="{FF2B5EF4-FFF2-40B4-BE49-F238E27FC236}">
                <a16:creationId xmlns:a16="http://schemas.microsoft.com/office/drawing/2014/main" id="{DF511AC0-4696-F14A-A241-063B95D00CE3}"/>
              </a:ext>
            </a:extLst>
          </p:cNvPr>
          <p:cNvSpPr>
            <a:spLocks noGrp="1"/>
          </p:cNvSpPr>
          <p:nvPr>
            <p:ph type="body" sz="quarter" idx="16" hasCustomPrompt="1"/>
          </p:nvPr>
        </p:nvSpPr>
        <p:spPr>
          <a:xfrm>
            <a:off x="366483" y="1562101"/>
            <a:ext cx="3442179" cy="4554708"/>
          </a:xfrm>
        </p:spPr>
        <p:txBody>
          <a:bodyPr/>
          <a:lstStyle>
            <a:lvl1pPr marL="0" marR="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bg1"/>
                </a:solidFill>
              </a:defRPr>
            </a:lvl1pPr>
            <a:lvl2pPr>
              <a:lnSpc>
                <a:spcPct val="100000"/>
              </a:lnSpc>
              <a:spcBef>
                <a:spcPts val="500"/>
              </a:spcBef>
              <a:defRPr sz="1999">
                <a:solidFill>
                  <a:schemeClr val="bg1"/>
                </a:solidFill>
              </a:defRPr>
            </a:lvl2pPr>
            <a:lvl3pPr marL="0" indent="0">
              <a:lnSpc>
                <a:spcPct val="100000"/>
              </a:lnSpc>
              <a:spcBef>
                <a:spcPts val="1999"/>
              </a:spcBef>
              <a:spcAft>
                <a:spcPts val="500"/>
              </a:spcAft>
              <a:buNone/>
              <a:defRPr sz="1200">
                <a:solidFill>
                  <a:schemeClr val="bg1"/>
                </a:solidFill>
              </a:defRPr>
            </a:lvl3pPr>
            <a:lvl4pPr marL="0" indent="0">
              <a:lnSpc>
                <a:spcPct val="100000"/>
              </a:lnSpc>
              <a:spcBef>
                <a:spcPts val="500"/>
              </a:spcBef>
              <a:spcAft>
                <a:spcPts val="500"/>
              </a:spcAft>
              <a:buNone/>
              <a:tabLst/>
              <a:defRPr>
                <a:solidFill>
                  <a:schemeClr val="bg1"/>
                </a:solidFill>
              </a:defRPr>
            </a:lvl4pPr>
            <a:lvl5pPr marL="0" indent="0">
              <a:lnSpc>
                <a:spcPct val="100000"/>
              </a:lnSpc>
              <a:spcBef>
                <a:spcPts val="500"/>
              </a:spcBef>
              <a:spcAft>
                <a:spcPts val="500"/>
              </a:spcAft>
              <a:buNone/>
              <a:tabLst/>
              <a:defRPr>
                <a:solidFill>
                  <a:schemeClr val="bg1"/>
                </a:solidFill>
              </a:defRPr>
            </a:lvl5pPr>
          </a:lstStyle>
          <a:p>
            <a:pPr marL="0" marR="0" lvl="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sp>
        <p:nvSpPr>
          <p:cNvPr id="2" name="TextBox 1">
            <a:extLst>
              <a:ext uri="{FF2B5EF4-FFF2-40B4-BE49-F238E27FC236}">
                <a16:creationId xmlns:a16="http://schemas.microsoft.com/office/drawing/2014/main" id="{8FA00F9C-D25B-ABA8-2162-E268EA62DA88}"/>
              </a:ext>
            </a:extLst>
          </p:cNvPr>
          <p:cNvSpPr txBox="1"/>
          <p:nvPr userDrawn="1"/>
        </p:nvSpPr>
        <p:spPr>
          <a:xfrm>
            <a:off x="381026" y="6194873"/>
            <a:ext cx="1591774" cy="282128"/>
          </a:xfrm>
          <a:prstGeom prst="rect">
            <a:avLst/>
          </a:prstGeom>
          <a:noFill/>
        </p:spPr>
        <p:txBody>
          <a:bodyPr wrap="square" lIns="0" tIns="0" rIns="0" bIns="0" rtlCol="0" anchor="b">
            <a:spAutoFit/>
          </a:bodyPr>
          <a:lstStyle/>
          <a:p>
            <a:pPr marL="0" algn="l">
              <a:lnSpc>
                <a:spcPct val="117000"/>
              </a:lnSpc>
              <a:spcAft>
                <a:spcPts val="500"/>
              </a:spcAft>
            </a:pPr>
            <a:r>
              <a:rPr lang="en-GB" sz="800" b="1">
                <a:solidFill>
                  <a:schemeClr val="bg1"/>
                </a:solidFill>
                <a:latin typeface="Helvetica Now Text" panose="020B0504030202020204" pitchFamily="34" charset="0"/>
              </a:rPr>
              <a:t>Nat Cat Revealed 2025</a:t>
            </a:r>
            <a:br>
              <a:rPr lang="en-GB" sz="800">
                <a:solidFill>
                  <a:schemeClr val="bg1"/>
                </a:solidFill>
                <a:latin typeface="Helvetica Now Text" panose="020B0504030202020204" pitchFamily="34" charset="0"/>
              </a:rPr>
            </a:br>
            <a:r>
              <a:rPr lang="en-GB" sz="800">
                <a:solidFill>
                  <a:schemeClr val="bg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40000401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6248F69B-50B5-0F42-982D-7D61C2BD5FB9}"/>
              </a:ext>
            </a:extLst>
          </p:cNvPr>
          <p:cNvSpPr/>
          <p:nvPr userDrawn="1"/>
        </p:nvSpPr>
        <p:spPr>
          <a:xfrm>
            <a:off x="0" y="0"/>
            <a:ext cx="152171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1"/>
            <a:ext cx="6483665" cy="6857553"/>
          </a:xfrm>
          <a:solidFill>
            <a:schemeClr val="bg1">
              <a:lumMod val="95000"/>
            </a:schemeClr>
          </a:solidFill>
        </p:spPr>
        <p:txBody>
          <a:bodyPr tIns="5669280"/>
          <a:lstStyle>
            <a:lvl1pPr algn="ctr">
              <a:defRPr b="0"/>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sp>
        <p:nvSpPr>
          <p:cNvPr id="16" name="Text Placeholder 4">
            <a:extLst>
              <a:ext uri="{FF2B5EF4-FFF2-40B4-BE49-F238E27FC236}">
                <a16:creationId xmlns:a16="http://schemas.microsoft.com/office/drawing/2014/main" id="{C47AFE81-DA8A-134F-B52C-C13A80B71350}"/>
              </a:ext>
            </a:extLst>
          </p:cNvPr>
          <p:cNvSpPr>
            <a:spLocks noGrp="1"/>
          </p:cNvSpPr>
          <p:nvPr>
            <p:ph type="body" sz="quarter" idx="16" hasCustomPrompt="1"/>
          </p:nvPr>
        </p:nvSpPr>
        <p:spPr>
          <a:xfrm>
            <a:off x="8364690" y="1562100"/>
            <a:ext cx="3442179" cy="4554708"/>
          </a:xfrm>
        </p:spPr>
        <p:txBody>
          <a:bodyPr/>
          <a:lstStyle>
            <a:lvl1pPr marL="0" marR="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marL="0" marR="0" lvl="0" indent="0" algn="l" defTabSz="914263" rtl="0" eaLnBrk="1" fontAlgn="auto" latinLnBrk="0" hangingPunct="1">
              <a:lnSpc>
                <a:spcPct val="100000"/>
              </a:lnSpc>
              <a:spcBef>
                <a:spcPts val="700"/>
              </a:spcBef>
              <a:spcAft>
                <a:spcPts val="700"/>
              </a:spcAft>
              <a:buClrTx/>
              <a:buSzTx/>
              <a:buFont typeface="Arial" panose="020B0604020202020204" pitchFamily="34" charset="0"/>
              <a:buNone/>
              <a:tabLst/>
              <a:defRPr/>
            </a:pPr>
            <a:r>
              <a:rPr lang="en-GB"/>
              <a:t>First level – title. Second level – subtitle. Third level – date</a:t>
            </a:r>
          </a:p>
          <a:p>
            <a:pPr lvl="1"/>
            <a:r>
              <a:rPr lang="en-GB"/>
              <a:t>Second level</a:t>
            </a:r>
          </a:p>
          <a:p>
            <a:pPr lvl="2"/>
            <a:r>
              <a:rPr lang="en-GB"/>
              <a:t>Third level – date</a:t>
            </a:r>
          </a:p>
          <a:p>
            <a:pPr lvl="3"/>
            <a:r>
              <a:rPr lang="en-GB"/>
              <a:t>Fourth level</a:t>
            </a:r>
          </a:p>
          <a:p>
            <a:pPr lvl="4"/>
            <a:r>
              <a:rPr lang="en-GB"/>
              <a:t>Fifth level</a:t>
            </a:r>
          </a:p>
        </p:txBody>
      </p:sp>
      <p:pic>
        <p:nvPicPr>
          <p:cNvPr id="9" name="Graphic 8">
            <a:extLst>
              <a:ext uri="{FF2B5EF4-FFF2-40B4-BE49-F238E27FC236}">
                <a16:creationId xmlns:a16="http://schemas.microsoft.com/office/drawing/2014/main" id="{3038456F-3E12-4DE0-8D61-3C910A603299}"/>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381025" y="381000"/>
            <a:ext cx="761167" cy="287990"/>
          </a:xfrm>
          <a:prstGeom prst="rect">
            <a:avLst/>
          </a:prstGeom>
        </p:spPr>
      </p:pic>
      <p:pic>
        <p:nvPicPr>
          <p:cNvPr id="13" name="Graphic 12">
            <a:extLst>
              <a:ext uri="{FF2B5EF4-FFF2-40B4-BE49-F238E27FC236}">
                <a16:creationId xmlns:a16="http://schemas.microsoft.com/office/drawing/2014/main" id="{DD6B64E5-2431-4AF8-9F50-C56A041F0737}"/>
              </a:ext>
            </a:extLst>
          </p:cNvPr>
          <p:cNvPicPr>
            <a:picLocks noChangeAspect="1"/>
          </p:cNvPicPr>
          <p:nvPr/>
        </p:nvPicPr>
        <p:blipFill>
          <a:blip r:embed="rId2">
            <a:extLst>
              <a:ext uri="{96DAC541-7B7A-43D3-8B79-37D633B846F1}">
                <asvg:svgBlip xmlns:asvg="http://schemas.microsoft.com/office/drawing/2016/SVG/main" r:embed="rId4"/>
              </a:ext>
            </a:extLst>
          </a:blip>
          <a:stretch>
            <a:fillRect/>
          </a:stretch>
        </p:blipFill>
        <p:spPr>
          <a:xfrm>
            <a:off x="381025" y="381000"/>
            <a:ext cx="761167" cy="287990"/>
          </a:xfrm>
          <a:prstGeom prst="rect">
            <a:avLst/>
          </a:prstGeom>
        </p:spPr>
      </p:pic>
      <p:pic>
        <p:nvPicPr>
          <p:cNvPr id="17" name="Graphic 16">
            <a:extLst>
              <a:ext uri="{FF2B5EF4-FFF2-40B4-BE49-F238E27FC236}">
                <a16:creationId xmlns:a16="http://schemas.microsoft.com/office/drawing/2014/main" id="{869101C5-430B-47D2-B860-13B2CFDFFB93}"/>
              </a:ext>
            </a:extLst>
          </p:cNvPr>
          <p:cNvPicPr>
            <a:picLocks noChangeAspect="1"/>
          </p:cNvPicPr>
          <p:nvPr userDrawn="1"/>
        </p:nvPicPr>
        <p:blipFill>
          <a:blip r:embed="rId2">
            <a:extLst>
              <a:ext uri="{96DAC541-7B7A-43D3-8B79-37D633B846F1}">
                <asvg:svgBlip xmlns:asvg="http://schemas.microsoft.com/office/drawing/2016/SVG/main" r:embed="rId4"/>
              </a:ext>
            </a:extLst>
          </a:blip>
          <a:stretch>
            <a:fillRect/>
          </a:stretch>
        </p:blipFill>
        <p:spPr>
          <a:xfrm>
            <a:off x="381025" y="381000"/>
            <a:ext cx="761167" cy="287990"/>
          </a:xfrm>
          <a:prstGeom prst="rect">
            <a:avLst/>
          </a:prstGeom>
        </p:spPr>
      </p:pic>
      <p:sp>
        <p:nvSpPr>
          <p:cNvPr id="18" name="TextBox 17">
            <a:extLst>
              <a:ext uri="{FF2B5EF4-FFF2-40B4-BE49-F238E27FC236}">
                <a16:creationId xmlns:a16="http://schemas.microsoft.com/office/drawing/2014/main" id="{2F50CA9B-813D-4965-AECC-88E6031163AC}"/>
              </a:ext>
            </a:extLst>
          </p:cNvPr>
          <p:cNvSpPr txBox="1"/>
          <p:nvPr userDrawn="1"/>
        </p:nvSpPr>
        <p:spPr>
          <a:xfrm>
            <a:off x="10215096" y="6222366"/>
            <a:ext cx="1591774" cy="282128"/>
          </a:xfrm>
          <a:prstGeom prst="rect">
            <a:avLst/>
          </a:prstGeom>
          <a:noFill/>
        </p:spPr>
        <p:txBody>
          <a:bodyPr wrap="square" lIns="0" tIns="0" rIns="0" bIns="0" rtlCol="0" anchor="b">
            <a:spAutoFit/>
          </a:bodyPr>
          <a:lstStyle/>
          <a:p>
            <a:pPr marL="0" algn="r">
              <a:lnSpc>
                <a:spcPct val="117000"/>
              </a:lnSpc>
              <a:spcAft>
                <a:spcPts val="500"/>
              </a:spcAft>
            </a:pPr>
            <a:r>
              <a:rPr lang="en-GB" sz="800" b="1">
                <a:solidFill>
                  <a:schemeClr val="tx1"/>
                </a:solidFill>
                <a:latin typeface="Helvetica Now Text" panose="020B0504030202020204" pitchFamily="34" charset="0"/>
              </a:rPr>
              <a:t>Nat Cat Revealed 2025</a:t>
            </a:r>
            <a:br>
              <a:rPr lang="en-GB" sz="800">
                <a:solidFill>
                  <a:schemeClr val="tx1"/>
                </a:solidFill>
                <a:latin typeface="Helvetica Now Text" panose="020B0504030202020204" pitchFamily="34" charset="0"/>
              </a:rPr>
            </a:b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13135638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72D04E61-2D3B-9343-8D58-063CF0CCE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106" y="381000"/>
            <a:ext cx="950153" cy="359494"/>
          </a:xfrm>
          <a:prstGeom prst="rect">
            <a:avLst/>
          </a:prstGeom>
        </p:spPr>
      </p:pic>
      <p:sp>
        <p:nvSpPr>
          <p:cNvPr id="10" name="Rectangle 9">
            <a:extLst>
              <a:ext uri="{FF2B5EF4-FFF2-40B4-BE49-F238E27FC236}">
                <a16:creationId xmlns:a16="http://schemas.microsoft.com/office/drawing/2014/main" id="{04D167EB-636E-2F49-8D89-130717900AF3}"/>
              </a:ext>
            </a:extLst>
          </p:cNvPr>
          <p:cNvSpPr/>
          <p:nvPr userDrawn="1"/>
        </p:nvSpPr>
        <p:spPr>
          <a:xfrm>
            <a:off x="0" y="0"/>
            <a:ext cx="37874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3" name="Picture Placeholder 10">
            <a:extLst>
              <a:ext uri="{FF2B5EF4-FFF2-40B4-BE49-F238E27FC236}">
                <a16:creationId xmlns:a16="http://schemas.microsoft.com/office/drawing/2014/main" id="{6C3C968F-382E-D845-A447-BA8A7CEE9E68}"/>
              </a:ext>
            </a:extLst>
          </p:cNvPr>
          <p:cNvSpPr>
            <a:spLocks noGrp="1"/>
          </p:cNvSpPr>
          <p:nvPr>
            <p:ph type="pic" sz="quarter" idx="13"/>
          </p:nvPr>
        </p:nvSpPr>
        <p:spPr>
          <a:xfrm>
            <a:off x="5333554" y="1"/>
            <a:ext cx="6858446" cy="6857553"/>
          </a:xfrm>
          <a:solidFill>
            <a:schemeClr val="bg1">
              <a:lumMod val="95000"/>
            </a:schemeClr>
          </a:solidFill>
        </p:spPr>
        <p:txBody>
          <a:bodyPr tIns="5577840"/>
          <a:lstStyle>
            <a:lvl1pPr algn="ctr">
              <a:defRPr b="0"/>
            </a:lvl1pPr>
          </a:lstStyle>
          <a:p>
            <a:r>
              <a:rPr lang="en-US"/>
              <a:t>Click icon to add picture</a:t>
            </a:r>
            <a:endParaRPr lang="en-GB"/>
          </a:p>
        </p:txBody>
      </p:sp>
      <p:sp>
        <p:nvSpPr>
          <p:cNvPr id="8" name="Text Placeholder 4">
            <a:extLst>
              <a:ext uri="{FF2B5EF4-FFF2-40B4-BE49-F238E27FC236}">
                <a16:creationId xmlns:a16="http://schemas.microsoft.com/office/drawing/2014/main" id="{FCC3EC69-B9C7-4C47-85A4-98ABD550A2DB}"/>
              </a:ext>
            </a:extLst>
          </p:cNvPr>
          <p:cNvSpPr>
            <a:spLocks noGrp="1"/>
          </p:cNvSpPr>
          <p:nvPr>
            <p:ph type="body" sz="quarter" idx="16" hasCustomPrompt="1"/>
          </p:nvPr>
        </p:nvSpPr>
        <p:spPr>
          <a:xfrm>
            <a:off x="748446" y="1562100"/>
            <a:ext cx="3821472" cy="4554708"/>
          </a:xfrm>
        </p:spPr>
        <p:txBody>
          <a:bodyPr/>
          <a:lstStyle>
            <a:lvl1pPr>
              <a:spcBef>
                <a:spcPts val="700"/>
              </a:spcBef>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14" name="TextBox 13">
            <a:extLst>
              <a:ext uri="{FF2B5EF4-FFF2-40B4-BE49-F238E27FC236}">
                <a16:creationId xmlns:a16="http://schemas.microsoft.com/office/drawing/2014/main" id="{088672D5-3E6A-4298-9934-6866B120C90C}"/>
              </a:ext>
            </a:extLst>
          </p:cNvPr>
          <p:cNvSpPr txBox="1"/>
          <p:nvPr userDrawn="1"/>
        </p:nvSpPr>
        <p:spPr>
          <a:xfrm>
            <a:off x="748445" y="6222366"/>
            <a:ext cx="1591774" cy="282128"/>
          </a:xfrm>
          <a:prstGeom prst="rect">
            <a:avLst/>
          </a:prstGeom>
          <a:noFill/>
        </p:spPr>
        <p:txBody>
          <a:bodyPr wrap="square" lIns="0" tIns="0" rIns="0" bIns="0" rtlCol="0" anchor="b">
            <a:spAutoFit/>
          </a:bodyPr>
          <a:lstStyle/>
          <a:p>
            <a:pPr marL="0" algn="l">
              <a:lnSpc>
                <a:spcPct val="117000"/>
              </a:lnSpc>
              <a:spcAft>
                <a:spcPts val="500"/>
              </a:spcAft>
            </a:pPr>
            <a:r>
              <a:rPr lang="en-GB" sz="800" b="1">
                <a:solidFill>
                  <a:schemeClr val="tx1"/>
                </a:solidFill>
                <a:latin typeface="Helvetica Now Text" panose="020B0504030202020204" pitchFamily="34" charset="0"/>
              </a:rPr>
              <a:t>Nat Cat Revealed 2025</a:t>
            </a:r>
            <a:br>
              <a:rPr lang="en-GB" sz="800">
                <a:solidFill>
                  <a:schemeClr val="tx1"/>
                </a:solidFill>
                <a:latin typeface="Helvetica Now Text" panose="020B0504030202020204" pitchFamily="34" charset="0"/>
              </a:rPr>
            </a:b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245305261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solidFill>
          <a:schemeClr val="bg1"/>
        </a:solidFill>
        <a:effectLst/>
      </p:bgPr>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72D04E61-2D3B-9343-8D58-063CF0CCE7B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765106" y="381000"/>
            <a:ext cx="950153" cy="359494"/>
          </a:xfrm>
          <a:prstGeom prst="rect">
            <a:avLst/>
          </a:prstGeom>
        </p:spPr>
      </p:pic>
      <p:sp>
        <p:nvSpPr>
          <p:cNvPr id="10" name="Rectangle 9">
            <a:extLst>
              <a:ext uri="{FF2B5EF4-FFF2-40B4-BE49-F238E27FC236}">
                <a16:creationId xmlns:a16="http://schemas.microsoft.com/office/drawing/2014/main" id="{04D167EB-636E-2F49-8D89-130717900AF3}"/>
              </a:ext>
            </a:extLst>
          </p:cNvPr>
          <p:cNvSpPr/>
          <p:nvPr userDrawn="1"/>
        </p:nvSpPr>
        <p:spPr>
          <a:xfrm>
            <a:off x="0" y="0"/>
            <a:ext cx="37874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13" name="Picture Placeholder 10">
            <a:extLst>
              <a:ext uri="{FF2B5EF4-FFF2-40B4-BE49-F238E27FC236}">
                <a16:creationId xmlns:a16="http://schemas.microsoft.com/office/drawing/2014/main" id="{6C3C968F-382E-D845-A447-BA8A7CEE9E68}"/>
              </a:ext>
            </a:extLst>
          </p:cNvPr>
          <p:cNvSpPr>
            <a:spLocks noGrp="1"/>
          </p:cNvSpPr>
          <p:nvPr>
            <p:ph type="pic" sz="quarter" idx="13"/>
          </p:nvPr>
        </p:nvSpPr>
        <p:spPr>
          <a:xfrm>
            <a:off x="5333554" y="1"/>
            <a:ext cx="6858446" cy="6857553"/>
          </a:xfrm>
          <a:solidFill>
            <a:schemeClr val="bg1">
              <a:lumMod val="95000"/>
            </a:schemeClr>
          </a:solidFill>
        </p:spPr>
        <p:txBody>
          <a:bodyPr tIns="5577840"/>
          <a:lstStyle>
            <a:lvl1pPr algn="ctr">
              <a:defRPr b="0"/>
            </a:lvl1pPr>
          </a:lstStyle>
          <a:p>
            <a:r>
              <a:rPr lang="en-US"/>
              <a:t>Click icon to add picture</a:t>
            </a:r>
            <a:endParaRPr lang="en-GB"/>
          </a:p>
        </p:txBody>
      </p:sp>
      <p:sp>
        <p:nvSpPr>
          <p:cNvPr id="8" name="Text Placeholder 4">
            <a:extLst>
              <a:ext uri="{FF2B5EF4-FFF2-40B4-BE49-F238E27FC236}">
                <a16:creationId xmlns:a16="http://schemas.microsoft.com/office/drawing/2014/main" id="{FCC3EC69-B9C7-4C47-85A4-98ABD550A2DB}"/>
              </a:ext>
            </a:extLst>
          </p:cNvPr>
          <p:cNvSpPr>
            <a:spLocks noGrp="1"/>
          </p:cNvSpPr>
          <p:nvPr>
            <p:ph type="body" sz="quarter" idx="16" hasCustomPrompt="1"/>
          </p:nvPr>
        </p:nvSpPr>
        <p:spPr>
          <a:xfrm>
            <a:off x="748446" y="1562100"/>
            <a:ext cx="3821472" cy="4554708"/>
          </a:xfrm>
        </p:spPr>
        <p:txBody>
          <a:bodyPr/>
          <a:lstStyle>
            <a:lvl1pPr>
              <a:spcBef>
                <a:spcPts val="700"/>
              </a:spcBef>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14" name="TextBox 13">
            <a:extLst>
              <a:ext uri="{FF2B5EF4-FFF2-40B4-BE49-F238E27FC236}">
                <a16:creationId xmlns:a16="http://schemas.microsoft.com/office/drawing/2014/main" id="{088672D5-3E6A-4298-9934-6866B120C90C}"/>
              </a:ext>
            </a:extLst>
          </p:cNvPr>
          <p:cNvSpPr txBox="1"/>
          <p:nvPr userDrawn="1"/>
        </p:nvSpPr>
        <p:spPr>
          <a:xfrm>
            <a:off x="748445" y="6222366"/>
            <a:ext cx="1591774" cy="282128"/>
          </a:xfrm>
          <a:prstGeom prst="rect">
            <a:avLst/>
          </a:prstGeom>
          <a:noFill/>
        </p:spPr>
        <p:txBody>
          <a:bodyPr wrap="square" lIns="0" tIns="0" rIns="0" bIns="0" rtlCol="0" anchor="b">
            <a:spAutoFit/>
          </a:bodyPr>
          <a:lstStyle/>
          <a:p>
            <a:pPr marL="0" algn="l">
              <a:lnSpc>
                <a:spcPct val="117000"/>
              </a:lnSpc>
              <a:spcAft>
                <a:spcPts val="500"/>
              </a:spcAft>
            </a:pPr>
            <a:r>
              <a:rPr lang="en-GB" sz="800" b="1">
                <a:solidFill>
                  <a:schemeClr val="tx1"/>
                </a:solidFill>
                <a:latin typeface="Helvetica Now Text" panose="020B0504030202020204" pitchFamily="34" charset="0"/>
              </a:rPr>
              <a:t>Nat Cat Revealed 2025</a:t>
            </a:r>
            <a:br>
              <a:rPr lang="en-GB" sz="800">
                <a:solidFill>
                  <a:schemeClr val="tx1"/>
                </a:solidFill>
                <a:latin typeface="Helvetica Now Text" panose="020B0504030202020204" pitchFamily="34" charset="0"/>
              </a:rPr>
            </a:b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24530526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V3">
    <p:bg>
      <p:bgPr>
        <a:solidFill>
          <a:schemeClr val="bg2"/>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2ADBC91-08B9-4B40-A8DB-34D3AF2684EC}"/>
              </a:ext>
            </a:extLst>
          </p:cNvPr>
          <p:cNvSpPr/>
          <p:nvPr userDrawn="1"/>
        </p:nvSpPr>
        <p:spPr>
          <a:xfrm>
            <a:off x="0" y="0"/>
            <a:ext cx="12192000" cy="6858000"/>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reeform: Shape 3">
            <a:extLst>
              <a:ext uri="{FF2B5EF4-FFF2-40B4-BE49-F238E27FC236}">
                <a16:creationId xmlns:a16="http://schemas.microsoft.com/office/drawing/2014/main" id="{8681D24C-ADC9-4F96-9A7F-95456DA79B7B}"/>
              </a:ext>
            </a:extLst>
          </p:cNvPr>
          <p:cNvSpPr/>
          <p:nvPr userDrawn="1"/>
        </p:nvSpPr>
        <p:spPr>
          <a:xfrm>
            <a:off x="0" y="0"/>
            <a:ext cx="12192000" cy="6858000"/>
          </a:xfrm>
          <a:custGeom>
            <a:avLst/>
            <a:gdLst>
              <a:gd name="connsiteX0" fmla="*/ 640633 w 12192000"/>
              <a:gd name="connsiteY0" fmla="*/ 368300 h 6858000"/>
              <a:gd name="connsiteX1" fmla="*/ 371475 w 12192000"/>
              <a:gd name="connsiteY1" fmla="*/ 637458 h 6858000"/>
              <a:gd name="connsiteX2" fmla="*/ 371475 w 12192000"/>
              <a:gd name="connsiteY2" fmla="*/ 6220542 h 6858000"/>
              <a:gd name="connsiteX3" fmla="*/ 640633 w 12192000"/>
              <a:gd name="connsiteY3" fmla="*/ 6489700 h 6858000"/>
              <a:gd name="connsiteX4" fmla="*/ 11551367 w 12192000"/>
              <a:gd name="connsiteY4" fmla="*/ 6489700 h 6858000"/>
              <a:gd name="connsiteX5" fmla="*/ 11820525 w 12192000"/>
              <a:gd name="connsiteY5" fmla="*/ 6220542 h 6858000"/>
              <a:gd name="connsiteX6" fmla="*/ 11820525 w 12192000"/>
              <a:gd name="connsiteY6" fmla="*/ 637458 h 6858000"/>
              <a:gd name="connsiteX7" fmla="*/ 11551367 w 12192000"/>
              <a:gd name="connsiteY7" fmla="*/ 3683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40633" y="368300"/>
                </a:moveTo>
                <a:cubicBezTo>
                  <a:pt x="491981" y="368300"/>
                  <a:pt x="371475" y="488806"/>
                  <a:pt x="371475" y="637458"/>
                </a:cubicBezTo>
                <a:lnTo>
                  <a:pt x="371475" y="6220542"/>
                </a:lnTo>
                <a:cubicBezTo>
                  <a:pt x="371475" y="6369194"/>
                  <a:pt x="491981" y="6489700"/>
                  <a:pt x="640633" y="6489700"/>
                </a:cubicBezTo>
                <a:lnTo>
                  <a:pt x="11551367" y="6489700"/>
                </a:lnTo>
                <a:cubicBezTo>
                  <a:pt x="11700019" y="6489700"/>
                  <a:pt x="11820525" y="6369194"/>
                  <a:pt x="11820525" y="6220542"/>
                </a:cubicBezTo>
                <a:lnTo>
                  <a:pt x="11820525" y="637458"/>
                </a:lnTo>
                <a:cubicBezTo>
                  <a:pt x="11820525" y="488806"/>
                  <a:pt x="11700019" y="368300"/>
                  <a:pt x="11551367" y="368300"/>
                </a:cubicBezTo>
                <a:close/>
                <a:moveTo>
                  <a:pt x="0" y="0"/>
                </a:moveTo>
                <a:lnTo>
                  <a:pt x="12192000" y="0"/>
                </a:lnTo>
                <a:lnTo>
                  <a:pt x="12192000" y="6858000"/>
                </a:lnTo>
                <a:lnTo>
                  <a:pt x="0" y="685800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BE"/>
          </a:p>
        </p:txBody>
      </p:sp>
      <p:grpSp>
        <p:nvGrpSpPr>
          <p:cNvPr id="5" name="Groupe 22">
            <a:extLst>
              <a:ext uri="{FF2B5EF4-FFF2-40B4-BE49-F238E27FC236}">
                <a16:creationId xmlns:a16="http://schemas.microsoft.com/office/drawing/2014/main" id="{2B32DBD4-A425-4C9E-AB3F-50820ABE35E2}"/>
              </a:ext>
            </a:extLst>
          </p:cNvPr>
          <p:cNvGrpSpPr/>
          <p:nvPr userDrawn="1"/>
        </p:nvGrpSpPr>
        <p:grpSpPr>
          <a:xfrm>
            <a:off x="4341018" y="2930841"/>
            <a:ext cx="3509961" cy="997017"/>
            <a:chOff x="-838200" y="8253511"/>
            <a:chExt cx="12192000" cy="3463176"/>
          </a:xfrm>
          <a:solidFill>
            <a:schemeClr val="bg1"/>
          </a:solidFill>
        </p:grpSpPr>
        <p:sp>
          <p:nvSpPr>
            <p:cNvPr id="6" name="Forme libre : forme 23">
              <a:extLst>
                <a:ext uri="{FF2B5EF4-FFF2-40B4-BE49-F238E27FC236}">
                  <a16:creationId xmlns:a16="http://schemas.microsoft.com/office/drawing/2014/main" id="{02DB79CB-4FD3-4EEA-BEAE-F9E90E8A8DC1}"/>
                </a:ext>
              </a:extLst>
            </p:cNvPr>
            <p:cNvSpPr/>
            <p:nvPr/>
          </p:nvSpPr>
          <p:spPr>
            <a:xfrm>
              <a:off x="-838200" y="10819488"/>
              <a:ext cx="12192000" cy="897199"/>
            </a:xfrm>
            <a:custGeom>
              <a:avLst/>
              <a:gdLst>
                <a:gd name="connsiteX0" fmla="*/ 12198649 w 12192000"/>
                <a:gd name="connsiteY0" fmla="*/ 885124 h 897199"/>
                <a:gd name="connsiteX1" fmla="*/ 12097839 w 12192000"/>
                <a:gd name="connsiteY1" fmla="*/ 885124 h 897199"/>
                <a:gd name="connsiteX2" fmla="*/ 11805730 w 12192000"/>
                <a:gd name="connsiteY2" fmla="*/ 581421 h 897199"/>
                <a:gd name="connsiteX3" fmla="*/ 11805730 w 12192000"/>
                <a:gd name="connsiteY3" fmla="*/ 885124 h 897199"/>
                <a:gd name="connsiteX4" fmla="*/ 11732688 w 12192000"/>
                <a:gd name="connsiteY4" fmla="*/ 885124 h 897199"/>
                <a:gd name="connsiteX5" fmla="*/ 11732688 w 12192000"/>
                <a:gd name="connsiteY5" fmla="*/ 15789 h 897199"/>
                <a:gd name="connsiteX6" fmla="*/ 11805730 w 12192000"/>
                <a:gd name="connsiteY6" fmla="*/ 15789 h 897199"/>
                <a:gd name="connsiteX7" fmla="*/ 11805730 w 12192000"/>
                <a:gd name="connsiteY7" fmla="*/ 536236 h 897199"/>
                <a:gd name="connsiteX8" fmla="*/ 12070007 w 12192000"/>
                <a:gd name="connsiteY8" fmla="*/ 293982 h 897199"/>
                <a:gd name="connsiteX9" fmla="*/ 12163887 w 12192000"/>
                <a:gd name="connsiteY9" fmla="*/ 293982 h 897199"/>
                <a:gd name="connsiteX10" fmla="*/ 11875270 w 12192000"/>
                <a:gd name="connsiteY10" fmla="*/ 555961 h 897199"/>
                <a:gd name="connsiteX11" fmla="*/ 12198649 w 12192000"/>
                <a:gd name="connsiteY11" fmla="*/ 885124 h 897199"/>
                <a:gd name="connsiteX12" fmla="*/ 11444120 w 12192000"/>
                <a:gd name="connsiteY12" fmla="*/ 342661 h 897199"/>
                <a:gd name="connsiteX13" fmla="*/ 11316608 w 12192000"/>
                <a:gd name="connsiteY13" fmla="*/ 441203 h 897199"/>
                <a:gd name="connsiteX14" fmla="*/ 11607548 w 12192000"/>
                <a:gd name="connsiteY14" fmla="*/ 730989 h 897199"/>
                <a:gd name="connsiteX15" fmla="*/ 11401218 w 12192000"/>
                <a:gd name="connsiteY15" fmla="*/ 899088 h 897199"/>
                <a:gd name="connsiteX16" fmla="*/ 11235475 w 12192000"/>
                <a:gd name="connsiteY16" fmla="*/ 871248 h 897199"/>
                <a:gd name="connsiteX17" fmla="*/ 11242445 w 12192000"/>
                <a:gd name="connsiteY17" fmla="*/ 799384 h 897199"/>
                <a:gd name="connsiteX18" fmla="*/ 11396595 w 12192000"/>
                <a:gd name="connsiteY18" fmla="*/ 836485 h 897199"/>
                <a:gd name="connsiteX19" fmla="*/ 11527584 w 12192000"/>
                <a:gd name="connsiteY19" fmla="*/ 730989 h 897199"/>
                <a:gd name="connsiteX20" fmla="*/ 11243590 w 12192000"/>
                <a:gd name="connsiteY20" fmla="*/ 441203 h 897199"/>
                <a:gd name="connsiteX21" fmla="*/ 11436004 w 12192000"/>
                <a:gd name="connsiteY21" fmla="*/ 280106 h 897199"/>
                <a:gd name="connsiteX22" fmla="*/ 11582055 w 12192000"/>
                <a:gd name="connsiteY22" fmla="*/ 306761 h 897199"/>
                <a:gd name="connsiteX23" fmla="*/ 11575085 w 12192000"/>
                <a:gd name="connsiteY23" fmla="*/ 370533 h 897199"/>
                <a:gd name="connsiteX24" fmla="*/ 11444120 w 12192000"/>
                <a:gd name="connsiteY24" fmla="*/ 342701 h 897199"/>
                <a:gd name="connsiteX25" fmla="*/ 11036115 w 12192000"/>
                <a:gd name="connsiteY25" fmla="*/ 38950 h 897199"/>
                <a:gd name="connsiteX26" fmla="*/ 11109148 w 12192000"/>
                <a:gd name="connsiteY26" fmla="*/ 38950 h 897199"/>
                <a:gd name="connsiteX27" fmla="*/ 11109148 w 12192000"/>
                <a:gd name="connsiteY27" fmla="*/ 136339 h 897199"/>
                <a:gd name="connsiteX28" fmla="*/ 11036115 w 12192000"/>
                <a:gd name="connsiteY28" fmla="*/ 136339 h 897199"/>
                <a:gd name="connsiteX29" fmla="*/ 11036115 w 12192000"/>
                <a:gd name="connsiteY29" fmla="*/ 38950 h 897199"/>
                <a:gd name="connsiteX30" fmla="*/ 11036115 w 12192000"/>
                <a:gd name="connsiteY30" fmla="*/ 885124 h 897199"/>
                <a:gd name="connsiteX31" fmla="*/ 11036115 w 12192000"/>
                <a:gd name="connsiteY31" fmla="*/ 293982 h 897199"/>
                <a:gd name="connsiteX32" fmla="*/ 11109148 w 12192000"/>
                <a:gd name="connsiteY32" fmla="*/ 293982 h 897199"/>
                <a:gd name="connsiteX33" fmla="*/ 11109148 w 12192000"/>
                <a:gd name="connsiteY33" fmla="*/ 885124 h 897199"/>
                <a:gd name="connsiteX34" fmla="*/ 10570226 w 12192000"/>
                <a:gd name="connsiteY34" fmla="*/ 145600 h 897199"/>
                <a:gd name="connsiteX35" fmla="*/ 10487892 w 12192000"/>
                <a:gd name="connsiteY35" fmla="*/ 145600 h 897199"/>
                <a:gd name="connsiteX36" fmla="*/ 10487892 w 12192000"/>
                <a:gd name="connsiteY36" fmla="*/ 434217 h 897199"/>
                <a:gd name="connsiteX37" fmla="*/ 10572525 w 12192000"/>
                <a:gd name="connsiteY37" fmla="*/ 434217 h 897199"/>
                <a:gd name="connsiteX38" fmla="*/ 10774209 w 12192000"/>
                <a:gd name="connsiteY38" fmla="*/ 285859 h 897199"/>
                <a:gd name="connsiteX39" fmla="*/ 10570226 w 12192000"/>
                <a:gd name="connsiteY39" fmla="*/ 145600 h 897199"/>
                <a:gd name="connsiteX40" fmla="*/ 10674529 w 12192000"/>
                <a:gd name="connsiteY40" fmla="*/ 472472 h 897199"/>
                <a:gd name="connsiteX41" fmla="*/ 10674529 w 12192000"/>
                <a:gd name="connsiteY41" fmla="*/ 474795 h 897199"/>
                <a:gd name="connsiteX42" fmla="*/ 10778855 w 12192000"/>
                <a:gd name="connsiteY42" fmla="*/ 572176 h 897199"/>
                <a:gd name="connsiteX43" fmla="*/ 10916799 w 12192000"/>
                <a:gd name="connsiteY43" fmla="*/ 885124 h 897199"/>
                <a:gd name="connsiteX44" fmla="*/ 10828671 w 12192000"/>
                <a:gd name="connsiteY44" fmla="*/ 885124 h 897199"/>
                <a:gd name="connsiteX45" fmla="*/ 10711598 w 12192000"/>
                <a:gd name="connsiteY45" fmla="*/ 611561 h 897199"/>
                <a:gd name="connsiteX46" fmla="*/ 10553987 w 12192000"/>
                <a:gd name="connsiteY46" fmla="*/ 503757 h 897199"/>
                <a:gd name="connsiteX47" fmla="*/ 10487892 w 12192000"/>
                <a:gd name="connsiteY47" fmla="*/ 503757 h 897199"/>
                <a:gd name="connsiteX48" fmla="*/ 10487892 w 12192000"/>
                <a:gd name="connsiteY48" fmla="*/ 885108 h 897199"/>
                <a:gd name="connsiteX49" fmla="*/ 10407928 w 12192000"/>
                <a:gd name="connsiteY49" fmla="*/ 885108 h 897199"/>
                <a:gd name="connsiteX50" fmla="*/ 10407928 w 12192000"/>
                <a:gd name="connsiteY50" fmla="*/ 76060 h 897199"/>
                <a:gd name="connsiteX51" fmla="*/ 10616581 w 12192000"/>
                <a:gd name="connsiteY51" fmla="*/ 76060 h 897199"/>
                <a:gd name="connsiteX52" fmla="*/ 10854188 w 12192000"/>
                <a:gd name="connsiteY52" fmla="*/ 285859 h 897199"/>
                <a:gd name="connsiteX53" fmla="*/ 10674529 w 12192000"/>
                <a:gd name="connsiteY53" fmla="*/ 472472 h 897199"/>
                <a:gd name="connsiteX54" fmla="*/ 9970977 w 12192000"/>
                <a:gd name="connsiteY54" fmla="*/ 77229 h 897199"/>
                <a:gd name="connsiteX55" fmla="*/ 9913053 w 12192000"/>
                <a:gd name="connsiteY55" fmla="*/ 64483 h 897199"/>
                <a:gd name="connsiteX56" fmla="*/ 9823773 w 12192000"/>
                <a:gd name="connsiteY56" fmla="*/ 242981 h 897199"/>
                <a:gd name="connsiteX57" fmla="*/ 9823773 w 12192000"/>
                <a:gd name="connsiteY57" fmla="*/ 293982 h 897199"/>
                <a:gd name="connsiteX58" fmla="*/ 9957061 w 12192000"/>
                <a:gd name="connsiteY58" fmla="*/ 293982 h 897199"/>
                <a:gd name="connsiteX59" fmla="*/ 9957061 w 12192000"/>
                <a:gd name="connsiteY59" fmla="*/ 356577 h 897199"/>
                <a:gd name="connsiteX60" fmla="*/ 9823773 w 12192000"/>
                <a:gd name="connsiteY60" fmla="*/ 356577 h 897199"/>
                <a:gd name="connsiteX61" fmla="*/ 9823773 w 12192000"/>
                <a:gd name="connsiteY61" fmla="*/ 885124 h 897199"/>
                <a:gd name="connsiteX62" fmla="*/ 9750755 w 12192000"/>
                <a:gd name="connsiteY62" fmla="*/ 885124 h 897199"/>
                <a:gd name="connsiteX63" fmla="*/ 9750755 w 12192000"/>
                <a:gd name="connsiteY63" fmla="*/ 356577 h 897199"/>
                <a:gd name="connsiteX64" fmla="*/ 9631383 w 12192000"/>
                <a:gd name="connsiteY64" fmla="*/ 356577 h 897199"/>
                <a:gd name="connsiteX65" fmla="*/ 9631383 w 12192000"/>
                <a:gd name="connsiteY65" fmla="*/ 293982 h 897199"/>
                <a:gd name="connsiteX66" fmla="*/ 9750755 w 12192000"/>
                <a:gd name="connsiteY66" fmla="*/ 293982 h 897199"/>
                <a:gd name="connsiteX67" fmla="*/ 9750755 w 12192000"/>
                <a:gd name="connsiteY67" fmla="*/ 251096 h 897199"/>
                <a:gd name="connsiteX68" fmla="*/ 9907229 w 12192000"/>
                <a:gd name="connsiteY68" fmla="*/ 1889 h 897199"/>
                <a:gd name="connsiteX69" fmla="*/ 9975624 w 12192000"/>
                <a:gd name="connsiteY69" fmla="*/ 13465 h 897199"/>
                <a:gd name="connsiteX70" fmla="*/ 9970977 w 12192000"/>
                <a:gd name="connsiteY70" fmla="*/ 77229 h 897199"/>
                <a:gd name="connsiteX71" fmla="*/ 9292942 w 12192000"/>
                <a:gd name="connsiteY71" fmla="*/ 342661 h 897199"/>
                <a:gd name="connsiteX72" fmla="*/ 9097060 w 12192000"/>
                <a:gd name="connsiteY72" fmla="*/ 589545 h 897199"/>
                <a:gd name="connsiteX73" fmla="*/ 9292942 w 12192000"/>
                <a:gd name="connsiteY73" fmla="*/ 836446 h 897199"/>
                <a:gd name="connsiteX74" fmla="*/ 9488825 w 12192000"/>
                <a:gd name="connsiteY74" fmla="*/ 589545 h 897199"/>
                <a:gd name="connsiteX75" fmla="*/ 9292942 w 12192000"/>
                <a:gd name="connsiteY75" fmla="*/ 342661 h 897199"/>
                <a:gd name="connsiteX76" fmla="*/ 9292942 w 12192000"/>
                <a:gd name="connsiteY76" fmla="*/ 899048 h 897199"/>
                <a:gd name="connsiteX77" fmla="*/ 9017048 w 12192000"/>
                <a:gd name="connsiteY77" fmla="*/ 589545 h 897199"/>
                <a:gd name="connsiteX78" fmla="*/ 9292942 w 12192000"/>
                <a:gd name="connsiteY78" fmla="*/ 280066 h 897199"/>
                <a:gd name="connsiteX79" fmla="*/ 9568813 w 12192000"/>
                <a:gd name="connsiteY79" fmla="*/ 589545 h 897199"/>
                <a:gd name="connsiteX80" fmla="*/ 9292942 w 12192000"/>
                <a:gd name="connsiteY80" fmla="*/ 899040 h 897199"/>
                <a:gd name="connsiteX81" fmla="*/ 8381940 w 12192000"/>
                <a:gd name="connsiteY81" fmla="*/ 342661 h 897199"/>
                <a:gd name="connsiteX82" fmla="*/ 8208089 w 12192000"/>
                <a:gd name="connsiteY82" fmla="*/ 547813 h 897199"/>
                <a:gd name="connsiteX83" fmla="*/ 8532661 w 12192000"/>
                <a:gd name="connsiteY83" fmla="*/ 547813 h 897199"/>
                <a:gd name="connsiteX84" fmla="*/ 8381956 w 12192000"/>
                <a:gd name="connsiteY84" fmla="*/ 342661 h 897199"/>
                <a:gd name="connsiteX85" fmla="*/ 8208089 w 12192000"/>
                <a:gd name="connsiteY85" fmla="*/ 610407 h 897199"/>
                <a:gd name="connsiteX86" fmla="*/ 8402826 w 12192000"/>
                <a:gd name="connsiteY86" fmla="*/ 836446 h 897199"/>
                <a:gd name="connsiteX87" fmla="*/ 8568569 w 12192000"/>
                <a:gd name="connsiteY87" fmla="*/ 792382 h 897199"/>
                <a:gd name="connsiteX88" fmla="*/ 8568569 w 12192000"/>
                <a:gd name="connsiteY88" fmla="*/ 866545 h 897199"/>
                <a:gd name="connsiteX89" fmla="*/ 8397025 w 12192000"/>
                <a:gd name="connsiteY89" fmla="*/ 899032 h 897199"/>
                <a:gd name="connsiteX90" fmla="*/ 8128125 w 12192000"/>
                <a:gd name="connsiteY90" fmla="*/ 589529 h 897199"/>
                <a:gd name="connsiteX91" fmla="*/ 8377333 w 12192000"/>
                <a:gd name="connsiteY91" fmla="*/ 280050 h 897199"/>
                <a:gd name="connsiteX92" fmla="*/ 8612624 w 12192000"/>
                <a:gd name="connsiteY92" fmla="*/ 573274 h 897199"/>
                <a:gd name="connsiteX93" fmla="*/ 8612624 w 12192000"/>
                <a:gd name="connsiteY93" fmla="*/ 610383 h 897199"/>
                <a:gd name="connsiteX94" fmla="*/ 7921843 w 12192000"/>
                <a:gd name="connsiteY94" fmla="*/ 342661 h 897199"/>
                <a:gd name="connsiteX95" fmla="*/ 7699274 w 12192000"/>
                <a:gd name="connsiteY95" fmla="*/ 589545 h 897199"/>
                <a:gd name="connsiteX96" fmla="*/ 7913720 w 12192000"/>
                <a:gd name="connsiteY96" fmla="*/ 836446 h 897199"/>
                <a:gd name="connsiteX97" fmla="*/ 8047008 w 12192000"/>
                <a:gd name="connsiteY97" fmla="*/ 809767 h 897199"/>
                <a:gd name="connsiteX98" fmla="*/ 8053978 w 12192000"/>
                <a:gd name="connsiteY98" fmla="*/ 878178 h 897199"/>
                <a:gd name="connsiteX99" fmla="*/ 7902127 w 12192000"/>
                <a:gd name="connsiteY99" fmla="*/ 899048 h 897199"/>
                <a:gd name="connsiteX100" fmla="*/ 7619319 w 12192000"/>
                <a:gd name="connsiteY100" fmla="*/ 589545 h 897199"/>
                <a:gd name="connsiteX101" fmla="*/ 7911428 w 12192000"/>
                <a:gd name="connsiteY101" fmla="*/ 280066 h 897199"/>
                <a:gd name="connsiteX102" fmla="*/ 8054034 w 12192000"/>
                <a:gd name="connsiteY102" fmla="*/ 303228 h 897199"/>
                <a:gd name="connsiteX103" fmla="*/ 8048242 w 12192000"/>
                <a:gd name="connsiteY103" fmla="*/ 372768 h 897199"/>
                <a:gd name="connsiteX104" fmla="*/ 7921899 w 12192000"/>
                <a:gd name="connsiteY104" fmla="*/ 342661 h 897199"/>
                <a:gd name="connsiteX105" fmla="*/ 7413005 w 12192000"/>
                <a:gd name="connsiteY105" fmla="*/ 885124 h 897199"/>
                <a:gd name="connsiteX106" fmla="*/ 7413005 w 12192000"/>
                <a:gd name="connsiteY106" fmla="*/ 525773 h 897199"/>
                <a:gd name="connsiteX107" fmla="*/ 7272746 w 12192000"/>
                <a:gd name="connsiteY107" fmla="*/ 342661 h 897199"/>
                <a:gd name="connsiteX108" fmla="*/ 7097726 w 12192000"/>
                <a:gd name="connsiteY108" fmla="*/ 558252 h 897199"/>
                <a:gd name="connsiteX109" fmla="*/ 7097726 w 12192000"/>
                <a:gd name="connsiteY109" fmla="*/ 885124 h 897199"/>
                <a:gd name="connsiteX110" fmla="*/ 7024708 w 12192000"/>
                <a:gd name="connsiteY110" fmla="*/ 885124 h 897199"/>
                <a:gd name="connsiteX111" fmla="*/ 7024708 w 12192000"/>
                <a:gd name="connsiteY111" fmla="*/ 433063 h 897199"/>
                <a:gd name="connsiteX112" fmla="*/ 7020062 w 12192000"/>
                <a:gd name="connsiteY112" fmla="*/ 293982 h 897199"/>
                <a:gd name="connsiteX113" fmla="*/ 7090756 w 12192000"/>
                <a:gd name="connsiteY113" fmla="*/ 293982 h 897199"/>
                <a:gd name="connsiteX114" fmla="*/ 7090756 w 12192000"/>
                <a:gd name="connsiteY114" fmla="*/ 399431 h 897199"/>
                <a:gd name="connsiteX115" fmla="*/ 7093103 w 12192000"/>
                <a:gd name="connsiteY115" fmla="*/ 399431 h 897199"/>
                <a:gd name="connsiteX116" fmla="*/ 7284363 w 12192000"/>
                <a:gd name="connsiteY116" fmla="*/ 280058 h 897199"/>
                <a:gd name="connsiteX117" fmla="*/ 7486046 w 12192000"/>
                <a:gd name="connsiteY117" fmla="*/ 507250 h 897199"/>
                <a:gd name="connsiteX118" fmla="*/ 7486046 w 12192000"/>
                <a:gd name="connsiteY118" fmla="*/ 885116 h 897199"/>
                <a:gd name="connsiteX119" fmla="*/ 6660783 w 12192000"/>
                <a:gd name="connsiteY119" fmla="*/ 342661 h 897199"/>
                <a:gd name="connsiteX120" fmla="*/ 6486932 w 12192000"/>
                <a:gd name="connsiteY120" fmla="*/ 547813 h 897199"/>
                <a:gd name="connsiteX121" fmla="*/ 6811464 w 12192000"/>
                <a:gd name="connsiteY121" fmla="*/ 547813 h 897199"/>
                <a:gd name="connsiteX122" fmla="*/ 6660807 w 12192000"/>
                <a:gd name="connsiteY122" fmla="*/ 342661 h 897199"/>
                <a:gd name="connsiteX123" fmla="*/ 6486932 w 12192000"/>
                <a:gd name="connsiteY123" fmla="*/ 610407 h 897199"/>
                <a:gd name="connsiteX124" fmla="*/ 6681669 w 12192000"/>
                <a:gd name="connsiteY124" fmla="*/ 836446 h 897199"/>
                <a:gd name="connsiteX125" fmla="*/ 6847412 w 12192000"/>
                <a:gd name="connsiteY125" fmla="*/ 792382 h 897199"/>
                <a:gd name="connsiteX126" fmla="*/ 6847412 w 12192000"/>
                <a:gd name="connsiteY126" fmla="*/ 866545 h 897199"/>
                <a:gd name="connsiteX127" fmla="*/ 6675869 w 12192000"/>
                <a:gd name="connsiteY127" fmla="*/ 899032 h 897199"/>
                <a:gd name="connsiteX128" fmla="*/ 6406969 w 12192000"/>
                <a:gd name="connsiteY128" fmla="*/ 589529 h 897199"/>
                <a:gd name="connsiteX129" fmla="*/ 6656128 w 12192000"/>
                <a:gd name="connsiteY129" fmla="*/ 280050 h 897199"/>
                <a:gd name="connsiteX130" fmla="*/ 6891436 w 12192000"/>
                <a:gd name="connsiteY130" fmla="*/ 573274 h 897199"/>
                <a:gd name="connsiteX131" fmla="*/ 6891436 w 12192000"/>
                <a:gd name="connsiteY131" fmla="*/ 610383 h 897199"/>
                <a:gd name="connsiteX132" fmla="*/ 6199429 w 12192000"/>
                <a:gd name="connsiteY132" fmla="*/ 38950 h 897199"/>
                <a:gd name="connsiteX133" fmla="*/ 6272494 w 12192000"/>
                <a:gd name="connsiteY133" fmla="*/ 38950 h 897199"/>
                <a:gd name="connsiteX134" fmla="*/ 6272494 w 12192000"/>
                <a:gd name="connsiteY134" fmla="*/ 136339 h 897199"/>
                <a:gd name="connsiteX135" fmla="*/ 6199429 w 12192000"/>
                <a:gd name="connsiteY135" fmla="*/ 136339 h 897199"/>
                <a:gd name="connsiteX136" fmla="*/ 6199429 w 12192000"/>
                <a:gd name="connsiteY136" fmla="*/ 38950 h 897199"/>
                <a:gd name="connsiteX137" fmla="*/ 6199429 w 12192000"/>
                <a:gd name="connsiteY137" fmla="*/ 885124 h 897199"/>
                <a:gd name="connsiteX138" fmla="*/ 6199429 w 12192000"/>
                <a:gd name="connsiteY138" fmla="*/ 293982 h 897199"/>
                <a:gd name="connsiteX139" fmla="*/ 6272494 w 12192000"/>
                <a:gd name="connsiteY139" fmla="*/ 293982 h 897199"/>
                <a:gd name="connsiteX140" fmla="*/ 6272494 w 12192000"/>
                <a:gd name="connsiteY140" fmla="*/ 885124 h 897199"/>
                <a:gd name="connsiteX141" fmla="*/ 5949116 w 12192000"/>
                <a:gd name="connsiteY141" fmla="*/ 342661 h 897199"/>
                <a:gd name="connsiteX142" fmla="*/ 5726570 w 12192000"/>
                <a:gd name="connsiteY142" fmla="*/ 589545 h 897199"/>
                <a:gd name="connsiteX143" fmla="*/ 5940992 w 12192000"/>
                <a:gd name="connsiteY143" fmla="*/ 836446 h 897199"/>
                <a:gd name="connsiteX144" fmla="*/ 6074280 w 12192000"/>
                <a:gd name="connsiteY144" fmla="*/ 809767 h 897199"/>
                <a:gd name="connsiteX145" fmla="*/ 6081250 w 12192000"/>
                <a:gd name="connsiteY145" fmla="*/ 878178 h 897199"/>
                <a:gd name="connsiteX146" fmla="*/ 5929399 w 12192000"/>
                <a:gd name="connsiteY146" fmla="*/ 899040 h 897199"/>
                <a:gd name="connsiteX147" fmla="*/ 5646591 w 12192000"/>
                <a:gd name="connsiteY147" fmla="*/ 589537 h 897199"/>
                <a:gd name="connsiteX148" fmla="*/ 5938701 w 12192000"/>
                <a:gd name="connsiteY148" fmla="*/ 280058 h 897199"/>
                <a:gd name="connsiteX149" fmla="*/ 6081306 w 12192000"/>
                <a:gd name="connsiteY149" fmla="*/ 303220 h 897199"/>
                <a:gd name="connsiteX150" fmla="*/ 6075514 w 12192000"/>
                <a:gd name="connsiteY150" fmla="*/ 372760 h 897199"/>
                <a:gd name="connsiteX151" fmla="*/ 5949172 w 12192000"/>
                <a:gd name="connsiteY151" fmla="*/ 342653 h 897199"/>
                <a:gd name="connsiteX152" fmla="*/ 5347551 w 12192000"/>
                <a:gd name="connsiteY152" fmla="*/ 131708 h 897199"/>
                <a:gd name="connsiteX153" fmla="*/ 5172555 w 12192000"/>
                <a:gd name="connsiteY153" fmla="*/ 270789 h 897199"/>
                <a:gd name="connsiteX154" fmla="*/ 5543434 w 12192000"/>
                <a:gd name="connsiteY154" fmla="*/ 670678 h 897199"/>
                <a:gd name="connsiteX155" fmla="*/ 5278003 w 12192000"/>
                <a:gd name="connsiteY155" fmla="*/ 899040 h 897199"/>
                <a:gd name="connsiteX156" fmla="*/ 5094890 w 12192000"/>
                <a:gd name="connsiteY156" fmla="*/ 864254 h 897199"/>
                <a:gd name="connsiteX157" fmla="*/ 5103006 w 12192000"/>
                <a:gd name="connsiteY157" fmla="*/ 781943 h 897199"/>
                <a:gd name="connsiteX158" fmla="*/ 5281504 w 12192000"/>
                <a:gd name="connsiteY158" fmla="*/ 829467 h 897199"/>
                <a:gd name="connsiteX159" fmla="*/ 5463463 w 12192000"/>
                <a:gd name="connsiteY159" fmla="*/ 663700 h 897199"/>
                <a:gd name="connsiteX160" fmla="*/ 5092567 w 12192000"/>
                <a:gd name="connsiteY160" fmla="*/ 273104 h 897199"/>
                <a:gd name="connsiteX161" fmla="*/ 5348721 w 12192000"/>
                <a:gd name="connsiteY161" fmla="*/ 62136 h 897199"/>
                <a:gd name="connsiteX162" fmla="*/ 5507494 w 12192000"/>
                <a:gd name="connsiteY162" fmla="*/ 88798 h 897199"/>
                <a:gd name="connsiteX163" fmla="*/ 5494756 w 12192000"/>
                <a:gd name="connsiteY163" fmla="*/ 161831 h 897199"/>
                <a:gd name="connsiteX164" fmla="*/ 5347551 w 12192000"/>
                <a:gd name="connsiteY164" fmla="*/ 131700 h 897199"/>
                <a:gd name="connsiteX165" fmla="*/ 4231388 w 12192000"/>
                <a:gd name="connsiteY165" fmla="*/ 482895 h 897199"/>
                <a:gd name="connsiteX166" fmla="*/ 4079561 w 12192000"/>
                <a:gd name="connsiteY166" fmla="*/ 669565 h 897199"/>
                <a:gd name="connsiteX167" fmla="*/ 4267320 w 12192000"/>
                <a:gd name="connsiteY167" fmla="*/ 836477 h 897199"/>
                <a:gd name="connsiteX168" fmla="*/ 4466680 w 12192000"/>
                <a:gd name="connsiteY168" fmla="*/ 742574 h 897199"/>
                <a:gd name="connsiteX169" fmla="*/ 4231388 w 12192000"/>
                <a:gd name="connsiteY169" fmla="*/ 482927 h 897199"/>
                <a:gd name="connsiteX170" fmla="*/ 4413379 w 12192000"/>
                <a:gd name="connsiteY170" fmla="*/ 241803 h 897199"/>
                <a:gd name="connsiteX171" fmla="*/ 4298605 w 12192000"/>
                <a:gd name="connsiteY171" fmla="*/ 124738 h 897199"/>
                <a:gd name="connsiteX172" fmla="*/ 4165316 w 12192000"/>
                <a:gd name="connsiteY172" fmla="*/ 242981 h 897199"/>
                <a:gd name="connsiteX173" fmla="*/ 4256881 w 12192000"/>
                <a:gd name="connsiteY173" fmla="*/ 407554 h 897199"/>
                <a:gd name="connsiteX174" fmla="*/ 4413379 w 12192000"/>
                <a:gd name="connsiteY174" fmla="*/ 241803 h 897199"/>
                <a:gd name="connsiteX175" fmla="*/ 4698518 w 12192000"/>
                <a:gd name="connsiteY175" fmla="*/ 882800 h 897199"/>
                <a:gd name="connsiteX176" fmla="*/ 4596539 w 12192000"/>
                <a:gd name="connsiteY176" fmla="*/ 882800 h 897199"/>
                <a:gd name="connsiteX177" fmla="*/ 4510751 w 12192000"/>
                <a:gd name="connsiteY177" fmla="*/ 792398 h 897199"/>
                <a:gd name="connsiteX178" fmla="*/ 4264996 w 12192000"/>
                <a:gd name="connsiteY178" fmla="*/ 899048 h 897199"/>
                <a:gd name="connsiteX179" fmla="*/ 3999573 w 12192000"/>
                <a:gd name="connsiteY179" fmla="*/ 673002 h 897199"/>
                <a:gd name="connsiteX180" fmla="*/ 4190833 w 12192000"/>
                <a:gd name="connsiteY180" fmla="*/ 437710 h 897199"/>
                <a:gd name="connsiteX181" fmla="*/ 4085353 w 12192000"/>
                <a:gd name="connsiteY181" fmla="*/ 238334 h 897199"/>
                <a:gd name="connsiteX182" fmla="*/ 4303268 w 12192000"/>
                <a:gd name="connsiteY182" fmla="*/ 62144 h 897199"/>
                <a:gd name="connsiteX183" fmla="*/ 4493334 w 12192000"/>
                <a:gd name="connsiteY183" fmla="*/ 229065 h 897199"/>
                <a:gd name="connsiteX184" fmla="*/ 4298597 w 12192000"/>
                <a:gd name="connsiteY184" fmla="*/ 449286 h 897199"/>
                <a:gd name="connsiteX185" fmla="*/ 4511897 w 12192000"/>
                <a:gd name="connsiteY185" fmla="*/ 686902 h 897199"/>
                <a:gd name="connsiteX186" fmla="*/ 4581437 w 12192000"/>
                <a:gd name="connsiteY186" fmla="*/ 441163 h 897199"/>
                <a:gd name="connsiteX187" fmla="*/ 4650986 w 12192000"/>
                <a:gd name="connsiteY187" fmla="*/ 441163 h 897199"/>
                <a:gd name="connsiteX188" fmla="*/ 4560575 w 12192000"/>
                <a:gd name="connsiteY188" fmla="*/ 733249 h 897199"/>
                <a:gd name="connsiteX189" fmla="*/ 4698510 w 12192000"/>
                <a:gd name="connsiteY189" fmla="*/ 882800 h 897199"/>
                <a:gd name="connsiteX190" fmla="*/ 3535960 w 12192000"/>
                <a:gd name="connsiteY190" fmla="*/ 836446 h 897199"/>
                <a:gd name="connsiteX191" fmla="*/ 3603201 w 12192000"/>
                <a:gd name="connsiteY191" fmla="*/ 822529 h 897199"/>
                <a:gd name="connsiteX192" fmla="*/ 3607824 w 12192000"/>
                <a:gd name="connsiteY192" fmla="*/ 882800 h 897199"/>
                <a:gd name="connsiteX193" fmla="*/ 3518591 w 12192000"/>
                <a:gd name="connsiteY193" fmla="*/ 899048 h 897199"/>
                <a:gd name="connsiteX194" fmla="*/ 3384109 w 12192000"/>
                <a:gd name="connsiteY194" fmla="*/ 701963 h 897199"/>
                <a:gd name="connsiteX195" fmla="*/ 3384109 w 12192000"/>
                <a:gd name="connsiteY195" fmla="*/ 356577 h 897199"/>
                <a:gd name="connsiteX196" fmla="*/ 3268213 w 12192000"/>
                <a:gd name="connsiteY196" fmla="*/ 356577 h 897199"/>
                <a:gd name="connsiteX197" fmla="*/ 3268213 w 12192000"/>
                <a:gd name="connsiteY197" fmla="*/ 293982 h 897199"/>
                <a:gd name="connsiteX198" fmla="*/ 3384109 w 12192000"/>
                <a:gd name="connsiteY198" fmla="*/ 293982 h 897199"/>
                <a:gd name="connsiteX199" fmla="*/ 3384109 w 12192000"/>
                <a:gd name="connsiteY199" fmla="*/ 151376 h 897199"/>
                <a:gd name="connsiteX200" fmla="*/ 3457150 w 12192000"/>
                <a:gd name="connsiteY200" fmla="*/ 125884 h 897199"/>
                <a:gd name="connsiteX201" fmla="*/ 3457150 w 12192000"/>
                <a:gd name="connsiteY201" fmla="*/ 293958 h 897199"/>
                <a:gd name="connsiteX202" fmla="*/ 3591584 w 12192000"/>
                <a:gd name="connsiteY202" fmla="*/ 293958 h 897199"/>
                <a:gd name="connsiteX203" fmla="*/ 3591584 w 12192000"/>
                <a:gd name="connsiteY203" fmla="*/ 356553 h 897199"/>
                <a:gd name="connsiteX204" fmla="*/ 3457150 w 12192000"/>
                <a:gd name="connsiteY204" fmla="*/ 356553 h 897199"/>
                <a:gd name="connsiteX205" fmla="*/ 3457150 w 12192000"/>
                <a:gd name="connsiteY205" fmla="*/ 739049 h 897199"/>
                <a:gd name="connsiteX206" fmla="*/ 3535960 w 12192000"/>
                <a:gd name="connsiteY206" fmla="*/ 836421 h 897199"/>
                <a:gd name="connsiteX207" fmla="*/ 3176673 w 12192000"/>
                <a:gd name="connsiteY207" fmla="*/ 356553 h 897199"/>
                <a:gd name="connsiteX208" fmla="*/ 3029469 w 12192000"/>
                <a:gd name="connsiteY208" fmla="*/ 593014 h 897199"/>
                <a:gd name="connsiteX209" fmla="*/ 3029469 w 12192000"/>
                <a:gd name="connsiteY209" fmla="*/ 885100 h 897199"/>
                <a:gd name="connsiteX210" fmla="*/ 2956451 w 12192000"/>
                <a:gd name="connsiteY210" fmla="*/ 885100 h 897199"/>
                <a:gd name="connsiteX211" fmla="*/ 2956451 w 12192000"/>
                <a:gd name="connsiteY211" fmla="*/ 426117 h 897199"/>
                <a:gd name="connsiteX212" fmla="*/ 2951789 w 12192000"/>
                <a:gd name="connsiteY212" fmla="*/ 293982 h 897199"/>
                <a:gd name="connsiteX213" fmla="*/ 3024822 w 12192000"/>
                <a:gd name="connsiteY213" fmla="*/ 293982 h 897199"/>
                <a:gd name="connsiteX214" fmla="*/ 3024822 w 12192000"/>
                <a:gd name="connsiteY214" fmla="*/ 407554 h 897199"/>
                <a:gd name="connsiteX215" fmla="*/ 3027169 w 12192000"/>
                <a:gd name="connsiteY215" fmla="*/ 407554 h 897199"/>
                <a:gd name="connsiteX216" fmla="*/ 3178997 w 12192000"/>
                <a:gd name="connsiteY216" fmla="*/ 280066 h 897199"/>
                <a:gd name="connsiteX217" fmla="*/ 3229974 w 12192000"/>
                <a:gd name="connsiteY217" fmla="*/ 287036 h 897199"/>
                <a:gd name="connsiteX218" fmla="*/ 3229974 w 12192000"/>
                <a:gd name="connsiteY218" fmla="*/ 363523 h 897199"/>
                <a:gd name="connsiteX219" fmla="*/ 3176673 w 12192000"/>
                <a:gd name="connsiteY219" fmla="*/ 356577 h 897199"/>
                <a:gd name="connsiteX220" fmla="*/ 2483569 w 12192000"/>
                <a:gd name="connsiteY220" fmla="*/ 152546 h 897199"/>
                <a:gd name="connsiteX221" fmla="*/ 2307402 w 12192000"/>
                <a:gd name="connsiteY221" fmla="*/ 598790 h 897199"/>
                <a:gd name="connsiteX222" fmla="*/ 2658589 w 12192000"/>
                <a:gd name="connsiteY222" fmla="*/ 598790 h 897199"/>
                <a:gd name="connsiteX223" fmla="*/ 2483569 w 12192000"/>
                <a:gd name="connsiteY223" fmla="*/ 152546 h 897199"/>
                <a:gd name="connsiteX224" fmla="*/ 2772185 w 12192000"/>
                <a:gd name="connsiteY224" fmla="*/ 885100 h 897199"/>
                <a:gd name="connsiteX225" fmla="*/ 2685252 w 12192000"/>
                <a:gd name="connsiteY225" fmla="*/ 668355 h 897199"/>
                <a:gd name="connsiteX226" fmla="*/ 2277247 w 12192000"/>
                <a:gd name="connsiteY226" fmla="*/ 668355 h 897199"/>
                <a:gd name="connsiteX227" fmla="*/ 2190297 w 12192000"/>
                <a:gd name="connsiteY227" fmla="*/ 885100 h 897199"/>
                <a:gd name="connsiteX228" fmla="*/ 2112665 w 12192000"/>
                <a:gd name="connsiteY228" fmla="*/ 885100 h 897199"/>
                <a:gd name="connsiteX229" fmla="*/ 2444168 w 12192000"/>
                <a:gd name="connsiteY229" fmla="*/ 76036 h 897199"/>
                <a:gd name="connsiteX230" fmla="*/ 2534570 w 12192000"/>
                <a:gd name="connsiteY230" fmla="*/ 76036 h 897199"/>
                <a:gd name="connsiteX231" fmla="*/ 2855650 w 12192000"/>
                <a:gd name="connsiteY231" fmla="*/ 885100 h 897199"/>
                <a:gd name="connsiteX232" fmla="*/ 1508762 w 12192000"/>
                <a:gd name="connsiteY232" fmla="*/ 342637 h 897199"/>
                <a:gd name="connsiteX233" fmla="*/ 1334911 w 12192000"/>
                <a:gd name="connsiteY233" fmla="*/ 547789 h 897199"/>
                <a:gd name="connsiteX234" fmla="*/ 1659451 w 12192000"/>
                <a:gd name="connsiteY234" fmla="*/ 547789 h 897199"/>
                <a:gd name="connsiteX235" fmla="*/ 1508778 w 12192000"/>
                <a:gd name="connsiteY235" fmla="*/ 342637 h 897199"/>
                <a:gd name="connsiteX236" fmla="*/ 1334911 w 12192000"/>
                <a:gd name="connsiteY236" fmla="*/ 610383 h 897199"/>
                <a:gd name="connsiteX237" fmla="*/ 1529640 w 12192000"/>
                <a:gd name="connsiteY237" fmla="*/ 836421 h 897199"/>
                <a:gd name="connsiteX238" fmla="*/ 1695391 w 12192000"/>
                <a:gd name="connsiteY238" fmla="*/ 792358 h 897199"/>
                <a:gd name="connsiteX239" fmla="*/ 1695391 w 12192000"/>
                <a:gd name="connsiteY239" fmla="*/ 866521 h 897199"/>
                <a:gd name="connsiteX240" fmla="*/ 1523847 w 12192000"/>
                <a:gd name="connsiteY240" fmla="*/ 899008 h 897199"/>
                <a:gd name="connsiteX241" fmla="*/ 1254915 w 12192000"/>
                <a:gd name="connsiteY241" fmla="*/ 589505 h 897199"/>
                <a:gd name="connsiteX242" fmla="*/ 1504147 w 12192000"/>
                <a:gd name="connsiteY242" fmla="*/ 280026 h 897199"/>
                <a:gd name="connsiteX243" fmla="*/ 1739447 w 12192000"/>
                <a:gd name="connsiteY243" fmla="*/ 573249 h 897199"/>
                <a:gd name="connsiteX244" fmla="*/ 1739447 w 12192000"/>
                <a:gd name="connsiteY244" fmla="*/ 610359 h 897199"/>
                <a:gd name="connsiteX245" fmla="*/ 1048633 w 12192000"/>
                <a:gd name="connsiteY245" fmla="*/ 885100 h 897199"/>
                <a:gd name="connsiteX246" fmla="*/ 1048633 w 12192000"/>
                <a:gd name="connsiteY246" fmla="*/ 532743 h 897199"/>
                <a:gd name="connsiteX247" fmla="*/ 908375 w 12192000"/>
                <a:gd name="connsiteY247" fmla="*/ 342661 h 897199"/>
                <a:gd name="connsiteX248" fmla="*/ 733346 w 12192000"/>
                <a:gd name="connsiteY248" fmla="*/ 568675 h 897199"/>
                <a:gd name="connsiteX249" fmla="*/ 733346 w 12192000"/>
                <a:gd name="connsiteY249" fmla="*/ 885132 h 897199"/>
                <a:gd name="connsiteX250" fmla="*/ 660393 w 12192000"/>
                <a:gd name="connsiteY250" fmla="*/ 885132 h 897199"/>
                <a:gd name="connsiteX251" fmla="*/ 660393 w 12192000"/>
                <a:gd name="connsiteY251" fmla="*/ 15789 h 897199"/>
                <a:gd name="connsiteX252" fmla="*/ 733402 w 12192000"/>
                <a:gd name="connsiteY252" fmla="*/ 15789 h 897199"/>
                <a:gd name="connsiteX253" fmla="*/ 733402 w 12192000"/>
                <a:gd name="connsiteY253" fmla="*/ 393638 h 897199"/>
                <a:gd name="connsiteX254" fmla="*/ 735734 w 12192000"/>
                <a:gd name="connsiteY254" fmla="*/ 393638 h 897199"/>
                <a:gd name="connsiteX255" fmla="*/ 920039 w 12192000"/>
                <a:gd name="connsiteY255" fmla="*/ 280066 h 897199"/>
                <a:gd name="connsiteX256" fmla="*/ 1121731 w 12192000"/>
                <a:gd name="connsiteY256" fmla="*/ 531573 h 897199"/>
                <a:gd name="connsiteX257" fmla="*/ 1121731 w 12192000"/>
                <a:gd name="connsiteY257" fmla="*/ 885124 h 897199"/>
                <a:gd name="connsiteX258" fmla="*/ 325373 w 12192000"/>
                <a:gd name="connsiteY258" fmla="*/ 145576 h 897199"/>
                <a:gd name="connsiteX259" fmla="*/ 325373 w 12192000"/>
                <a:gd name="connsiteY259" fmla="*/ 885100 h 897199"/>
                <a:gd name="connsiteX260" fmla="*/ 245410 w 12192000"/>
                <a:gd name="connsiteY260" fmla="*/ 885100 h 897199"/>
                <a:gd name="connsiteX261" fmla="*/ 245410 w 12192000"/>
                <a:gd name="connsiteY261" fmla="*/ 145600 h 897199"/>
                <a:gd name="connsiteX262" fmla="*/ 6649 w 12192000"/>
                <a:gd name="connsiteY262" fmla="*/ 145600 h 897199"/>
                <a:gd name="connsiteX263" fmla="*/ 6649 w 12192000"/>
                <a:gd name="connsiteY263" fmla="*/ 76060 h 897199"/>
                <a:gd name="connsiteX264" fmla="*/ 564190 w 12192000"/>
                <a:gd name="connsiteY264" fmla="*/ 76060 h 897199"/>
                <a:gd name="connsiteX265" fmla="*/ 564190 w 12192000"/>
                <a:gd name="connsiteY265" fmla="*/ 145600 h 89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2192000" h="897199">
                  <a:moveTo>
                    <a:pt x="12198649" y="885124"/>
                  </a:moveTo>
                  <a:lnTo>
                    <a:pt x="12097839" y="885124"/>
                  </a:lnTo>
                  <a:lnTo>
                    <a:pt x="11805730" y="581421"/>
                  </a:lnTo>
                  <a:lnTo>
                    <a:pt x="11805730" y="885124"/>
                  </a:lnTo>
                  <a:lnTo>
                    <a:pt x="11732688" y="885124"/>
                  </a:lnTo>
                  <a:lnTo>
                    <a:pt x="11732688" y="15789"/>
                  </a:lnTo>
                  <a:lnTo>
                    <a:pt x="11805730" y="15789"/>
                  </a:lnTo>
                  <a:lnTo>
                    <a:pt x="11805730" y="536236"/>
                  </a:lnTo>
                  <a:lnTo>
                    <a:pt x="12070007" y="293982"/>
                  </a:lnTo>
                  <a:lnTo>
                    <a:pt x="12163887" y="293982"/>
                  </a:lnTo>
                  <a:lnTo>
                    <a:pt x="11875270" y="555961"/>
                  </a:lnTo>
                  <a:lnTo>
                    <a:pt x="12198649" y="885124"/>
                  </a:lnTo>
                  <a:close/>
                  <a:moveTo>
                    <a:pt x="11444120" y="342661"/>
                  </a:moveTo>
                  <a:cubicBezTo>
                    <a:pt x="11368811" y="342661"/>
                    <a:pt x="11316608" y="365822"/>
                    <a:pt x="11316608" y="441203"/>
                  </a:cubicBezTo>
                  <a:cubicBezTo>
                    <a:pt x="11316608" y="551346"/>
                    <a:pt x="11607548" y="537430"/>
                    <a:pt x="11607548" y="730989"/>
                  </a:cubicBezTo>
                  <a:cubicBezTo>
                    <a:pt x="11607548" y="856178"/>
                    <a:pt x="11490475" y="899088"/>
                    <a:pt x="11401218" y="899088"/>
                  </a:cubicBezTo>
                  <a:cubicBezTo>
                    <a:pt x="11344424" y="899088"/>
                    <a:pt x="11287622" y="892118"/>
                    <a:pt x="11235475" y="871248"/>
                  </a:cubicBezTo>
                  <a:lnTo>
                    <a:pt x="11242445" y="799384"/>
                  </a:lnTo>
                  <a:cubicBezTo>
                    <a:pt x="11286468" y="821424"/>
                    <a:pt x="11339793" y="836485"/>
                    <a:pt x="11396595" y="836485"/>
                  </a:cubicBezTo>
                  <a:cubicBezTo>
                    <a:pt x="11466136" y="836485"/>
                    <a:pt x="11527584" y="798214"/>
                    <a:pt x="11527584" y="730989"/>
                  </a:cubicBezTo>
                  <a:cubicBezTo>
                    <a:pt x="11527584" y="590731"/>
                    <a:pt x="11243590" y="612770"/>
                    <a:pt x="11243590" y="441203"/>
                  </a:cubicBezTo>
                  <a:cubicBezTo>
                    <a:pt x="11243590" y="324130"/>
                    <a:pt x="11338647" y="280106"/>
                    <a:pt x="11436004" y="280106"/>
                  </a:cubicBezTo>
                  <a:cubicBezTo>
                    <a:pt x="11467289" y="280106"/>
                    <a:pt x="11529884" y="287076"/>
                    <a:pt x="11582055" y="306761"/>
                  </a:cubicBezTo>
                  <a:lnTo>
                    <a:pt x="11575085" y="370533"/>
                  </a:lnTo>
                  <a:cubicBezTo>
                    <a:pt x="11536830" y="353116"/>
                    <a:pt x="11484682" y="342701"/>
                    <a:pt x="11444120" y="342701"/>
                  </a:cubicBezTo>
                  <a:close/>
                  <a:moveTo>
                    <a:pt x="11036115" y="38950"/>
                  </a:moveTo>
                  <a:lnTo>
                    <a:pt x="11109148" y="38950"/>
                  </a:lnTo>
                  <a:lnTo>
                    <a:pt x="11109148" y="136339"/>
                  </a:lnTo>
                  <a:lnTo>
                    <a:pt x="11036115" y="136339"/>
                  </a:lnTo>
                  <a:lnTo>
                    <a:pt x="11036115" y="38950"/>
                  </a:lnTo>
                  <a:close/>
                  <a:moveTo>
                    <a:pt x="11036115" y="885124"/>
                  </a:moveTo>
                  <a:lnTo>
                    <a:pt x="11036115" y="293982"/>
                  </a:lnTo>
                  <a:lnTo>
                    <a:pt x="11109148" y="293982"/>
                  </a:lnTo>
                  <a:lnTo>
                    <a:pt x="11109148" y="885124"/>
                  </a:lnTo>
                  <a:close/>
                  <a:moveTo>
                    <a:pt x="10570226" y="145600"/>
                  </a:moveTo>
                  <a:lnTo>
                    <a:pt x="10487892" y="145600"/>
                  </a:lnTo>
                  <a:lnTo>
                    <a:pt x="10487892" y="434217"/>
                  </a:lnTo>
                  <a:lnTo>
                    <a:pt x="10572525" y="434217"/>
                  </a:lnTo>
                  <a:cubicBezTo>
                    <a:pt x="10666405" y="434217"/>
                    <a:pt x="10774209" y="398309"/>
                    <a:pt x="10774209" y="285859"/>
                  </a:cubicBezTo>
                  <a:cubicBezTo>
                    <a:pt x="10774209" y="153724"/>
                    <a:pt x="10680321" y="145600"/>
                    <a:pt x="10570226" y="145600"/>
                  </a:cubicBezTo>
                  <a:close/>
                  <a:moveTo>
                    <a:pt x="10674529" y="472472"/>
                  </a:moveTo>
                  <a:lnTo>
                    <a:pt x="10674529" y="474795"/>
                  </a:lnTo>
                  <a:cubicBezTo>
                    <a:pt x="10739423" y="482895"/>
                    <a:pt x="10753339" y="517673"/>
                    <a:pt x="10778855" y="572176"/>
                  </a:cubicBezTo>
                  <a:lnTo>
                    <a:pt x="10916799" y="885124"/>
                  </a:lnTo>
                  <a:lnTo>
                    <a:pt x="10828671" y="885124"/>
                  </a:lnTo>
                  <a:lnTo>
                    <a:pt x="10711598" y="611561"/>
                  </a:lnTo>
                  <a:cubicBezTo>
                    <a:pt x="10665235" y="507274"/>
                    <a:pt x="10630473" y="503757"/>
                    <a:pt x="10553987" y="503757"/>
                  </a:cubicBezTo>
                  <a:lnTo>
                    <a:pt x="10487892" y="503757"/>
                  </a:lnTo>
                  <a:lnTo>
                    <a:pt x="10487892" y="885108"/>
                  </a:lnTo>
                  <a:lnTo>
                    <a:pt x="10407928" y="885108"/>
                  </a:lnTo>
                  <a:lnTo>
                    <a:pt x="10407928" y="76060"/>
                  </a:lnTo>
                  <a:lnTo>
                    <a:pt x="10616581" y="76060"/>
                  </a:lnTo>
                  <a:cubicBezTo>
                    <a:pt x="10760285" y="76060"/>
                    <a:pt x="10854188" y="137484"/>
                    <a:pt x="10854188" y="285859"/>
                  </a:cubicBezTo>
                  <a:cubicBezTo>
                    <a:pt x="10854188" y="390185"/>
                    <a:pt x="10774209" y="459710"/>
                    <a:pt x="10674529" y="472472"/>
                  </a:cubicBezTo>
                  <a:close/>
                  <a:moveTo>
                    <a:pt x="9970977" y="77229"/>
                  </a:moveTo>
                  <a:cubicBezTo>
                    <a:pt x="9955908" y="69114"/>
                    <a:pt x="9933916" y="64483"/>
                    <a:pt x="9913053" y="64483"/>
                  </a:cubicBezTo>
                  <a:cubicBezTo>
                    <a:pt x="9813350" y="64483"/>
                    <a:pt x="9823773" y="172263"/>
                    <a:pt x="9823773" y="242981"/>
                  </a:cubicBezTo>
                  <a:lnTo>
                    <a:pt x="9823773" y="293982"/>
                  </a:lnTo>
                  <a:lnTo>
                    <a:pt x="9957061" y="293982"/>
                  </a:lnTo>
                  <a:lnTo>
                    <a:pt x="9957061" y="356577"/>
                  </a:lnTo>
                  <a:lnTo>
                    <a:pt x="9823773" y="356577"/>
                  </a:lnTo>
                  <a:lnTo>
                    <a:pt x="9823773" y="885124"/>
                  </a:lnTo>
                  <a:lnTo>
                    <a:pt x="9750755" y="885124"/>
                  </a:lnTo>
                  <a:lnTo>
                    <a:pt x="9750755" y="356577"/>
                  </a:lnTo>
                  <a:lnTo>
                    <a:pt x="9631383" y="356577"/>
                  </a:lnTo>
                  <a:lnTo>
                    <a:pt x="9631383" y="293982"/>
                  </a:lnTo>
                  <a:lnTo>
                    <a:pt x="9750755" y="293982"/>
                  </a:lnTo>
                  <a:lnTo>
                    <a:pt x="9750755" y="251096"/>
                  </a:lnTo>
                  <a:cubicBezTo>
                    <a:pt x="9750755" y="127061"/>
                    <a:pt x="9755378" y="1889"/>
                    <a:pt x="9907229" y="1889"/>
                  </a:cubicBezTo>
                  <a:cubicBezTo>
                    <a:pt x="9930463" y="1889"/>
                    <a:pt x="9961708" y="5342"/>
                    <a:pt x="9975624" y="13465"/>
                  </a:cubicBezTo>
                  <a:lnTo>
                    <a:pt x="9970977" y="77229"/>
                  </a:lnTo>
                  <a:close/>
                  <a:moveTo>
                    <a:pt x="9292942" y="342661"/>
                  </a:moveTo>
                  <a:cubicBezTo>
                    <a:pt x="9165430" y="342661"/>
                    <a:pt x="9097060" y="452780"/>
                    <a:pt x="9097060" y="589545"/>
                  </a:cubicBezTo>
                  <a:cubicBezTo>
                    <a:pt x="9097060" y="726310"/>
                    <a:pt x="9165430" y="836446"/>
                    <a:pt x="9292942" y="836446"/>
                  </a:cubicBezTo>
                  <a:cubicBezTo>
                    <a:pt x="9420454" y="836446"/>
                    <a:pt x="9488825" y="726302"/>
                    <a:pt x="9488825" y="589545"/>
                  </a:cubicBezTo>
                  <a:cubicBezTo>
                    <a:pt x="9488825" y="452788"/>
                    <a:pt x="9420431" y="342661"/>
                    <a:pt x="9292942" y="342661"/>
                  </a:cubicBezTo>
                  <a:close/>
                  <a:moveTo>
                    <a:pt x="9292942" y="899048"/>
                  </a:moveTo>
                  <a:cubicBezTo>
                    <a:pt x="9101682" y="899048"/>
                    <a:pt x="9017048" y="750666"/>
                    <a:pt x="9017048" y="589545"/>
                  </a:cubicBezTo>
                  <a:cubicBezTo>
                    <a:pt x="9017048" y="428424"/>
                    <a:pt x="9101682" y="280066"/>
                    <a:pt x="9292942" y="280066"/>
                  </a:cubicBezTo>
                  <a:cubicBezTo>
                    <a:pt x="9484202" y="280066"/>
                    <a:pt x="9568813" y="428416"/>
                    <a:pt x="9568813" y="589545"/>
                  </a:cubicBezTo>
                  <a:cubicBezTo>
                    <a:pt x="9568813" y="750674"/>
                    <a:pt x="9484179" y="899040"/>
                    <a:pt x="9292942" y="899040"/>
                  </a:cubicBezTo>
                  <a:close/>
                  <a:moveTo>
                    <a:pt x="8381940" y="342661"/>
                  </a:moveTo>
                  <a:cubicBezTo>
                    <a:pt x="8274144" y="342661"/>
                    <a:pt x="8208089" y="450432"/>
                    <a:pt x="8208089" y="547813"/>
                  </a:cubicBezTo>
                  <a:lnTo>
                    <a:pt x="8532661" y="547813"/>
                  </a:lnTo>
                  <a:cubicBezTo>
                    <a:pt x="8532661" y="444656"/>
                    <a:pt x="8490929" y="342661"/>
                    <a:pt x="8381956" y="342661"/>
                  </a:cubicBezTo>
                  <a:close/>
                  <a:moveTo>
                    <a:pt x="8208089" y="610407"/>
                  </a:moveTo>
                  <a:cubicBezTo>
                    <a:pt x="8208089" y="735596"/>
                    <a:pt x="8275306" y="836446"/>
                    <a:pt x="8402826" y="836446"/>
                  </a:cubicBezTo>
                  <a:cubicBezTo>
                    <a:pt x="8456143" y="836446"/>
                    <a:pt x="8533791" y="814414"/>
                    <a:pt x="8568569" y="792382"/>
                  </a:cubicBezTo>
                  <a:lnTo>
                    <a:pt x="8568569" y="866545"/>
                  </a:lnTo>
                  <a:cubicBezTo>
                    <a:pt x="8517591" y="887415"/>
                    <a:pt x="8451496" y="899032"/>
                    <a:pt x="8397025" y="899032"/>
                  </a:cubicBezTo>
                  <a:cubicBezTo>
                    <a:pt x="8201119" y="899032"/>
                    <a:pt x="8128125" y="766889"/>
                    <a:pt x="8128125" y="589529"/>
                  </a:cubicBezTo>
                  <a:cubicBezTo>
                    <a:pt x="8128125" y="408708"/>
                    <a:pt x="8227781" y="280050"/>
                    <a:pt x="8377333" y="280050"/>
                  </a:cubicBezTo>
                  <a:cubicBezTo>
                    <a:pt x="8544230" y="280050"/>
                    <a:pt x="8612624" y="414484"/>
                    <a:pt x="8612624" y="573274"/>
                  </a:cubicBezTo>
                  <a:lnTo>
                    <a:pt x="8612624" y="610383"/>
                  </a:lnTo>
                  <a:close/>
                  <a:moveTo>
                    <a:pt x="7921843" y="342661"/>
                  </a:moveTo>
                  <a:cubicBezTo>
                    <a:pt x="7779237" y="342661"/>
                    <a:pt x="7699274" y="445810"/>
                    <a:pt x="7699274" y="589545"/>
                  </a:cubicBezTo>
                  <a:cubicBezTo>
                    <a:pt x="7699274" y="724003"/>
                    <a:pt x="7780415" y="836446"/>
                    <a:pt x="7913720" y="836446"/>
                  </a:cubicBezTo>
                  <a:cubicBezTo>
                    <a:pt x="7960075" y="836446"/>
                    <a:pt x="8002960" y="826030"/>
                    <a:pt x="8047008" y="809767"/>
                  </a:cubicBezTo>
                  <a:lnTo>
                    <a:pt x="8053978" y="878178"/>
                  </a:lnTo>
                  <a:cubicBezTo>
                    <a:pt x="8004130" y="895547"/>
                    <a:pt x="7957775" y="899048"/>
                    <a:pt x="7902127" y="899048"/>
                  </a:cubicBezTo>
                  <a:cubicBezTo>
                    <a:pt x="7712045" y="899048"/>
                    <a:pt x="7619319" y="754119"/>
                    <a:pt x="7619319" y="589545"/>
                  </a:cubicBezTo>
                  <a:cubicBezTo>
                    <a:pt x="7619319" y="407554"/>
                    <a:pt x="7736392" y="280066"/>
                    <a:pt x="7911428" y="280066"/>
                  </a:cubicBezTo>
                  <a:cubicBezTo>
                    <a:pt x="7982122" y="280066"/>
                    <a:pt x="8033148" y="296282"/>
                    <a:pt x="8054034" y="303228"/>
                  </a:cubicBezTo>
                  <a:lnTo>
                    <a:pt x="8048242" y="372768"/>
                  </a:lnTo>
                  <a:cubicBezTo>
                    <a:pt x="8008809" y="355399"/>
                    <a:pt x="7961284" y="342661"/>
                    <a:pt x="7921899" y="342661"/>
                  </a:cubicBezTo>
                  <a:close/>
                  <a:moveTo>
                    <a:pt x="7413005" y="885124"/>
                  </a:moveTo>
                  <a:lnTo>
                    <a:pt x="7413005" y="525773"/>
                  </a:lnTo>
                  <a:cubicBezTo>
                    <a:pt x="7413005" y="414500"/>
                    <a:pt x="7373596" y="342661"/>
                    <a:pt x="7272746" y="342661"/>
                  </a:cubicBezTo>
                  <a:cubicBezTo>
                    <a:pt x="7139458" y="342661"/>
                    <a:pt x="7097726" y="459726"/>
                    <a:pt x="7097726" y="558252"/>
                  </a:cubicBezTo>
                  <a:lnTo>
                    <a:pt x="7097726" y="885124"/>
                  </a:lnTo>
                  <a:lnTo>
                    <a:pt x="7024708" y="885124"/>
                  </a:lnTo>
                  <a:lnTo>
                    <a:pt x="7024708" y="433063"/>
                  </a:lnTo>
                  <a:cubicBezTo>
                    <a:pt x="7024708" y="387862"/>
                    <a:pt x="7024708" y="341507"/>
                    <a:pt x="7020062" y="293982"/>
                  </a:cubicBezTo>
                  <a:lnTo>
                    <a:pt x="7090756" y="293982"/>
                  </a:lnTo>
                  <a:lnTo>
                    <a:pt x="7090756" y="399431"/>
                  </a:lnTo>
                  <a:lnTo>
                    <a:pt x="7093103" y="399431"/>
                  </a:lnTo>
                  <a:cubicBezTo>
                    <a:pt x="7117418" y="346130"/>
                    <a:pt x="7161474" y="280058"/>
                    <a:pt x="7284363" y="280058"/>
                  </a:cubicBezTo>
                  <a:cubicBezTo>
                    <a:pt x="7430422" y="280058"/>
                    <a:pt x="7486046" y="377431"/>
                    <a:pt x="7486046" y="507250"/>
                  </a:cubicBezTo>
                  <a:lnTo>
                    <a:pt x="7486046" y="885116"/>
                  </a:lnTo>
                  <a:close/>
                  <a:moveTo>
                    <a:pt x="6660783" y="342661"/>
                  </a:moveTo>
                  <a:cubicBezTo>
                    <a:pt x="6552979" y="342661"/>
                    <a:pt x="6486932" y="450432"/>
                    <a:pt x="6486932" y="547813"/>
                  </a:cubicBezTo>
                  <a:lnTo>
                    <a:pt x="6811464" y="547813"/>
                  </a:lnTo>
                  <a:cubicBezTo>
                    <a:pt x="6811464" y="444656"/>
                    <a:pt x="6769732" y="342661"/>
                    <a:pt x="6660807" y="342661"/>
                  </a:cubicBezTo>
                  <a:close/>
                  <a:moveTo>
                    <a:pt x="6486932" y="610407"/>
                  </a:moveTo>
                  <a:cubicBezTo>
                    <a:pt x="6486932" y="735596"/>
                    <a:pt x="6554157" y="836446"/>
                    <a:pt x="6681669" y="836446"/>
                  </a:cubicBezTo>
                  <a:cubicBezTo>
                    <a:pt x="6734970" y="836446"/>
                    <a:pt x="6812634" y="814414"/>
                    <a:pt x="6847412" y="792382"/>
                  </a:cubicBezTo>
                  <a:lnTo>
                    <a:pt x="6847412" y="866545"/>
                  </a:lnTo>
                  <a:cubicBezTo>
                    <a:pt x="6796419" y="887415"/>
                    <a:pt x="6730347" y="899032"/>
                    <a:pt x="6675869" y="899032"/>
                  </a:cubicBezTo>
                  <a:cubicBezTo>
                    <a:pt x="6479970" y="899032"/>
                    <a:pt x="6406969" y="766889"/>
                    <a:pt x="6406969" y="589529"/>
                  </a:cubicBezTo>
                  <a:cubicBezTo>
                    <a:pt x="6406969" y="408708"/>
                    <a:pt x="6506624" y="280050"/>
                    <a:pt x="6656128" y="280050"/>
                  </a:cubicBezTo>
                  <a:cubicBezTo>
                    <a:pt x="6823041" y="280050"/>
                    <a:pt x="6891436" y="414484"/>
                    <a:pt x="6891436" y="573274"/>
                  </a:cubicBezTo>
                  <a:lnTo>
                    <a:pt x="6891436" y="610383"/>
                  </a:lnTo>
                  <a:close/>
                  <a:moveTo>
                    <a:pt x="6199429" y="38950"/>
                  </a:moveTo>
                  <a:lnTo>
                    <a:pt x="6272494" y="38950"/>
                  </a:lnTo>
                  <a:lnTo>
                    <a:pt x="6272494" y="136339"/>
                  </a:lnTo>
                  <a:lnTo>
                    <a:pt x="6199429" y="136339"/>
                  </a:lnTo>
                  <a:lnTo>
                    <a:pt x="6199429" y="38950"/>
                  </a:lnTo>
                  <a:close/>
                  <a:moveTo>
                    <a:pt x="6199429" y="885124"/>
                  </a:moveTo>
                  <a:lnTo>
                    <a:pt x="6199429" y="293982"/>
                  </a:lnTo>
                  <a:lnTo>
                    <a:pt x="6272494" y="293982"/>
                  </a:lnTo>
                  <a:lnTo>
                    <a:pt x="6272494" y="885124"/>
                  </a:lnTo>
                  <a:close/>
                  <a:moveTo>
                    <a:pt x="5949116" y="342661"/>
                  </a:moveTo>
                  <a:cubicBezTo>
                    <a:pt x="5806510" y="342661"/>
                    <a:pt x="5726570" y="445810"/>
                    <a:pt x="5726570" y="589545"/>
                  </a:cubicBezTo>
                  <a:cubicBezTo>
                    <a:pt x="5726570" y="724003"/>
                    <a:pt x="5807687" y="836446"/>
                    <a:pt x="5940992" y="836446"/>
                  </a:cubicBezTo>
                  <a:cubicBezTo>
                    <a:pt x="5987347" y="836446"/>
                    <a:pt x="6030233" y="826030"/>
                    <a:pt x="6074280" y="809767"/>
                  </a:cubicBezTo>
                  <a:lnTo>
                    <a:pt x="6081250" y="878178"/>
                  </a:lnTo>
                  <a:cubicBezTo>
                    <a:pt x="6031402" y="895547"/>
                    <a:pt x="5985048" y="899040"/>
                    <a:pt x="5929399" y="899040"/>
                  </a:cubicBezTo>
                  <a:cubicBezTo>
                    <a:pt x="5739317" y="899040"/>
                    <a:pt x="5646591" y="754111"/>
                    <a:pt x="5646591" y="589537"/>
                  </a:cubicBezTo>
                  <a:cubicBezTo>
                    <a:pt x="5646591" y="407546"/>
                    <a:pt x="5763688" y="280058"/>
                    <a:pt x="5938701" y="280058"/>
                  </a:cubicBezTo>
                  <a:cubicBezTo>
                    <a:pt x="6009419" y="280058"/>
                    <a:pt x="6060420" y="296274"/>
                    <a:pt x="6081306" y="303220"/>
                  </a:cubicBezTo>
                  <a:lnTo>
                    <a:pt x="6075514" y="372760"/>
                  </a:lnTo>
                  <a:cubicBezTo>
                    <a:pt x="6036081" y="355391"/>
                    <a:pt x="5988581" y="342653"/>
                    <a:pt x="5949172" y="342653"/>
                  </a:cubicBezTo>
                  <a:close/>
                  <a:moveTo>
                    <a:pt x="5347551" y="131708"/>
                  </a:moveTo>
                  <a:cubicBezTo>
                    <a:pt x="5264087" y="131708"/>
                    <a:pt x="5172555" y="166470"/>
                    <a:pt x="5172555" y="270789"/>
                  </a:cubicBezTo>
                  <a:cubicBezTo>
                    <a:pt x="5172555" y="433063"/>
                    <a:pt x="5543434" y="434225"/>
                    <a:pt x="5543434" y="670678"/>
                  </a:cubicBezTo>
                  <a:cubicBezTo>
                    <a:pt x="5543442" y="834146"/>
                    <a:pt x="5403192" y="899040"/>
                    <a:pt x="5278003" y="899040"/>
                  </a:cubicBezTo>
                  <a:cubicBezTo>
                    <a:pt x="5199193" y="899040"/>
                    <a:pt x="5137800" y="882792"/>
                    <a:pt x="5094890" y="864254"/>
                  </a:cubicBezTo>
                  <a:lnTo>
                    <a:pt x="5103006" y="781943"/>
                  </a:lnTo>
                  <a:cubicBezTo>
                    <a:pt x="5150515" y="812082"/>
                    <a:pt x="5206163" y="829467"/>
                    <a:pt x="5281504" y="829467"/>
                  </a:cubicBezTo>
                  <a:cubicBezTo>
                    <a:pt x="5381176" y="829467"/>
                    <a:pt x="5463463" y="778474"/>
                    <a:pt x="5463463" y="663700"/>
                  </a:cubicBezTo>
                  <a:cubicBezTo>
                    <a:pt x="5463463" y="504927"/>
                    <a:pt x="5092567" y="485210"/>
                    <a:pt x="5092567" y="273104"/>
                  </a:cubicBezTo>
                  <a:cubicBezTo>
                    <a:pt x="5092567" y="143269"/>
                    <a:pt x="5206163" y="62136"/>
                    <a:pt x="5348721" y="62136"/>
                  </a:cubicBezTo>
                  <a:cubicBezTo>
                    <a:pt x="5388146" y="62136"/>
                    <a:pt x="5451870" y="67928"/>
                    <a:pt x="5507494" y="88798"/>
                  </a:cubicBezTo>
                  <a:lnTo>
                    <a:pt x="5494756" y="161831"/>
                  </a:lnTo>
                  <a:cubicBezTo>
                    <a:pt x="5458824" y="142099"/>
                    <a:pt x="5402046" y="131700"/>
                    <a:pt x="5347551" y="131700"/>
                  </a:cubicBezTo>
                  <a:close/>
                  <a:moveTo>
                    <a:pt x="4231388" y="482895"/>
                  </a:moveTo>
                  <a:cubicBezTo>
                    <a:pt x="4154901" y="513027"/>
                    <a:pt x="4079561" y="580252"/>
                    <a:pt x="4079561" y="669565"/>
                  </a:cubicBezTo>
                  <a:cubicBezTo>
                    <a:pt x="4079561" y="779684"/>
                    <a:pt x="4169963" y="836477"/>
                    <a:pt x="4267320" y="836477"/>
                  </a:cubicBezTo>
                  <a:cubicBezTo>
                    <a:pt x="4340337" y="836477"/>
                    <a:pt x="4420341" y="799376"/>
                    <a:pt x="4466680" y="742574"/>
                  </a:cubicBezTo>
                  <a:lnTo>
                    <a:pt x="4231388" y="482927"/>
                  </a:lnTo>
                  <a:close/>
                  <a:moveTo>
                    <a:pt x="4413379" y="241803"/>
                  </a:moveTo>
                  <a:cubicBezTo>
                    <a:pt x="4413379" y="165293"/>
                    <a:pt x="4367024" y="124738"/>
                    <a:pt x="4298605" y="124738"/>
                  </a:cubicBezTo>
                  <a:cubicBezTo>
                    <a:pt x="4230186" y="124738"/>
                    <a:pt x="4165316" y="164147"/>
                    <a:pt x="4165316" y="242981"/>
                  </a:cubicBezTo>
                  <a:cubicBezTo>
                    <a:pt x="4165316" y="306721"/>
                    <a:pt x="4212873" y="358876"/>
                    <a:pt x="4256881" y="407554"/>
                  </a:cubicBezTo>
                  <a:cubicBezTo>
                    <a:pt x="4327591" y="373906"/>
                    <a:pt x="4413379" y="336836"/>
                    <a:pt x="4413379" y="241803"/>
                  </a:cubicBezTo>
                  <a:close/>
                  <a:moveTo>
                    <a:pt x="4698518" y="882800"/>
                  </a:moveTo>
                  <a:lnTo>
                    <a:pt x="4596539" y="882800"/>
                  </a:lnTo>
                  <a:lnTo>
                    <a:pt x="4510751" y="792398"/>
                  </a:lnTo>
                  <a:cubicBezTo>
                    <a:pt x="4444664" y="866561"/>
                    <a:pt x="4360078" y="899048"/>
                    <a:pt x="4264996" y="899048"/>
                  </a:cubicBezTo>
                  <a:cubicBezTo>
                    <a:pt x="4128239" y="899048"/>
                    <a:pt x="3999573" y="829475"/>
                    <a:pt x="3999573" y="673002"/>
                  </a:cubicBezTo>
                  <a:cubicBezTo>
                    <a:pt x="3999573" y="548982"/>
                    <a:pt x="4083014" y="479418"/>
                    <a:pt x="4190833" y="437710"/>
                  </a:cubicBezTo>
                  <a:cubicBezTo>
                    <a:pt x="4140977" y="380892"/>
                    <a:pt x="4085353" y="319467"/>
                    <a:pt x="4085353" y="238334"/>
                  </a:cubicBezTo>
                  <a:cubicBezTo>
                    <a:pt x="4085353" y="122415"/>
                    <a:pt x="4196626" y="62144"/>
                    <a:pt x="4303268" y="62144"/>
                  </a:cubicBezTo>
                  <a:cubicBezTo>
                    <a:pt x="4399455" y="62144"/>
                    <a:pt x="4493334" y="115469"/>
                    <a:pt x="4493334" y="229065"/>
                  </a:cubicBezTo>
                  <a:cubicBezTo>
                    <a:pt x="4493334" y="355399"/>
                    <a:pt x="4395978" y="400608"/>
                    <a:pt x="4298597" y="449286"/>
                  </a:cubicBezTo>
                  <a:lnTo>
                    <a:pt x="4511897" y="686902"/>
                  </a:lnTo>
                  <a:cubicBezTo>
                    <a:pt x="4562874" y="613900"/>
                    <a:pt x="4581437" y="528120"/>
                    <a:pt x="4581437" y="441163"/>
                  </a:cubicBezTo>
                  <a:lnTo>
                    <a:pt x="4650986" y="441163"/>
                  </a:lnTo>
                  <a:cubicBezTo>
                    <a:pt x="4650986" y="545489"/>
                    <a:pt x="4620846" y="652139"/>
                    <a:pt x="4560575" y="733249"/>
                  </a:cubicBezTo>
                  <a:lnTo>
                    <a:pt x="4698510" y="882800"/>
                  </a:lnTo>
                  <a:close/>
                  <a:moveTo>
                    <a:pt x="3535960" y="836446"/>
                  </a:moveTo>
                  <a:cubicBezTo>
                    <a:pt x="3563776" y="836446"/>
                    <a:pt x="3582339" y="830653"/>
                    <a:pt x="3603201" y="822529"/>
                  </a:cubicBezTo>
                  <a:lnTo>
                    <a:pt x="3607824" y="882800"/>
                  </a:lnTo>
                  <a:cubicBezTo>
                    <a:pt x="3590455" y="889754"/>
                    <a:pt x="3554523" y="899048"/>
                    <a:pt x="3518591" y="899048"/>
                  </a:cubicBezTo>
                  <a:cubicBezTo>
                    <a:pt x="3388804" y="899048"/>
                    <a:pt x="3384109" y="809767"/>
                    <a:pt x="3384109" y="701963"/>
                  </a:cubicBezTo>
                  <a:lnTo>
                    <a:pt x="3384109" y="356577"/>
                  </a:lnTo>
                  <a:lnTo>
                    <a:pt x="3268213" y="356577"/>
                  </a:lnTo>
                  <a:lnTo>
                    <a:pt x="3268213" y="293982"/>
                  </a:lnTo>
                  <a:lnTo>
                    <a:pt x="3384109" y="293982"/>
                  </a:lnTo>
                  <a:lnTo>
                    <a:pt x="3384109" y="151376"/>
                  </a:lnTo>
                  <a:lnTo>
                    <a:pt x="3457150" y="125884"/>
                  </a:lnTo>
                  <a:lnTo>
                    <a:pt x="3457150" y="293958"/>
                  </a:lnTo>
                  <a:lnTo>
                    <a:pt x="3591584" y="293958"/>
                  </a:lnTo>
                  <a:lnTo>
                    <a:pt x="3591584" y="356553"/>
                  </a:lnTo>
                  <a:lnTo>
                    <a:pt x="3457150" y="356553"/>
                  </a:lnTo>
                  <a:lnTo>
                    <a:pt x="3457150" y="739049"/>
                  </a:lnTo>
                  <a:cubicBezTo>
                    <a:pt x="3457150" y="792374"/>
                    <a:pt x="3476859" y="836421"/>
                    <a:pt x="3535960" y="836421"/>
                  </a:cubicBezTo>
                  <a:close/>
                  <a:moveTo>
                    <a:pt x="3176673" y="356553"/>
                  </a:moveTo>
                  <a:cubicBezTo>
                    <a:pt x="3060778" y="356553"/>
                    <a:pt x="3029469" y="486340"/>
                    <a:pt x="3029469" y="593014"/>
                  </a:cubicBezTo>
                  <a:lnTo>
                    <a:pt x="3029469" y="885100"/>
                  </a:lnTo>
                  <a:lnTo>
                    <a:pt x="2956451" y="885100"/>
                  </a:lnTo>
                  <a:lnTo>
                    <a:pt x="2956451" y="426117"/>
                  </a:lnTo>
                  <a:cubicBezTo>
                    <a:pt x="2956451" y="361223"/>
                    <a:pt x="2956451" y="336836"/>
                    <a:pt x="2951789" y="293982"/>
                  </a:cubicBezTo>
                  <a:lnTo>
                    <a:pt x="3024822" y="293982"/>
                  </a:lnTo>
                  <a:lnTo>
                    <a:pt x="3024822" y="407554"/>
                  </a:lnTo>
                  <a:lnTo>
                    <a:pt x="3027169" y="407554"/>
                  </a:lnTo>
                  <a:cubicBezTo>
                    <a:pt x="3053808" y="341507"/>
                    <a:pt x="3103656" y="280066"/>
                    <a:pt x="3178997" y="280066"/>
                  </a:cubicBezTo>
                  <a:cubicBezTo>
                    <a:pt x="3196366" y="280066"/>
                    <a:pt x="3217236" y="283535"/>
                    <a:pt x="3229974" y="287036"/>
                  </a:cubicBezTo>
                  <a:lnTo>
                    <a:pt x="3229974" y="363523"/>
                  </a:lnTo>
                  <a:cubicBezTo>
                    <a:pt x="3214929" y="358876"/>
                    <a:pt x="3195220" y="356577"/>
                    <a:pt x="3176673" y="356577"/>
                  </a:cubicBezTo>
                  <a:close/>
                  <a:moveTo>
                    <a:pt x="2483569" y="152546"/>
                  </a:moveTo>
                  <a:lnTo>
                    <a:pt x="2307402" y="598790"/>
                  </a:lnTo>
                  <a:lnTo>
                    <a:pt x="2658589" y="598790"/>
                  </a:lnTo>
                  <a:lnTo>
                    <a:pt x="2483569" y="152546"/>
                  </a:lnTo>
                  <a:close/>
                  <a:moveTo>
                    <a:pt x="2772185" y="885100"/>
                  </a:moveTo>
                  <a:lnTo>
                    <a:pt x="2685252" y="668355"/>
                  </a:lnTo>
                  <a:lnTo>
                    <a:pt x="2277247" y="668355"/>
                  </a:lnTo>
                  <a:lnTo>
                    <a:pt x="2190297" y="885100"/>
                  </a:lnTo>
                  <a:lnTo>
                    <a:pt x="2112665" y="885100"/>
                  </a:lnTo>
                  <a:lnTo>
                    <a:pt x="2444168" y="76036"/>
                  </a:lnTo>
                  <a:lnTo>
                    <a:pt x="2534570" y="76036"/>
                  </a:lnTo>
                  <a:lnTo>
                    <a:pt x="2855650" y="885100"/>
                  </a:lnTo>
                  <a:close/>
                  <a:moveTo>
                    <a:pt x="1508762" y="342637"/>
                  </a:moveTo>
                  <a:cubicBezTo>
                    <a:pt x="1400950" y="342637"/>
                    <a:pt x="1334911" y="450408"/>
                    <a:pt x="1334911" y="547789"/>
                  </a:cubicBezTo>
                  <a:lnTo>
                    <a:pt x="1659451" y="547789"/>
                  </a:lnTo>
                  <a:cubicBezTo>
                    <a:pt x="1659451" y="444632"/>
                    <a:pt x="1617727" y="342637"/>
                    <a:pt x="1508778" y="342637"/>
                  </a:cubicBezTo>
                  <a:close/>
                  <a:moveTo>
                    <a:pt x="1334911" y="610383"/>
                  </a:moveTo>
                  <a:cubicBezTo>
                    <a:pt x="1334911" y="735572"/>
                    <a:pt x="1402128" y="836421"/>
                    <a:pt x="1529640" y="836421"/>
                  </a:cubicBezTo>
                  <a:cubicBezTo>
                    <a:pt x="1582948" y="836421"/>
                    <a:pt x="1660613" y="814390"/>
                    <a:pt x="1695391" y="792358"/>
                  </a:cubicBezTo>
                  <a:lnTo>
                    <a:pt x="1695391" y="866521"/>
                  </a:lnTo>
                  <a:cubicBezTo>
                    <a:pt x="1644381" y="887391"/>
                    <a:pt x="1578318" y="899008"/>
                    <a:pt x="1523847" y="899008"/>
                  </a:cubicBezTo>
                  <a:cubicBezTo>
                    <a:pt x="1327956" y="899008"/>
                    <a:pt x="1254915" y="766865"/>
                    <a:pt x="1254915" y="589505"/>
                  </a:cubicBezTo>
                  <a:cubicBezTo>
                    <a:pt x="1254915" y="408684"/>
                    <a:pt x="1354611" y="280026"/>
                    <a:pt x="1504147" y="280026"/>
                  </a:cubicBezTo>
                  <a:cubicBezTo>
                    <a:pt x="1671060" y="280026"/>
                    <a:pt x="1739447" y="414460"/>
                    <a:pt x="1739447" y="573249"/>
                  </a:cubicBezTo>
                  <a:lnTo>
                    <a:pt x="1739447" y="610359"/>
                  </a:lnTo>
                  <a:close/>
                  <a:moveTo>
                    <a:pt x="1048633" y="885100"/>
                  </a:moveTo>
                  <a:lnTo>
                    <a:pt x="1048633" y="532743"/>
                  </a:lnTo>
                  <a:cubicBezTo>
                    <a:pt x="1048633" y="430740"/>
                    <a:pt x="1028933" y="342661"/>
                    <a:pt x="908375" y="342661"/>
                  </a:cubicBezTo>
                  <a:cubicBezTo>
                    <a:pt x="778587" y="342661"/>
                    <a:pt x="733346" y="465526"/>
                    <a:pt x="733346" y="568675"/>
                  </a:cubicBezTo>
                  <a:lnTo>
                    <a:pt x="733346" y="885132"/>
                  </a:lnTo>
                  <a:lnTo>
                    <a:pt x="660393" y="885132"/>
                  </a:lnTo>
                  <a:lnTo>
                    <a:pt x="660393" y="15789"/>
                  </a:lnTo>
                  <a:lnTo>
                    <a:pt x="733402" y="15789"/>
                  </a:lnTo>
                  <a:lnTo>
                    <a:pt x="733402" y="393638"/>
                  </a:lnTo>
                  <a:lnTo>
                    <a:pt x="735734" y="393638"/>
                  </a:lnTo>
                  <a:cubicBezTo>
                    <a:pt x="767043" y="328745"/>
                    <a:pt x="833098" y="280066"/>
                    <a:pt x="920039" y="280066"/>
                  </a:cubicBezTo>
                  <a:cubicBezTo>
                    <a:pt x="1078837" y="280066"/>
                    <a:pt x="1121731" y="385539"/>
                    <a:pt x="1121731" y="531573"/>
                  </a:cubicBezTo>
                  <a:lnTo>
                    <a:pt x="1121731" y="885124"/>
                  </a:lnTo>
                  <a:close/>
                  <a:moveTo>
                    <a:pt x="325373" y="145576"/>
                  </a:moveTo>
                  <a:lnTo>
                    <a:pt x="325373" y="885100"/>
                  </a:lnTo>
                  <a:lnTo>
                    <a:pt x="245410" y="885100"/>
                  </a:lnTo>
                  <a:lnTo>
                    <a:pt x="245410" y="145600"/>
                  </a:lnTo>
                  <a:lnTo>
                    <a:pt x="6649" y="145600"/>
                  </a:lnTo>
                  <a:lnTo>
                    <a:pt x="6649" y="76060"/>
                  </a:lnTo>
                  <a:lnTo>
                    <a:pt x="564190" y="76060"/>
                  </a:lnTo>
                  <a:lnTo>
                    <a:pt x="564190" y="145600"/>
                  </a:lnTo>
                  <a:close/>
                </a:path>
              </a:pathLst>
            </a:custGeom>
            <a:grpFill/>
            <a:ln w="801" cap="flat">
              <a:noFill/>
              <a:prstDash val="solid"/>
              <a:miter/>
            </a:ln>
          </p:spPr>
          <p:txBody>
            <a:bodyPr rtlCol="0" anchor="ctr"/>
            <a:lstStyle/>
            <a:p>
              <a:endParaRPr lang="fr-BE"/>
            </a:p>
          </p:txBody>
        </p:sp>
        <p:sp>
          <p:nvSpPr>
            <p:cNvPr id="7" name="Forme libre : forme 24">
              <a:extLst>
                <a:ext uri="{FF2B5EF4-FFF2-40B4-BE49-F238E27FC236}">
                  <a16:creationId xmlns:a16="http://schemas.microsoft.com/office/drawing/2014/main" id="{97546D95-3040-429A-8252-7B1A28ACC9A3}"/>
                </a:ext>
              </a:extLst>
            </p:cNvPr>
            <p:cNvSpPr/>
            <p:nvPr/>
          </p:nvSpPr>
          <p:spPr>
            <a:xfrm>
              <a:off x="-786557" y="8253511"/>
              <a:ext cx="12106540" cy="2183968"/>
            </a:xfrm>
            <a:custGeom>
              <a:avLst/>
              <a:gdLst>
                <a:gd name="connsiteX0" fmla="*/ 1817527 w 12106540"/>
                <a:gd name="connsiteY0" fmla="*/ 17639 h 2183968"/>
                <a:gd name="connsiteX1" fmla="*/ 2709919 w 12106540"/>
                <a:gd name="connsiteY1" fmla="*/ 219996 h 2183968"/>
                <a:gd name="connsiteX2" fmla="*/ 2399495 w 12106540"/>
                <a:gd name="connsiteY2" fmla="*/ 553709 h 2183968"/>
                <a:gd name="connsiteX3" fmla="*/ 1554275 w 12106540"/>
                <a:gd name="connsiteY3" fmla="*/ 421102 h 2183968"/>
                <a:gd name="connsiteX4" fmla="*/ 1093835 w 12106540"/>
                <a:gd name="connsiteY4" fmla="*/ 615663 h 2183968"/>
                <a:gd name="connsiteX5" fmla="*/ 2590034 w 12106540"/>
                <a:gd name="connsiteY5" fmla="*/ 1477163 h 2183968"/>
                <a:gd name="connsiteX6" fmla="*/ 1357920 w 12106540"/>
                <a:gd name="connsiteY6" fmla="*/ 2178888 h 2183968"/>
                <a:gd name="connsiteX7" fmla="*/ 6649 w 12106540"/>
                <a:gd name="connsiteY7" fmla="*/ 1870266 h 2183968"/>
                <a:gd name="connsiteX8" fmla="*/ 177127 w 12106540"/>
                <a:gd name="connsiteY8" fmla="*/ 1601366 h 2183968"/>
                <a:gd name="connsiteX9" fmla="*/ 315383 w 12106540"/>
                <a:gd name="connsiteY9" fmla="*/ 1540622 h 2183968"/>
                <a:gd name="connsiteX10" fmla="*/ 1266003 w 12106540"/>
                <a:gd name="connsiteY10" fmla="*/ 1757896 h 2183968"/>
                <a:gd name="connsiteX11" fmla="*/ 1878047 w 12106540"/>
                <a:gd name="connsiteY11" fmla="*/ 1547704 h 2183968"/>
                <a:gd name="connsiteX12" fmla="*/ 435781 w 12106540"/>
                <a:gd name="connsiteY12" fmla="*/ 659750 h 2183968"/>
                <a:gd name="connsiteX13" fmla="*/ 1817559 w 12106540"/>
                <a:gd name="connsiteY13" fmla="*/ 17639 h 2183968"/>
                <a:gd name="connsiteX14" fmla="*/ 5541880 w 12106540"/>
                <a:gd name="connsiteY14" fmla="*/ 339584 h 2183968"/>
                <a:gd name="connsiteX15" fmla="*/ 5124069 w 12106540"/>
                <a:gd name="connsiteY15" fmla="*/ 641084 h 2183968"/>
                <a:gd name="connsiteX16" fmla="*/ 4293630 w 12106540"/>
                <a:gd name="connsiteY16" fmla="*/ 471959 h 2183968"/>
                <a:gd name="connsiteX17" fmla="*/ 3500028 w 12106540"/>
                <a:gd name="connsiteY17" fmla="*/ 1112949 h 2183968"/>
                <a:gd name="connsiteX18" fmla="*/ 4294295 w 12106540"/>
                <a:gd name="connsiteY18" fmla="*/ 1709266 h 2183968"/>
                <a:gd name="connsiteX19" fmla="*/ 6285970 w 12106540"/>
                <a:gd name="connsiteY19" fmla="*/ 463467 h 2183968"/>
                <a:gd name="connsiteX20" fmla="*/ 7656116 w 12106540"/>
                <a:gd name="connsiteY20" fmla="*/ 1889 h 2183968"/>
                <a:gd name="connsiteX21" fmla="*/ 9088663 w 12106540"/>
                <a:gd name="connsiteY21" fmla="*/ 1112925 h 2183968"/>
                <a:gd name="connsiteX22" fmla="*/ 7660522 w 12106540"/>
                <a:gd name="connsiteY22" fmla="*/ 2185858 h 2183968"/>
                <a:gd name="connsiteX23" fmla="*/ 6096064 w 12106540"/>
                <a:gd name="connsiteY23" fmla="*/ 1561236 h 2183968"/>
                <a:gd name="connsiteX24" fmla="*/ 6461199 w 12106540"/>
                <a:gd name="connsiteY24" fmla="*/ 1232329 h 2183968"/>
                <a:gd name="connsiteX25" fmla="*/ 7621963 w 12106540"/>
                <a:gd name="connsiteY25" fmla="*/ 1709266 h 2183968"/>
                <a:gd name="connsiteX26" fmla="*/ 8449349 w 12106540"/>
                <a:gd name="connsiteY26" fmla="*/ 1112949 h 2183968"/>
                <a:gd name="connsiteX27" fmla="*/ 7656436 w 12106540"/>
                <a:gd name="connsiteY27" fmla="*/ 471959 h 2183968"/>
                <a:gd name="connsiteX28" fmla="*/ 4297451 w 12106540"/>
                <a:gd name="connsiteY28" fmla="*/ 2178872 h 2183968"/>
                <a:gd name="connsiteX29" fmla="*/ 2858141 w 12106540"/>
                <a:gd name="connsiteY29" fmla="*/ 1209152 h 2183968"/>
                <a:gd name="connsiteX30" fmla="*/ 2858141 w 12106540"/>
                <a:gd name="connsiteY30" fmla="*/ 1027145 h 2183968"/>
                <a:gd name="connsiteX31" fmla="*/ 4317048 w 12106540"/>
                <a:gd name="connsiteY31" fmla="*/ 1913 h 2183968"/>
                <a:gd name="connsiteX32" fmla="*/ 5541912 w 12106540"/>
                <a:gd name="connsiteY32" fmla="*/ 339584 h 2183968"/>
                <a:gd name="connsiteX33" fmla="*/ 11334842 w 12106540"/>
                <a:gd name="connsiteY33" fmla="*/ 2127766 h 2183968"/>
                <a:gd name="connsiteX34" fmla="*/ 11045520 w 12106540"/>
                <a:gd name="connsiteY34" fmla="*/ 1920675 h 2183968"/>
                <a:gd name="connsiteX35" fmla="*/ 10375930 w 12106540"/>
                <a:gd name="connsiteY35" fmla="*/ 1108086 h 2183968"/>
                <a:gd name="connsiteX36" fmla="*/ 11480516 w 12106540"/>
                <a:gd name="connsiteY36" fmla="*/ 670702 h 2183968"/>
                <a:gd name="connsiteX37" fmla="*/ 10929641 w 12106540"/>
                <a:gd name="connsiteY37" fmla="*/ 419059 h 2183968"/>
                <a:gd name="connsiteX38" fmla="*/ 10098626 w 12106540"/>
                <a:gd name="connsiteY38" fmla="*/ 1123011 h 2183968"/>
                <a:gd name="connsiteX39" fmla="*/ 9779148 w 12106540"/>
                <a:gd name="connsiteY39" fmla="*/ 2142018 h 2183968"/>
                <a:gd name="connsiteX40" fmla="*/ 9150385 w 12106540"/>
                <a:gd name="connsiteY40" fmla="*/ 2142018 h 2183968"/>
                <a:gd name="connsiteX41" fmla="*/ 9474348 w 12106540"/>
                <a:gd name="connsiteY41" fmla="*/ 1112380 h 2183968"/>
                <a:gd name="connsiteX42" fmla="*/ 10977422 w 12106540"/>
                <a:gd name="connsiteY42" fmla="*/ 1913 h 2183968"/>
                <a:gd name="connsiteX43" fmla="*/ 12113190 w 12106540"/>
                <a:gd name="connsiteY43" fmla="*/ 602988 h 2183968"/>
                <a:gd name="connsiteX44" fmla="*/ 11137950 w 12106540"/>
                <a:gd name="connsiteY44" fmla="*/ 1304105 h 2183968"/>
                <a:gd name="connsiteX45" fmla="*/ 11974357 w 12106540"/>
                <a:gd name="connsiteY45" fmla="*/ 2142018 h 2183968"/>
                <a:gd name="connsiteX46" fmla="*/ 11447725 w 12106540"/>
                <a:gd name="connsiteY46" fmla="*/ 2142018 h 2183968"/>
                <a:gd name="connsiteX47" fmla="*/ 11334842 w 12106540"/>
                <a:gd name="connsiteY47" fmla="*/ 2127774 h 218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106540" h="2183968">
                  <a:moveTo>
                    <a:pt x="1817527" y="17639"/>
                  </a:moveTo>
                  <a:cubicBezTo>
                    <a:pt x="2181084" y="56095"/>
                    <a:pt x="2662459" y="205110"/>
                    <a:pt x="2709919" y="219996"/>
                  </a:cubicBezTo>
                  <a:cubicBezTo>
                    <a:pt x="2630797" y="359493"/>
                    <a:pt x="2565463" y="553709"/>
                    <a:pt x="2399495" y="553709"/>
                  </a:cubicBezTo>
                  <a:cubicBezTo>
                    <a:pt x="2276846" y="553709"/>
                    <a:pt x="1935209" y="421102"/>
                    <a:pt x="1554275" y="421102"/>
                  </a:cubicBezTo>
                  <a:cubicBezTo>
                    <a:pt x="1397593" y="421102"/>
                    <a:pt x="1093835" y="445185"/>
                    <a:pt x="1093835" y="615663"/>
                  </a:cubicBezTo>
                  <a:cubicBezTo>
                    <a:pt x="1093153" y="909687"/>
                    <a:pt x="2652981" y="818476"/>
                    <a:pt x="2590034" y="1477163"/>
                  </a:cubicBezTo>
                  <a:cubicBezTo>
                    <a:pt x="2552701" y="1872982"/>
                    <a:pt x="2043541" y="2178888"/>
                    <a:pt x="1357920" y="2178888"/>
                  </a:cubicBezTo>
                  <a:cubicBezTo>
                    <a:pt x="782273" y="2178888"/>
                    <a:pt x="216808" y="1980601"/>
                    <a:pt x="6649" y="1870266"/>
                  </a:cubicBezTo>
                  <a:cubicBezTo>
                    <a:pt x="66680" y="1775153"/>
                    <a:pt x="88832" y="1742081"/>
                    <a:pt x="177127" y="1601366"/>
                  </a:cubicBezTo>
                  <a:cubicBezTo>
                    <a:pt x="203237" y="1558905"/>
                    <a:pt x="252748" y="1534069"/>
                    <a:pt x="315383" y="1540622"/>
                  </a:cubicBezTo>
                  <a:cubicBezTo>
                    <a:pt x="402549" y="1549435"/>
                    <a:pt x="885373" y="1747497"/>
                    <a:pt x="1266003" y="1757896"/>
                  </a:cubicBezTo>
                  <a:cubicBezTo>
                    <a:pt x="1501703" y="1764601"/>
                    <a:pt x="1853403" y="1759178"/>
                    <a:pt x="1878047" y="1547704"/>
                  </a:cubicBezTo>
                  <a:cubicBezTo>
                    <a:pt x="1915805" y="1221377"/>
                    <a:pt x="435781" y="1302430"/>
                    <a:pt x="435781" y="659750"/>
                  </a:cubicBezTo>
                  <a:cubicBezTo>
                    <a:pt x="435781" y="328296"/>
                    <a:pt x="862533" y="-83651"/>
                    <a:pt x="1817559" y="17639"/>
                  </a:cubicBezTo>
                  <a:close/>
                  <a:moveTo>
                    <a:pt x="5541880" y="339584"/>
                  </a:moveTo>
                  <a:cubicBezTo>
                    <a:pt x="5376842" y="528144"/>
                    <a:pt x="5312413" y="641084"/>
                    <a:pt x="5124069" y="641084"/>
                  </a:cubicBezTo>
                  <a:cubicBezTo>
                    <a:pt x="4930870" y="641084"/>
                    <a:pt x="4776775" y="471959"/>
                    <a:pt x="4293630" y="471959"/>
                  </a:cubicBezTo>
                  <a:cubicBezTo>
                    <a:pt x="3804003" y="471959"/>
                    <a:pt x="3500028" y="757972"/>
                    <a:pt x="3500028" y="1112949"/>
                  </a:cubicBezTo>
                  <a:cubicBezTo>
                    <a:pt x="3500028" y="1600525"/>
                    <a:pt x="4056904" y="1709266"/>
                    <a:pt x="4294295" y="1709266"/>
                  </a:cubicBezTo>
                  <a:cubicBezTo>
                    <a:pt x="5033762" y="1709266"/>
                    <a:pt x="5737923" y="837335"/>
                    <a:pt x="6285970" y="463467"/>
                  </a:cubicBezTo>
                  <a:cubicBezTo>
                    <a:pt x="6654975" y="201753"/>
                    <a:pt x="7039105" y="1889"/>
                    <a:pt x="7656116" y="1889"/>
                  </a:cubicBezTo>
                  <a:cubicBezTo>
                    <a:pt x="8550110" y="1889"/>
                    <a:pt x="9088663" y="511841"/>
                    <a:pt x="9088663" y="1112925"/>
                  </a:cubicBezTo>
                  <a:cubicBezTo>
                    <a:pt x="9088663" y="1697336"/>
                    <a:pt x="8519922" y="2185858"/>
                    <a:pt x="7660522" y="2185858"/>
                  </a:cubicBezTo>
                  <a:cubicBezTo>
                    <a:pt x="6960760" y="2185858"/>
                    <a:pt x="6536043" y="1989158"/>
                    <a:pt x="6096064" y="1561236"/>
                  </a:cubicBezTo>
                  <a:lnTo>
                    <a:pt x="6461199" y="1232329"/>
                  </a:lnTo>
                  <a:cubicBezTo>
                    <a:pt x="6648669" y="1436151"/>
                    <a:pt x="7079091" y="1709266"/>
                    <a:pt x="7621963" y="1709266"/>
                  </a:cubicBezTo>
                  <a:cubicBezTo>
                    <a:pt x="8032667" y="1709266"/>
                    <a:pt x="8449349" y="1472997"/>
                    <a:pt x="8449349" y="1112949"/>
                  </a:cubicBezTo>
                  <a:cubicBezTo>
                    <a:pt x="8449349" y="746019"/>
                    <a:pt x="8141865" y="471959"/>
                    <a:pt x="7656436" y="471959"/>
                  </a:cubicBezTo>
                  <a:cubicBezTo>
                    <a:pt x="6427054" y="471959"/>
                    <a:pt x="5839413" y="2178872"/>
                    <a:pt x="4297451" y="2178872"/>
                  </a:cubicBezTo>
                  <a:cubicBezTo>
                    <a:pt x="3724865" y="2178872"/>
                    <a:pt x="2942239" y="1957520"/>
                    <a:pt x="2858141" y="1209152"/>
                  </a:cubicBezTo>
                  <a:cubicBezTo>
                    <a:pt x="2858141" y="1200443"/>
                    <a:pt x="2857228" y="1046132"/>
                    <a:pt x="2858141" y="1027145"/>
                  </a:cubicBezTo>
                  <a:cubicBezTo>
                    <a:pt x="2903231" y="432174"/>
                    <a:pt x="3572148" y="1913"/>
                    <a:pt x="4317048" y="1913"/>
                  </a:cubicBezTo>
                  <a:cubicBezTo>
                    <a:pt x="4766985" y="1913"/>
                    <a:pt x="5233987" y="181772"/>
                    <a:pt x="5541912" y="339584"/>
                  </a:cubicBezTo>
                  <a:close/>
                  <a:moveTo>
                    <a:pt x="11334842" y="2127766"/>
                  </a:moveTo>
                  <a:cubicBezTo>
                    <a:pt x="11226157" y="2098836"/>
                    <a:pt x="11134137" y="2026940"/>
                    <a:pt x="11045520" y="1920675"/>
                  </a:cubicBezTo>
                  <a:cubicBezTo>
                    <a:pt x="10795912" y="1620185"/>
                    <a:pt x="10464217" y="1219102"/>
                    <a:pt x="10375930" y="1108086"/>
                  </a:cubicBezTo>
                  <a:cubicBezTo>
                    <a:pt x="10657937" y="1064335"/>
                    <a:pt x="11480516" y="1037880"/>
                    <a:pt x="11480516" y="670702"/>
                  </a:cubicBezTo>
                  <a:cubicBezTo>
                    <a:pt x="11480516" y="462017"/>
                    <a:pt x="11163915" y="419059"/>
                    <a:pt x="10929641" y="419059"/>
                  </a:cubicBezTo>
                  <a:cubicBezTo>
                    <a:pt x="10276450" y="419059"/>
                    <a:pt x="10188259" y="864238"/>
                    <a:pt x="10098626" y="1123011"/>
                  </a:cubicBezTo>
                  <a:cubicBezTo>
                    <a:pt x="10098626" y="1123011"/>
                    <a:pt x="9826408" y="1990760"/>
                    <a:pt x="9779148" y="2142018"/>
                  </a:cubicBezTo>
                  <a:lnTo>
                    <a:pt x="9150385" y="2142018"/>
                  </a:lnTo>
                  <a:lnTo>
                    <a:pt x="9474348" y="1112380"/>
                  </a:lnTo>
                  <a:cubicBezTo>
                    <a:pt x="9670143" y="436132"/>
                    <a:pt x="10036087" y="1913"/>
                    <a:pt x="10977422" y="1913"/>
                  </a:cubicBezTo>
                  <a:cubicBezTo>
                    <a:pt x="11551114" y="1913"/>
                    <a:pt x="12113190" y="181772"/>
                    <a:pt x="12113190" y="602988"/>
                  </a:cubicBezTo>
                  <a:cubicBezTo>
                    <a:pt x="12113190" y="1094514"/>
                    <a:pt x="11492462" y="1260017"/>
                    <a:pt x="11137950" y="1304105"/>
                  </a:cubicBezTo>
                  <a:lnTo>
                    <a:pt x="11974357" y="2142018"/>
                  </a:lnTo>
                  <a:lnTo>
                    <a:pt x="11447725" y="2142018"/>
                  </a:lnTo>
                  <a:cubicBezTo>
                    <a:pt x="11407947" y="2142018"/>
                    <a:pt x="11370421" y="2137268"/>
                    <a:pt x="11334842" y="2127774"/>
                  </a:cubicBezTo>
                </a:path>
              </a:pathLst>
            </a:custGeom>
            <a:grpFill/>
            <a:ln w="801" cap="flat">
              <a:noFill/>
              <a:prstDash val="solid"/>
              <a:miter/>
            </a:ln>
          </p:spPr>
          <p:txBody>
            <a:bodyPr rtlCol="0" anchor="ctr"/>
            <a:lstStyle/>
            <a:p>
              <a:endParaRPr lang="fr-BE"/>
            </a:p>
          </p:txBody>
        </p:sp>
      </p:grpSp>
      <p:grpSp>
        <p:nvGrpSpPr>
          <p:cNvPr id="11" name="Groupe 10">
            <a:extLst>
              <a:ext uri="{FF2B5EF4-FFF2-40B4-BE49-F238E27FC236}">
                <a16:creationId xmlns:a16="http://schemas.microsoft.com/office/drawing/2014/main" id="{DE36AB77-4362-405F-9850-4694470FC3A5}"/>
              </a:ext>
            </a:extLst>
          </p:cNvPr>
          <p:cNvGrpSpPr/>
          <p:nvPr userDrawn="1"/>
        </p:nvGrpSpPr>
        <p:grpSpPr>
          <a:xfrm>
            <a:off x="12360696" y="-13072"/>
            <a:ext cx="1885826" cy="1528108"/>
            <a:chOff x="4867566" y="1651754"/>
            <a:chExt cx="1885826" cy="1528108"/>
          </a:xfrm>
        </p:grpSpPr>
        <p:sp>
          <p:nvSpPr>
            <p:cNvPr id="12" name="Freeform 5">
              <a:extLst>
                <a:ext uri="{FF2B5EF4-FFF2-40B4-BE49-F238E27FC236}">
                  <a16:creationId xmlns:a16="http://schemas.microsoft.com/office/drawing/2014/main" id="{D3776D53-BB0D-4C74-AD26-BA06AF31A203}"/>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3" name="Rectangle 12">
              <a:extLst>
                <a:ext uri="{FF2B5EF4-FFF2-40B4-BE49-F238E27FC236}">
                  <a16:creationId xmlns:a16="http://schemas.microsoft.com/office/drawing/2014/main" id="{2CDFDDAC-0E4F-4DF4-85F2-E3CCBA8C98E5}"/>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a:solidFill>
                    <a:schemeClr val="accent1"/>
                  </a:solidFill>
                  <a:latin typeface="+mj-lt"/>
                </a:rPr>
                <a:t>To change the </a:t>
              </a:r>
              <a:r>
                <a:rPr lang="fr-FR" sz="1000" b="1" err="1">
                  <a:solidFill>
                    <a:schemeClr val="accent1"/>
                  </a:solidFill>
                  <a:latin typeface="+mj-lt"/>
                </a:rPr>
                <a:t>visual</a:t>
              </a:r>
              <a:r>
                <a:rPr lang="fr-FR" sz="1000" b="1">
                  <a:solidFill>
                    <a:schemeClr val="accent1"/>
                  </a:solidFill>
                  <a:latin typeface="+mj-lt"/>
                </a:rPr>
                <a:t>:</a:t>
              </a:r>
            </a:p>
            <a:p>
              <a:pPr marL="171450" lvl="0" indent="-171450">
                <a:buFont typeface="Arial" panose="020B0604020202020204" pitchFamily="34" charset="0"/>
                <a:buChar char="•"/>
              </a:pPr>
              <a:r>
                <a:rPr lang="en-US" sz="1000">
                  <a:solidFill>
                    <a:schemeClr val="tx1"/>
                  </a:solidFill>
                </a:rPr>
                <a:t>Right click on the slide</a:t>
              </a:r>
            </a:p>
            <a:p>
              <a:pPr marL="171450" lvl="0" indent="-171450">
                <a:buFont typeface="Arial" panose="020B0604020202020204" pitchFamily="34" charset="0"/>
                <a:buChar char="•"/>
              </a:pPr>
              <a:r>
                <a:rPr lang="en-US" sz="1000">
                  <a:solidFill>
                    <a:schemeClr val="tx1"/>
                  </a:solidFill>
                </a:rPr>
                <a:t>Click on “Format Background”</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 (1920x1080px)</a:t>
              </a:r>
            </a:p>
          </p:txBody>
        </p:sp>
      </p:grpSp>
    </p:spTree>
    <p:extLst>
      <p:ext uri="{BB962C8B-B14F-4D97-AF65-F5344CB8AC3E}">
        <p14:creationId xmlns:p14="http://schemas.microsoft.com/office/powerpoint/2010/main" val="25698844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4">
    <p:bg>
      <p:bgPr>
        <a:solidFill>
          <a:schemeClr val="bg1"/>
        </a:solidFill>
        <a:effectLst/>
      </p:bgPr>
    </p:bg>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7596380-44AA-9B4A-A70A-B6B7382B02B8}"/>
              </a:ext>
            </a:extLst>
          </p:cNvPr>
          <p:cNvSpPr>
            <a:spLocks noGrp="1"/>
          </p:cNvSpPr>
          <p:nvPr>
            <p:ph type="pic" sz="quarter" idx="13"/>
          </p:nvPr>
        </p:nvSpPr>
        <p:spPr>
          <a:xfrm>
            <a:off x="1522512" y="1"/>
            <a:ext cx="6483665" cy="6857553"/>
          </a:xfrm>
          <a:solidFill>
            <a:schemeClr val="bg1">
              <a:lumMod val="95000"/>
            </a:schemeClr>
          </a:solidFill>
        </p:spPr>
        <p:txBody>
          <a:bodyPr tIns="5669280"/>
          <a:lstStyle>
            <a:lvl1pPr algn="ctr">
              <a:defRPr/>
            </a:lvl1pPr>
          </a:lstStyle>
          <a:p>
            <a:r>
              <a:rPr lang="en-US"/>
              <a:t>Click icon to add picture</a:t>
            </a:r>
            <a:endParaRPr lang="en-GB"/>
          </a:p>
        </p:txBody>
      </p:sp>
      <p:pic>
        <p:nvPicPr>
          <p:cNvPr id="8" name="Graphic 7">
            <a:extLst>
              <a:ext uri="{FF2B5EF4-FFF2-40B4-BE49-F238E27FC236}">
                <a16:creationId xmlns:a16="http://schemas.microsoft.com/office/drawing/2014/main" id="{8E1BD47D-8051-FF49-996A-97F39DAA8F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81025" y="381000"/>
            <a:ext cx="761167" cy="287990"/>
          </a:xfrm>
          <a:prstGeom prst="rect">
            <a:avLst/>
          </a:prstGeom>
        </p:spPr>
      </p:pic>
      <p:sp>
        <p:nvSpPr>
          <p:cNvPr id="12" name="Text Placeholder 4">
            <a:extLst>
              <a:ext uri="{FF2B5EF4-FFF2-40B4-BE49-F238E27FC236}">
                <a16:creationId xmlns:a16="http://schemas.microsoft.com/office/drawing/2014/main" id="{8EFE0667-A6DC-BB45-B75C-FD044D4032C7}"/>
              </a:ext>
            </a:extLst>
          </p:cNvPr>
          <p:cNvSpPr>
            <a:spLocks noGrp="1"/>
          </p:cNvSpPr>
          <p:nvPr>
            <p:ph type="body" sz="quarter" idx="16" hasCustomPrompt="1"/>
          </p:nvPr>
        </p:nvSpPr>
        <p:spPr>
          <a:xfrm>
            <a:off x="8364690" y="1562100"/>
            <a:ext cx="3442179" cy="4554708"/>
          </a:xfrm>
        </p:spPr>
        <p:txBody>
          <a:bodyPr/>
          <a:lstStyle>
            <a:lvl1pPr>
              <a:spcBef>
                <a:spcPts val="700"/>
              </a:spcBef>
              <a:defRPr sz="3000">
                <a:solidFill>
                  <a:schemeClr val="tx1"/>
                </a:solidFill>
              </a:defRPr>
            </a:lvl1pPr>
            <a:lvl2pPr>
              <a:lnSpc>
                <a:spcPct val="100000"/>
              </a:lnSpc>
              <a:spcBef>
                <a:spcPts val="500"/>
              </a:spcBef>
              <a:defRPr sz="1999">
                <a:solidFill>
                  <a:schemeClr val="tx1"/>
                </a:solidFill>
              </a:defRPr>
            </a:lvl2pPr>
            <a:lvl3pPr marL="0" indent="0">
              <a:lnSpc>
                <a:spcPct val="100000"/>
              </a:lnSpc>
              <a:spcBef>
                <a:spcPts val="1999"/>
              </a:spcBef>
              <a:spcAft>
                <a:spcPts val="500"/>
              </a:spcAft>
              <a:buNone/>
              <a:defRPr sz="1200">
                <a:solidFill>
                  <a:schemeClr val="tx1"/>
                </a:solidFill>
              </a:defRPr>
            </a:lvl3pPr>
            <a:lvl4pPr marL="0" indent="0">
              <a:lnSpc>
                <a:spcPct val="100000"/>
              </a:lnSpc>
              <a:spcBef>
                <a:spcPts val="500"/>
              </a:spcBef>
              <a:spcAft>
                <a:spcPts val="500"/>
              </a:spcAft>
              <a:buNone/>
              <a:tabLst/>
              <a:defRPr>
                <a:solidFill>
                  <a:schemeClr val="tx1"/>
                </a:solidFill>
              </a:defRPr>
            </a:lvl4pPr>
            <a:lvl5pPr marL="0" indent="0">
              <a:lnSpc>
                <a:spcPct val="100000"/>
              </a:lnSpc>
              <a:spcBef>
                <a:spcPts val="500"/>
              </a:spcBef>
              <a:spcAft>
                <a:spcPts val="500"/>
              </a:spcAft>
              <a:buNone/>
              <a:tabLst/>
              <a:defRPr>
                <a:solidFill>
                  <a:schemeClr val="tx1"/>
                </a:solidFill>
              </a:defRPr>
            </a:lvl5pPr>
          </a:lstStyle>
          <a:p>
            <a:pPr lvl="0"/>
            <a:r>
              <a:rPr lang="en-GB"/>
              <a:t>First level – title</a:t>
            </a:r>
            <a:br>
              <a:rPr lang="en-GB"/>
            </a:br>
            <a:r>
              <a:rPr lang="en-GB"/>
              <a:t>Second level – subtitle</a:t>
            </a:r>
            <a:br>
              <a:rPr lang="en-GB"/>
            </a:br>
            <a:r>
              <a:rPr lang="en-GB"/>
              <a:t>Third level – date</a:t>
            </a:r>
          </a:p>
          <a:p>
            <a:pPr lvl="1"/>
            <a:r>
              <a:rPr lang="en-GB"/>
              <a:t>Second level</a:t>
            </a:r>
          </a:p>
          <a:p>
            <a:pPr lvl="2"/>
            <a:r>
              <a:rPr lang="en-GB"/>
              <a:t>Third level – date</a:t>
            </a:r>
          </a:p>
          <a:p>
            <a:pPr lvl="3"/>
            <a:r>
              <a:rPr lang="en-GB"/>
              <a:t>Fourth level</a:t>
            </a:r>
          </a:p>
          <a:p>
            <a:pPr lvl="4"/>
            <a:r>
              <a:rPr lang="en-GB"/>
              <a:t>Fifth level</a:t>
            </a:r>
          </a:p>
        </p:txBody>
      </p:sp>
      <p:sp>
        <p:nvSpPr>
          <p:cNvPr id="13" name="TextBox 12">
            <a:extLst>
              <a:ext uri="{FF2B5EF4-FFF2-40B4-BE49-F238E27FC236}">
                <a16:creationId xmlns:a16="http://schemas.microsoft.com/office/drawing/2014/main" id="{2C65CD7D-9CC1-4329-8F86-3B9577E6D788}"/>
              </a:ext>
            </a:extLst>
          </p:cNvPr>
          <p:cNvSpPr txBox="1"/>
          <p:nvPr userDrawn="1"/>
        </p:nvSpPr>
        <p:spPr>
          <a:xfrm>
            <a:off x="10215096" y="6222366"/>
            <a:ext cx="1591774" cy="282128"/>
          </a:xfrm>
          <a:prstGeom prst="rect">
            <a:avLst/>
          </a:prstGeom>
          <a:noFill/>
        </p:spPr>
        <p:txBody>
          <a:bodyPr wrap="square" lIns="0" tIns="0" rIns="0" bIns="0" rtlCol="0" anchor="b">
            <a:spAutoFit/>
          </a:bodyPr>
          <a:lstStyle/>
          <a:p>
            <a:pPr marL="0" algn="r">
              <a:lnSpc>
                <a:spcPct val="117000"/>
              </a:lnSpc>
              <a:spcAft>
                <a:spcPts val="500"/>
              </a:spcAft>
            </a:pPr>
            <a:r>
              <a:rPr lang="en-GB" sz="800" b="1">
                <a:solidFill>
                  <a:schemeClr val="tx1"/>
                </a:solidFill>
                <a:latin typeface="Helvetica Now Text" panose="020B0504030202020204" pitchFamily="34" charset="0"/>
              </a:rPr>
              <a:t>Nat Cat Revealed 2025</a:t>
            </a:r>
            <a:br>
              <a:rPr lang="en-GB" sz="800">
                <a:solidFill>
                  <a:schemeClr val="tx1"/>
                </a:solidFill>
                <a:latin typeface="Helvetica Now Text" panose="020B0504030202020204" pitchFamily="34" charset="0"/>
              </a:rPr>
            </a:b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22043977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DCC367-2F65-1C29-E2CC-FDBD0C9E94D0}"/>
              </a:ext>
            </a:extLst>
          </p:cNvPr>
          <p:cNvGraphicFramePr>
            <a:graphicFrameLocks noChangeAspect="1"/>
          </p:cNvGraphicFramePr>
          <p:nvPr userDrawn="1">
            <p:custDataLst>
              <p:tags r:id="rId1"/>
            </p:custData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ECDCC367-2F65-1C29-E2CC-FDBD0C9E94D0}"/>
                          </a:ext>
                        </a:extLst>
                      </p:cNvPr>
                      <p:cNvPicPr/>
                      <p:nvPr/>
                    </p:nvPicPr>
                    <p:blipFill>
                      <a:blip r:embed="rId4"/>
                      <a:stretch>
                        <a:fillRect/>
                      </a:stretch>
                    </p:blipFill>
                    <p:spPr>
                      <a:xfrm>
                        <a:off x="1587" y="1587"/>
                        <a:ext cx="1588" cy="1588"/>
                      </a:xfrm>
                      <a:prstGeom prst="rect">
                        <a:avLst/>
                      </a:prstGeom>
                    </p:spPr>
                  </p:pic>
                </p:oleObj>
              </mc:Fallback>
            </mc:AlternateContent>
          </a:graphicData>
        </a:graphic>
      </p:graphicFrame>
      <p:pic>
        <p:nvPicPr>
          <p:cNvPr id="6" name="Picture Placeholder 7">
            <a:extLst>
              <a:ext uri="{FF2B5EF4-FFF2-40B4-BE49-F238E27FC236}">
                <a16:creationId xmlns:a16="http://schemas.microsoft.com/office/drawing/2014/main" id="{35E08E7F-9661-EA68-E6F6-CDF8372124B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23"/>
          <a:stretch/>
        </p:blipFill>
        <p:spPr>
          <a:xfrm>
            <a:off x="6356087" y="0"/>
            <a:ext cx="5835913" cy="6858000"/>
          </a:xfrm>
          <a:prstGeom prst="rect">
            <a:avLst/>
          </a:prstGeom>
        </p:spPr>
      </p:pic>
      <p:sp>
        <p:nvSpPr>
          <p:cNvPr id="2" name="Rectangle 1">
            <a:extLst>
              <a:ext uri="{FF2B5EF4-FFF2-40B4-BE49-F238E27FC236}">
                <a16:creationId xmlns:a16="http://schemas.microsoft.com/office/drawing/2014/main" id="{0AA147A1-3540-4DCC-3186-860C86769213}"/>
              </a:ext>
            </a:extLst>
          </p:cNvPr>
          <p:cNvSpPr/>
          <p:nvPr userDrawn="1"/>
        </p:nvSpPr>
        <p:spPr>
          <a:xfrm>
            <a:off x="0" y="1"/>
            <a:ext cx="6409844" cy="6857999"/>
          </a:xfrm>
          <a:prstGeom prst="rect">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chemeClr val="tx2"/>
              </a:solidFill>
            </a:endParaRPr>
          </a:p>
        </p:txBody>
      </p:sp>
      <p:sp>
        <p:nvSpPr>
          <p:cNvPr id="5" name="Rectangle 4">
            <a:extLst>
              <a:ext uri="{FF2B5EF4-FFF2-40B4-BE49-F238E27FC236}">
                <a16:creationId xmlns:a16="http://schemas.microsoft.com/office/drawing/2014/main" id="{75D0DA08-20FA-6AC8-8416-E4CE605C8A8E}"/>
              </a:ext>
            </a:extLst>
          </p:cNvPr>
          <p:cNvSpPr/>
          <p:nvPr userDrawn="1"/>
        </p:nvSpPr>
        <p:spPr>
          <a:xfrm>
            <a:off x="6356087" y="-794"/>
            <a:ext cx="998826" cy="6857999"/>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solidFill>
                <a:schemeClr val="tx2"/>
              </a:solidFill>
            </a:endParaRPr>
          </a:p>
        </p:txBody>
      </p:sp>
      <p:pic>
        <p:nvPicPr>
          <p:cNvPr id="8" name="Graphic 7">
            <a:extLst>
              <a:ext uri="{FF2B5EF4-FFF2-40B4-BE49-F238E27FC236}">
                <a16:creationId xmlns:a16="http://schemas.microsoft.com/office/drawing/2014/main" id="{55DEA360-3E45-6E11-7F4A-985AE382A0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106" y="381000"/>
            <a:ext cx="950153" cy="359494"/>
          </a:xfrm>
          <a:prstGeom prst="rect">
            <a:avLst/>
          </a:prstGeom>
        </p:spPr>
      </p:pic>
      <p:sp>
        <p:nvSpPr>
          <p:cNvPr id="10" name="Text Placeholder 4">
            <a:extLst>
              <a:ext uri="{FF2B5EF4-FFF2-40B4-BE49-F238E27FC236}">
                <a16:creationId xmlns:a16="http://schemas.microsoft.com/office/drawing/2014/main" id="{23CC73F2-84E8-9D29-9C3A-1619ECEC03A0}"/>
              </a:ext>
            </a:extLst>
          </p:cNvPr>
          <p:cNvSpPr>
            <a:spLocks noGrp="1"/>
          </p:cNvSpPr>
          <p:nvPr>
            <p:ph type="body" sz="quarter" idx="18" hasCustomPrompt="1"/>
          </p:nvPr>
        </p:nvSpPr>
        <p:spPr>
          <a:xfrm>
            <a:off x="748445" y="1562100"/>
            <a:ext cx="4252239" cy="4554708"/>
          </a:xfrm>
        </p:spPr>
        <p:txBody>
          <a:bodyPr/>
          <a:lstStyle>
            <a:lvl1pPr>
              <a:spcBef>
                <a:spcPts val="700"/>
              </a:spcBef>
              <a:defRPr sz="3000">
                <a:solidFill>
                  <a:schemeClr val="accent4"/>
                </a:solidFill>
              </a:defRPr>
            </a:lvl1pPr>
            <a:lvl2pPr>
              <a:lnSpc>
                <a:spcPct val="100000"/>
              </a:lnSpc>
              <a:spcBef>
                <a:spcPts val="500"/>
              </a:spcBef>
              <a:defRPr sz="1999">
                <a:solidFill>
                  <a:schemeClr val="accent4"/>
                </a:solidFill>
              </a:defRPr>
            </a:lvl2pPr>
            <a:lvl3pPr marL="0" indent="0">
              <a:lnSpc>
                <a:spcPct val="100000"/>
              </a:lnSpc>
              <a:spcBef>
                <a:spcPts val="1999"/>
              </a:spcBef>
              <a:spcAft>
                <a:spcPts val="500"/>
              </a:spcAft>
              <a:buNone/>
              <a:defRPr sz="1200">
                <a:solidFill>
                  <a:schemeClr val="accent4"/>
                </a:solidFill>
              </a:defRPr>
            </a:lvl3pPr>
            <a:lvl4pPr marL="0" indent="0">
              <a:lnSpc>
                <a:spcPct val="100000"/>
              </a:lnSpc>
              <a:spcBef>
                <a:spcPts val="500"/>
              </a:spcBef>
              <a:spcAft>
                <a:spcPts val="500"/>
              </a:spcAft>
              <a:buNone/>
              <a:tabLst/>
              <a:defRPr sz="1100">
                <a:solidFill>
                  <a:schemeClr val="accent4"/>
                </a:solidFill>
              </a:defRPr>
            </a:lvl4pPr>
            <a:lvl5pPr marL="0" indent="0">
              <a:lnSpc>
                <a:spcPct val="100000"/>
              </a:lnSpc>
              <a:spcBef>
                <a:spcPts val="500"/>
              </a:spcBef>
              <a:spcAft>
                <a:spcPts val="500"/>
              </a:spcAft>
              <a:buNone/>
              <a:tabLst/>
              <a:defRPr sz="1000">
                <a:solidFill>
                  <a:schemeClr val="accent4"/>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11" name="TextBox 10">
            <a:extLst>
              <a:ext uri="{FF2B5EF4-FFF2-40B4-BE49-F238E27FC236}">
                <a16:creationId xmlns:a16="http://schemas.microsoft.com/office/drawing/2014/main" id="{7743D087-37C0-FC91-2B01-C12BE2260EAF}"/>
              </a:ext>
            </a:extLst>
          </p:cNvPr>
          <p:cNvSpPr txBox="1"/>
          <p:nvPr userDrawn="1"/>
        </p:nvSpPr>
        <p:spPr>
          <a:xfrm>
            <a:off x="748445" y="6222366"/>
            <a:ext cx="1591774" cy="282128"/>
          </a:xfrm>
          <a:prstGeom prst="rect">
            <a:avLst/>
          </a:prstGeom>
          <a:noFill/>
        </p:spPr>
        <p:txBody>
          <a:bodyPr wrap="square" lIns="0" tIns="0" rIns="0" bIns="0" rtlCol="0" anchor="b">
            <a:spAutoFit/>
          </a:bodyPr>
          <a:lstStyle/>
          <a:p>
            <a:pPr marL="0" algn="l">
              <a:lnSpc>
                <a:spcPct val="117000"/>
              </a:lnSpc>
              <a:spcAft>
                <a:spcPts val="500"/>
              </a:spcAft>
            </a:pPr>
            <a:r>
              <a:rPr lang="en-GB" sz="800" b="1">
                <a:solidFill>
                  <a:schemeClr val="bg1"/>
                </a:solidFill>
                <a:latin typeface="Helvetica Now Text" panose="020B0504030202020204" pitchFamily="34" charset="0"/>
              </a:rPr>
              <a:t>Nat Cat Revealed 2025</a:t>
            </a:r>
            <a:br>
              <a:rPr lang="en-GB" sz="800">
                <a:solidFill>
                  <a:schemeClr val="bg1"/>
                </a:solidFill>
                <a:latin typeface="Helvetica Now Text" panose="020B0504030202020204" pitchFamily="34" charset="0"/>
              </a:rPr>
            </a:br>
            <a:r>
              <a:rPr lang="en-GB" sz="800">
                <a:solidFill>
                  <a:schemeClr val="bg1"/>
                </a:solidFill>
                <a:latin typeface="Helvetica Now Text" panose="020B0504030202020204" pitchFamily="34" charset="0"/>
              </a:rPr>
              <a:t>Proprietary &amp; Confidential</a:t>
            </a:r>
          </a:p>
        </p:txBody>
      </p:sp>
      <p:sp>
        <p:nvSpPr>
          <p:cNvPr id="12" name="Rectangle 11">
            <a:extLst>
              <a:ext uri="{FF2B5EF4-FFF2-40B4-BE49-F238E27FC236}">
                <a16:creationId xmlns:a16="http://schemas.microsoft.com/office/drawing/2014/main" id="{5BE68E0D-2FF6-8C14-0422-0B2CFDC7CA41}"/>
              </a:ext>
            </a:extLst>
          </p:cNvPr>
          <p:cNvSpPr/>
          <p:nvPr userDrawn="1"/>
        </p:nvSpPr>
        <p:spPr>
          <a:xfrm>
            <a:off x="0" y="0"/>
            <a:ext cx="37874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Tree>
    <p:extLst>
      <p:ext uri="{BB962C8B-B14F-4D97-AF65-F5344CB8AC3E}">
        <p14:creationId xmlns:p14="http://schemas.microsoft.com/office/powerpoint/2010/main" val="31618462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3_Title Slide">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CDCC367-2F65-1C29-E2CC-FDBD0C9E94D0}"/>
              </a:ext>
            </a:extLst>
          </p:cNvPr>
          <p:cNvGraphicFramePr>
            <a:graphicFrameLocks noChangeAspect="1"/>
          </p:cNvGraphicFramePr>
          <p:nvPr userDrawn="1">
            <p:custDataLst>
              <p:tags r:id="rId1"/>
            </p:custData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4" name="think-cell data - do not delete" hidden="1">
                        <a:extLst>
                          <a:ext uri="{FF2B5EF4-FFF2-40B4-BE49-F238E27FC236}">
                            <a16:creationId xmlns:a16="http://schemas.microsoft.com/office/drawing/2014/main" id="{ECDCC367-2F65-1C29-E2CC-FDBD0C9E94D0}"/>
                          </a:ext>
                        </a:extLst>
                      </p:cNvPr>
                      <p:cNvPicPr/>
                      <p:nvPr/>
                    </p:nvPicPr>
                    <p:blipFill>
                      <a:blip r:embed="rId4"/>
                      <a:stretch>
                        <a:fillRect/>
                      </a:stretch>
                    </p:blipFill>
                    <p:spPr>
                      <a:xfrm>
                        <a:off x="1587" y="1587"/>
                        <a:ext cx="1588" cy="1588"/>
                      </a:xfrm>
                      <a:prstGeom prst="rect">
                        <a:avLst/>
                      </a:prstGeom>
                    </p:spPr>
                  </p:pic>
                </p:oleObj>
              </mc:Fallback>
            </mc:AlternateContent>
          </a:graphicData>
        </a:graphic>
      </p:graphicFrame>
      <p:pic>
        <p:nvPicPr>
          <p:cNvPr id="6" name="Picture Placeholder 7">
            <a:extLst>
              <a:ext uri="{FF2B5EF4-FFF2-40B4-BE49-F238E27FC236}">
                <a16:creationId xmlns:a16="http://schemas.microsoft.com/office/drawing/2014/main" id="{35E08E7F-9661-EA68-E6F6-CDF8372124B7}"/>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b="-23"/>
          <a:stretch/>
        </p:blipFill>
        <p:spPr>
          <a:xfrm>
            <a:off x="6356087" y="0"/>
            <a:ext cx="5835913" cy="6858000"/>
          </a:xfrm>
          <a:prstGeom prst="rect">
            <a:avLst/>
          </a:prstGeom>
        </p:spPr>
      </p:pic>
      <p:sp>
        <p:nvSpPr>
          <p:cNvPr id="2" name="Rectangle 1">
            <a:extLst>
              <a:ext uri="{FF2B5EF4-FFF2-40B4-BE49-F238E27FC236}">
                <a16:creationId xmlns:a16="http://schemas.microsoft.com/office/drawing/2014/main" id="{0AA147A1-3540-4DCC-3186-860C86769213}"/>
              </a:ext>
            </a:extLst>
          </p:cNvPr>
          <p:cNvSpPr/>
          <p:nvPr userDrawn="1"/>
        </p:nvSpPr>
        <p:spPr>
          <a:xfrm>
            <a:off x="0" y="1"/>
            <a:ext cx="6409844" cy="6857999"/>
          </a:xfrm>
          <a:prstGeom prst="rect">
            <a:avLst/>
          </a:prstGeom>
          <a:solidFill>
            <a:srgbClr val="2628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solidFill>
                <a:schemeClr val="tx2"/>
              </a:solidFill>
            </a:endParaRPr>
          </a:p>
        </p:txBody>
      </p:sp>
      <p:sp>
        <p:nvSpPr>
          <p:cNvPr id="5" name="Rectangle 4">
            <a:extLst>
              <a:ext uri="{FF2B5EF4-FFF2-40B4-BE49-F238E27FC236}">
                <a16:creationId xmlns:a16="http://schemas.microsoft.com/office/drawing/2014/main" id="{75D0DA08-20FA-6AC8-8416-E4CE605C8A8E}"/>
              </a:ext>
            </a:extLst>
          </p:cNvPr>
          <p:cNvSpPr/>
          <p:nvPr userDrawn="1"/>
        </p:nvSpPr>
        <p:spPr>
          <a:xfrm>
            <a:off x="6356087" y="-794"/>
            <a:ext cx="998826" cy="6857999"/>
          </a:xfrm>
          <a:prstGeom prst="rect">
            <a:avLst/>
          </a:prstGeom>
          <a:solidFill>
            <a:schemeClr val="bg1">
              <a:alpha val="8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00">
              <a:solidFill>
                <a:schemeClr val="tx2"/>
              </a:solidFill>
            </a:endParaRPr>
          </a:p>
        </p:txBody>
      </p:sp>
      <p:pic>
        <p:nvPicPr>
          <p:cNvPr id="8" name="Graphic 7">
            <a:extLst>
              <a:ext uri="{FF2B5EF4-FFF2-40B4-BE49-F238E27FC236}">
                <a16:creationId xmlns:a16="http://schemas.microsoft.com/office/drawing/2014/main" id="{55DEA360-3E45-6E11-7F4A-985AE382A0D6}"/>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765106" y="381000"/>
            <a:ext cx="950153" cy="359494"/>
          </a:xfrm>
          <a:prstGeom prst="rect">
            <a:avLst/>
          </a:prstGeom>
        </p:spPr>
      </p:pic>
      <p:sp>
        <p:nvSpPr>
          <p:cNvPr id="10" name="Text Placeholder 4">
            <a:extLst>
              <a:ext uri="{FF2B5EF4-FFF2-40B4-BE49-F238E27FC236}">
                <a16:creationId xmlns:a16="http://schemas.microsoft.com/office/drawing/2014/main" id="{23CC73F2-84E8-9D29-9C3A-1619ECEC03A0}"/>
              </a:ext>
            </a:extLst>
          </p:cNvPr>
          <p:cNvSpPr>
            <a:spLocks noGrp="1"/>
          </p:cNvSpPr>
          <p:nvPr>
            <p:ph type="body" sz="quarter" idx="18" hasCustomPrompt="1"/>
          </p:nvPr>
        </p:nvSpPr>
        <p:spPr>
          <a:xfrm>
            <a:off x="748445" y="1562100"/>
            <a:ext cx="4252239" cy="4554708"/>
          </a:xfrm>
        </p:spPr>
        <p:txBody>
          <a:bodyPr/>
          <a:lstStyle>
            <a:lvl1pPr>
              <a:spcBef>
                <a:spcPts val="700"/>
              </a:spcBef>
              <a:defRPr sz="3000">
                <a:solidFill>
                  <a:schemeClr val="accent4"/>
                </a:solidFill>
              </a:defRPr>
            </a:lvl1pPr>
            <a:lvl2pPr>
              <a:lnSpc>
                <a:spcPct val="100000"/>
              </a:lnSpc>
              <a:spcBef>
                <a:spcPts val="500"/>
              </a:spcBef>
              <a:defRPr sz="1999">
                <a:solidFill>
                  <a:schemeClr val="accent4"/>
                </a:solidFill>
              </a:defRPr>
            </a:lvl2pPr>
            <a:lvl3pPr marL="0" indent="0">
              <a:lnSpc>
                <a:spcPct val="100000"/>
              </a:lnSpc>
              <a:spcBef>
                <a:spcPts val="1999"/>
              </a:spcBef>
              <a:spcAft>
                <a:spcPts val="500"/>
              </a:spcAft>
              <a:buNone/>
              <a:defRPr sz="1200">
                <a:solidFill>
                  <a:schemeClr val="accent4"/>
                </a:solidFill>
              </a:defRPr>
            </a:lvl3pPr>
            <a:lvl4pPr marL="0" indent="0">
              <a:lnSpc>
                <a:spcPct val="100000"/>
              </a:lnSpc>
              <a:spcBef>
                <a:spcPts val="500"/>
              </a:spcBef>
              <a:spcAft>
                <a:spcPts val="500"/>
              </a:spcAft>
              <a:buNone/>
              <a:tabLst/>
              <a:defRPr sz="1100">
                <a:solidFill>
                  <a:schemeClr val="accent4"/>
                </a:solidFill>
              </a:defRPr>
            </a:lvl4pPr>
            <a:lvl5pPr marL="0" indent="0">
              <a:lnSpc>
                <a:spcPct val="100000"/>
              </a:lnSpc>
              <a:spcBef>
                <a:spcPts val="500"/>
              </a:spcBef>
              <a:spcAft>
                <a:spcPts val="500"/>
              </a:spcAft>
              <a:buNone/>
              <a:tabLst/>
              <a:defRPr sz="1000">
                <a:solidFill>
                  <a:schemeClr val="accent4"/>
                </a:solidFill>
              </a:defRPr>
            </a:lvl5pPr>
          </a:lstStyle>
          <a:p>
            <a:pPr lvl="0"/>
            <a:r>
              <a:rPr lang="en-GB"/>
              <a:t>First level – title. Second level – subtitle. Third level – date</a:t>
            </a:r>
          </a:p>
          <a:p>
            <a:pPr lvl="1"/>
            <a:r>
              <a:rPr lang="en-GB"/>
              <a:t>Second level </a:t>
            </a:r>
          </a:p>
          <a:p>
            <a:pPr lvl="2"/>
            <a:r>
              <a:rPr lang="en-GB"/>
              <a:t>Third level – date</a:t>
            </a:r>
          </a:p>
          <a:p>
            <a:pPr lvl="3"/>
            <a:r>
              <a:rPr lang="en-GB"/>
              <a:t>Fourth level</a:t>
            </a:r>
          </a:p>
          <a:p>
            <a:pPr lvl="4"/>
            <a:r>
              <a:rPr lang="en-GB"/>
              <a:t>Fifth level</a:t>
            </a:r>
          </a:p>
        </p:txBody>
      </p:sp>
      <p:sp>
        <p:nvSpPr>
          <p:cNvPr id="11" name="TextBox 10">
            <a:extLst>
              <a:ext uri="{FF2B5EF4-FFF2-40B4-BE49-F238E27FC236}">
                <a16:creationId xmlns:a16="http://schemas.microsoft.com/office/drawing/2014/main" id="{7743D087-37C0-FC91-2B01-C12BE2260EAF}"/>
              </a:ext>
            </a:extLst>
          </p:cNvPr>
          <p:cNvSpPr txBox="1"/>
          <p:nvPr userDrawn="1"/>
        </p:nvSpPr>
        <p:spPr>
          <a:xfrm>
            <a:off x="748445" y="6222366"/>
            <a:ext cx="1591774" cy="282128"/>
          </a:xfrm>
          <a:prstGeom prst="rect">
            <a:avLst/>
          </a:prstGeom>
          <a:noFill/>
        </p:spPr>
        <p:txBody>
          <a:bodyPr wrap="square" lIns="0" tIns="0" rIns="0" bIns="0" rtlCol="0" anchor="b">
            <a:spAutoFit/>
          </a:bodyPr>
          <a:lstStyle/>
          <a:p>
            <a:pPr marL="0" algn="l">
              <a:lnSpc>
                <a:spcPct val="117000"/>
              </a:lnSpc>
              <a:spcAft>
                <a:spcPts val="500"/>
              </a:spcAft>
            </a:pPr>
            <a:r>
              <a:rPr lang="en-GB" sz="800" b="1">
                <a:solidFill>
                  <a:schemeClr val="bg1"/>
                </a:solidFill>
                <a:latin typeface="Helvetica Now Text" panose="020B0504030202020204" pitchFamily="34" charset="0"/>
              </a:rPr>
              <a:t>Nat Cat Revealed 2025</a:t>
            </a:r>
            <a:br>
              <a:rPr lang="en-GB" sz="800">
                <a:solidFill>
                  <a:schemeClr val="bg1"/>
                </a:solidFill>
                <a:latin typeface="Helvetica Now Text" panose="020B0504030202020204" pitchFamily="34" charset="0"/>
              </a:rPr>
            </a:br>
            <a:r>
              <a:rPr lang="en-GB" sz="800">
                <a:solidFill>
                  <a:schemeClr val="bg1"/>
                </a:solidFill>
                <a:latin typeface="Helvetica Now Text" panose="020B0504030202020204" pitchFamily="34" charset="0"/>
              </a:rPr>
              <a:t>Proprietary &amp; Confidential</a:t>
            </a:r>
          </a:p>
        </p:txBody>
      </p:sp>
      <p:sp>
        <p:nvSpPr>
          <p:cNvPr id="12" name="Rectangle 11">
            <a:extLst>
              <a:ext uri="{FF2B5EF4-FFF2-40B4-BE49-F238E27FC236}">
                <a16:creationId xmlns:a16="http://schemas.microsoft.com/office/drawing/2014/main" id="{5BE68E0D-2FF6-8C14-0422-0B2CFDC7CA41}"/>
              </a:ext>
            </a:extLst>
          </p:cNvPr>
          <p:cNvSpPr/>
          <p:nvPr userDrawn="1"/>
        </p:nvSpPr>
        <p:spPr>
          <a:xfrm>
            <a:off x="0" y="0"/>
            <a:ext cx="37874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Tree>
    <p:extLst>
      <p:ext uri="{BB962C8B-B14F-4D97-AF65-F5344CB8AC3E}">
        <p14:creationId xmlns:p14="http://schemas.microsoft.com/office/powerpoint/2010/main" val="31618462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rgbClr val="E5EFF0"/>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4951734" y="1"/>
            <a:ext cx="7240265"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FB23DE17-67B6-4E5C-AF90-826DFDD2B8C6}"/>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3" name="Subtitle 2">
            <a:extLst>
              <a:ext uri="{FF2B5EF4-FFF2-40B4-BE49-F238E27FC236}">
                <a16:creationId xmlns:a16="http://schemas.microsoft.com/office/drawing/2014/main" id="{51B5F62F-6F04-E15E-16A6-DE3FD7C9DAFE}"/>
              </a:ext>
            </a:extLst>
          </p:cNvPr>
          <p:cNvSpPr>
            <a:spLocks noGrp="1"/>
          </p:cNvSpPr>
          <p:nvPr>
            <p:ph type="subTitle" idx="13" hasCustomPrompt="1"/>
          </p:nvPr>
        </p:nvSpPr>
        <p:spPr>
          <a:xfrm>
            <a:off x="360983" y="524952"/>
            <a:ext cx="4205219" cy="2045834"/>
          </a:xfrm>
        </p:spPr>
        <p:txBody>
          <a:bodyPr wrap="square">
            <a:noAutofit/>
          </a:bodyPr>
          <a:lstStyle>
            <a:lvl1pPr marL="0" indent="0" algn="l">
              <a:spcAft>
                <a:spcPts val="0"/>
              </a:spcAft>
              <a:buNone/>
              <a:defRPr sz="15395"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9E1C85A5-74BD-DB95-507B-FB67B6622D24}"/>
              </a:ext>
            </a:extLst>
          </p:cNvPr>
          <p:cNvSpPr>
            <a:spLocks noGrp="1"/>
          </p:cNvSpPr>
          <p:nvPr>
            <p:ph type="body" sz="quarter" idx="15" hasCustomPrompt="1"/>
          </p:nvPr>
        </p:nvSpPr>
        <p:spPr>
          <a:xfrm>
            <a:off x="360983" y="2570786"/>
            <a:ext cx="4205219"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 name="TextBox 1">
            <a:extLst>
              <a:ext uri="{FF2B5EF4-FFF2-40B4-BE49-F238E27FC236}">
                <a16:creationId xmlns:a16="http://schemas.microsoft.com/office/drawing/2014/main" id="{7F36EC28-CF12-6C51-4B05-BABF5AA4F5BB}"/>
              </a:ext>
            </a:extLst>
          </p:cNvPr>
          <p:cNvSpPr txBox="1"/>
          <p:nvPr userDrawn="1"/>
        </p:nvSpPr>
        <p:spPr>
          <a:xfrm>
            <a:off x="10215096" y="6222366"/>
            <a:ext cx="1591774" cy="282128"/>
          </a:xfrm>
          <a:prstGeom prst="rect">
            <a:avLst/>
          </a:prstGeom>
          <a:noFill/>
        </p:spPr>
        <p:txBody>
          <a:bodyPr wrap="square" lIns="0" tIns="0" rIns="0" bIns="0" rtlCol="0" anchor="b">
            <a:spAutoFit/>
          </a:bodyPr>
          <a:lstStyle/>
          <a:p>
            <a:pPr marL="0" algn="r">
              <a:lnSpc>
                <a:spcPct val="117000"/>
              </a:lnSpc>
              <a:spcAft>
                <a:spcPts val="500"/>
              </a:spcAft>
            </a:pPr>
            <a:r>
              <a:rPr lang="en-GB" sz="800" b="1">
                <a:solidFill>
                  <a:schemeClr val="tx1"/>
                </a:solidFill>
                <a:latin typeface="Helvetica Now Text" panose="020B0504030202020204" pitchFamily="34" charset="0"/>
              </a:rPr>
              <a:t>Nat Cat Revealed 2025</a:t>
            </a:r>
            <a:br>
              <a:rPr lang="en-GB" sz="800">
                <a:solidFill>
                  <a:schemeClr val="tx1"/>
                </a:solidFill>
                <a:latin typeface="Helvetica Now Text" panose="020B0504030202020204" pitchFamily="34" charset="0"/>
              </a:rPr>
            </a:b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311668064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rgbClr val="262836"/>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4951734" y="1"/>
            <a:ext cx="7240265"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9" name="TextBox 8">
            <a:extLst>
              <a:ext uri="{FF2B5EF4-FFF2-40B4-BE49-F238E27FC236}">
                <a16:creationId xmlns:a16="http://schemas.microsoft.com/office/drawing/2014/main" id="{FB23DE17-67B6-4E5C-AF90-826DFDD2B8C6}"/>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3" name="Subtitle 2">
            <a:extLst>
              <a:ext uri="{FF2B5EF4-FFF2-40B4-BE49-F238E27FC236}">
                <a16:creationId xmlns:a16="http://schemas.microsoft.com/office/drawing/2014/main" id="{51B5F62F-6F04-E15E-16A6-DE3FD7C9DAFE}"/>
              </a:ext>
            </a:extLst>
          </p:cNvPr>
          <p:cNvSpPr>
            <a:spLocks noGrp="1"/>
          </p:cNvSpPr>
          <p:nvPr>
            <p:ph type="subTitle" idx="13" hasCustomPrompt="1"/>
          </p:nvPr>
        </p:nvSpPr>
        <p:spPr>
          <a:xfrm>
            <a:off x="360983" y="524952"/>
            <a:ext cx="4205219" cy="2045834"/>
          </a:xfrm>
        </p:spPr>
        <p:txBody>
          <a:bodyPr wrap="square">
            <a:noAutofit/>
          </a:bodyPr>
          <a:lstStyle>
            <a:lvl1pPr marL="0" indent="0" algn="l">
              <a:spcAft>
                <a:spcPts val="0"/>
              </a:spcAft>
              <a:buNone/>
              <a:defRPr sz="15395"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9E1C85A5-74BD-DB95-507B-FB67B6622D24}"/>
              </a:ext>
            </a:extLst>
          </p:cNvPr>
          <p:cNvSpPr>
            <a:spLocks noGrp="1"/>
          </p:cNvSpPr>
          <p:nvPr>
            <p:ph type="body" sz="quarter" idx="15" hasCustomPrompt="1"/>
          </p:nvPr>
        </p:nvSpPr>
        <p:spPr>
          <a:xfrm>
            <a:off x="360983" y="2570786"/>
            <a:ext cx="4205219" cy="934499"/>
          </a:xfrm>
        </p:spPr>
        <p:txBody>
          <a:bodyPr/>
          <a:lstStyle>
            <a:lvl1pPr>
              <a:defRPr sz="2799" b="0">
                <a:solidFill>
                  <a:schemeClr val="bg1"/>
                </a:solidFill>
              </a:defRPr>
            </a:lvl1pPr>
            <a:lvl2pPr>
              <a:defRPr sz="1400">
                <a:solidFill>
                  <a:schemeClr val="bg1"/>
                </a:solidFill>
              </a:defRPr>
            </a:lvl2pPr>
            <a:lvl3pPr marL="251924" indent="-251924">
              <a:defRPr sz="1400">
                <a:solidFill>
                  <a:schemeClr val="bg1"/>
                </a:solidFill>
              </a:defRPr>
            </a:lvl3pPr>
            <a:lvl4pPr marL="503849" indent="-251924">
              <a:defRPr sz="1400">
                <a:solidFill>
                  <a:schemeClr val="bg1"/>
                </a:solidFill>
              </a:defRPr>
            </a:lvl4pPr>
            <a:lvl5pPr marL="755773" indent="-251924">
              <a:defRPr sz="1400">
                <a:solidFill>
                  <a:schemeClr val="bg1"/>
                </a:solidFill>
              </a:defRPr>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2" name="Rectangle 1">
            <a:extLst>
              <a:ext uri="{FF2B5EF4-FFF2-40B4-BE49-F238E27FC236}">
                <a16:creationId xmlns:a16="http://schemas.microsoft.com/office/drawing/2014/main" id="{680893ED-A3DB-3BF9-ACC4-9487758FDD4C}"/>
              </a:ext>
            </a:extLst>
          </p:cNvPr>
          <p:cNvSpPr/>
          <p:nvPr userDrawn="1"/>
        </p:nvSpPr>
        <p:spPr>
          <a:xfrm>
            <a:off x="1" y="0"/>
            <a:ext cx="25719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900"/>
          </a:p>
        </p:txBody>
      </p:sp>
      <p:sp>
        <p:nvSpPr>
          <p:cNvPr id="6" name="TextBox 5">
            <a:extLst>
              <a:ext uri="{FF2B5EF4-FFF2-40B4-BE49-F238E27FC236}">
                <a16:creationId xmlns:a16="http://schemas.microsoft.com/office/drawing/2014/main" id="{8A971D33-AA79-BA1F-06E4-78397029D363}"/>
              </a:ext>
            </a:extLst>
          </p:cNvPr>
          <p:cNvSpPr txBox="1"/>
          <p:nvPr userDrawn="1"/>
        </p:nvSpPr>
        <p:spPr>
          <a:xfrm>
            <a:off x="10215096" y="6222366"/>
            <a:ext cx="1591774" cy="282128"/>
          </a:xfrm>
          <a:prstGeom prst="rect">
            <a:avLst/>
          </a:prstGeom>
          <a:noFill/>
        </p:spPr>
        <p:txBody>
          <a:bodyPr wrap="square" lIns="0" tIns="0" rIns="0" bIns="0" rtlCol="0" anchor="b">
            <a:spAutoFit/>
          </a:bodyPr>
          <a:lstStyle/>
          <a:p>
            <a:pPr marL="0" algn="r">
              <a:lnSpc>
                <a:spcPct val="117000"/>
              </a:lnSpc>
              <a:spcAft>
                <a:spcPts val="500"/>
              </a:spcAft>
            </a:pPr>
            <a:r>
              <a:rPr lang="en-GB" sz="800" b="1">
                <a:solidFill>
                  <a:schemeClr val="tx1"/>
                </a:solidFill>
                <a:latin typeface="Helvetica Now Text" panose="020B0504030202020204" pitchFamily="34" charset="0"/>
              </a:rPr>
              <a:t>Nat Cat Revealed 2025</a:t>
            </a:r>
            <a:br>
              <a:rPr lang="en-GB" sz="800">
                <a:solidFill>
                  <a:schemeClr val="tx1"/>
                </a:solidFill>
                <a:latin typeface="Helvetica Now Text" panose="020B0504030202020204" pitchFamily="34" charset="0"/>
              </a:rPr>
            </a:br>
            <a:r>
              <a:rPr lang="en-GB" sz="800">
                <a:solidFill>
                  <a:schemeClr val="tx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32646694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ivider Slide 2">
    <p:bg>
      <p:bgPr>
        <a:solidFill>
          <a:srgbClr val="E5EFF0"/>
        </a:solidFill>
        <a:effectLst/>
      </p:bgPr>
    </p:bg>
    <p:spTree>
      <p:nvGrpSpPr>
        <p:cNvPr id="1" name=""/>
        <p:cNvGrpSpPr/>
        <p:nvPr/>
      </p:nvGrpSpPr>
      <p:grpSpPr>
        <a:xfrm>
          <a:off x="0" y="0"/>
          <a:ext cx="0" cy="0"/>
          <a:chOff x="0" y="0"/>
          <a:chExt cx="0" cy="0"/>
        </a:xfrm>
      </p:grpSpPr>
      <p:sp>
        <p:nvSpPr>
          <p:cNvPr id="8" name="Picture Placeholder 10">
            <a:extLst>
              <a:ext uri="{FF2B5EF4-FFF2-40B4-BE49-F238E27FC236}">
                <a16:creationId xmlns:a16="http://schemas.microsoft.com/office/drawing/2014/main" id="{261A475E-9666-4A15-B3D1-7E031013EE56}"/>
              </a:ext>
            </a:extLst>
          </p:cNvPr>
          <p:cNvSpPr>
            <a:spLocks noGrp="1"/>
          </p:cNvSpPr>
          <p:nvPr>
            <p:ph type="pic" sz="quarter" idx="14"/>
          </p:nvPr>
        </p:nvSpPr>
        <p:spPr>
          <a:xfrm>
            <a:off x="0" y="1"/>
            <a:ext cx="2666306" cy="6858000"/>
          </a:xfrm>
          <a:solidFill>
            <a:schemeClr val="bg1">
              <a:lumMod val="95000"/>
            </a:schemeClr>
          </a:solidFill>
        </p:spPr>
        <p:txBody>
          <a:bodyPr tIns="5577840"/>
          <a:lstStyle>
            <a:lvl1pPr algn="ctr">
              <a:defRPr b="0">
                <a:solidFill>
                  <a:schemeClr val="tx1"/>
                </a:solidFill>
              </a:defRPr>
            </a:lvl1pPr>
          </a:lstStyle>
          <a:p>
            <a:r>
              <a:rPr lang="en-US"/>
              <a:t>Click icon to add picture</a:t>
            </a:r>
            <a:endParaRPr lang="en-GB"/>
          </a:p>
        </p:txBody>
      </p:sp>
      <p:sp>
        <p:nvSpPr>
          <p:cNvPr id="3" name="Subtitle 2">
            <a:extLst>
              <a:ext uri="{FF2B5EF4-FFF2-40B4-BE49-F238E27FC236}">
                <a16:creationId xmlns:a16="http://schemas.microsoft.com/office/drawing/2014/main" id="{51860A50-CC9B-0A16-4A26-C7ECE7F0B871}"/>
              </a:ext>
            </a:extLst>
          </p:cNvPr>
          <p:cNvSpPr>
            <a:spLocks noGrp="1"/>
          </p:cNvSpPr>
          <p:nvPr>
            <p:ph type="subTitle" idx="13" hasCustomPrompt="1"/>
          </p:nvPr>
        </p:nvSpPr>
        <p:spPr>
          <a:xfrm>
            <a:off x="3426521" y="1339574"/>
            <a:ext cx="8001841" cy="1176706"/>
          </a:xfrm>
        </p:spPr>
        <p:txBody>
          <a:bodyPr wrap="square" anchor="t">
            <a:noAutofit/>
          </a:bodyPr>
          <a:lstStyle>
            <a:lvl1pPr marL="0" indent="0" algn="l">
              <a:spcAft>
                <a:spcPts val="0"/>
              </a:spcAft>
              <a:buNone/>
              <a:defRPr sz="8797" b="0" i="0">
                <a:solidFill>
                  <a:schemeClr val="accent1"/>
                </a:solidFill>
                <a:latin typeface="+mn-lt"/>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0</a:t>
            </a:r>
          </a:p>
        </p:txBody>
      </p:sp>
      <p:sp>
        <p:nvSpPr>
          <p:cNvPr id="4" name="Text Placeholder 3">
            <a:extLst>
              <a:ext uri="{FF2B5EF4-FFF2-40B4-BE49-F238E27FC236}">
                <a16:creationId xmlns:a16="http://schemas.microsoft.com/office/drawing/2014/main" id="{AC9109CA-6D37-76EA-0485-6705514371FA}"/>
              </a:ext>
            </a:extLst>
          </p:cNvPr>
          <p:cNvSpPr>
            <a:spLocks noGrp="1"/>
          </p:cNvSpPr>
          <p:nvPr>
            <p:ph type="body" sz="quarter" idx="15" hasCustomPrompt="1"/>
          </p:nvPr>
        </p:nvSpPr>
        <p:spPr>
          <a:xfrm>
            <a:off x="3426521" y="2570786"/>
            <a:ext cx="8001841"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6994064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ivder Slide 3">
    <p:bg>
      <p:bgPr>
        <a:solidFill>
          <a:srgbClr val="E5EFF0"/>
        </a:solidFill>
        <a:effectLst/>
      </p:bgPr>
    </p:bg>
    <p:spTree>
      <p:nvGrpSpPr>
        <p:cNvPr id="1" name=""/>
        <p:cNvGrpSpPr/>
        <p:nvPr/>
      </p:nvGrpSpPr>
      <p:grpSpPr>
        <a:xfrm>
          <a:off x="0" y="0"/>
          <a:ext cx="0" cy="0"/>
          <a:chOff x="0" y="0"/>
          <a:chExt cx="0" cy="0"/>
        </a:xfrm>
      </p:grpSpPr>
      <p:sp>
        <p:nvSpPr>
          <p:cNvPr id="3" name="Text Placeholder 3">
            <a:extLst>
              <a:ext uri="{FF2B5EF4-FFF2-40B4-BE49-F238E27FC236}">
                <a16:creationId xmlns:a16="http://schemas.microsoft.com/office/drawing/2014/main" id="{460F09A1-E3BB-F7A1-4815-00FBF29E3F74}"/>
              </a:ext>
            </a:extLst>
          </p:cNvPr>
          <p:cNvSpPr>
            <a:spLocks noGrp="1"/>
          </p:cNvSpPr>
          <p:nvPr>
            <p:ph type="body" sz="quarter" idx="15" hasCustomPrompt="1"/>
          </p:nvPr>
        </p:nvSpPr>
        <p:spPr>
          <a:xfrm>
            <a:off x="380901" y="2570786"/>
            <a:ext cx="11047711" cy="934499"/>
          </a:xfrm>
        </p:spPr>
        <p:txBody>
          <a:bodyPr/>
          <a:lstStyle>
            <a:lvl1pPr>
              <a:defRPr sz="2799" b="0"/>
            </a:lvl1pPr>
            <a:lvl2pPr>
              <a:defRPr sz="1400"/>
            </a:lvl2pPr>
            <a:lvl3pPr marL="251924" indent="-251924">
              <a:defRPr sz="1400"/>
            </a:lvl3pPr>
            <a:lvl4pPr marL="503849" indent="-251924">
              <a:defRPr sz="1400"/>
            </a:lvl4pPr>
            <a:lvl5pPr marL="755773" indent="-251924">
              <a:defRPr sz="1400"/>
            </a:lvl5pPr>
          </a:lstStyle>
          <a:p>
            <a:pPr lvl="0"/>
            <a:r>
              <a:rPr lang="en-GB"/>
              <a:t>Click to edit </a:t>
            </a:r>
            <a:br>
              <a:rPr lang="en-GB"/>
            </a:br>
            <a:r>
              <a:rPr lang="en-GB"/>
              <a:t>Divider title</a:t>
            </a:r>
            <a:endParaRPr lang="en-US"/>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4">
            <a:extLst>
              <a:ext uri="{FF2B5EF4-FFF2-40B4-BE49-F238E27FC236}">
                <a16:creationId xmlns:a16="http://schemas.microsoft.com/office/drawing/2014/main" id="{85D59881-020A-4748-4FBF-4E2166E3E768}"/>
              </a:ext>
            </a:extLst>
          </p:cNvPr>
          <p:cNvSpPr>
            <a:spLocks noGrp="1"/>
          </p:cNvSpPr>
          <p:nvPr>
            <p:ph type="body" sz="quarter" idx="16" hasCustomPrompt="1"/>
          </p:nvPr>
        </p:nvSpPr>
        <p:spPr>
          <a:xfrm>
            <a:off x="380900" y="2127151"/>
            <a:ext cx="11047711" cy="388847"/>
          </a:xfrm>
        </p:spPr>
        <p:txBody>
          <a:bodyPr anchor="b"/>
          <a:lstStyle>
            <a:lvl1pPr>
              <a:defRPr sz="1600" b="0">
                <a:solidFill>
                  <a:schemeClr val="accent1"/>
                </a:solidFill>
              </a:defRPr>
            </a:lvl1pPr>
          </a:lstStyle>
          <a:p>
            <a:pPr lvl="0"/>
            <a:r>
              <a:rPr lang="en-US"/>
              <a:t>Main Divider Heading</a:t>
            </a:r>
            <a:endParaRPr lang="en-GB"/>
          </a:p>
        </p:txBody>
      </p:sp>
    </p:spTree>
    <p:extLst>
      <p:ext uri="{BB962C8B-B14F-4D97-AF65-F5344CB8AC3E}">
        <p14:creationId xmlns:p14="http://schemas.microsoft.com/office/powerpoint/2010/main" val="30350583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ents dark back">
    <p:bg>
      <p:bgPr>
        <a:solidFill>
          <a:srgbClr val="262836"/>
        </a:solidFill>
        <a:effectLst/>
      </p:bgPr>
    </p:bg>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bg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title</a:t>
            </a:r>
          </a:p>
        </p:txBody>
      </p:sp>
      <p:sp>
        <p:nvSpPr>
          <p:cNvPr id="9" name="Text Placeholder 8">
            <a:extLst>
              <a:ext uri="{FF2B5EF4-FFF2-40B4-BE49-F238E27FC236}">
                <a16:creationId xmlns:a16="http://schemas.microsoft.com/office/drawing/2014/main" id="{0DD1AB83-01DE-0A49-98C3-4736CB7E9B49}"/>
              </a:ext>
            </a:extLst>
          </p:cNvPr>
          <p:cNvSpPr>
            <a:spLocks noGrp="1"/>
          </p:cNvSpPr>
          <p:nvPr>
            <p:ph type="body" sz="quarter" idx="14" hasCustomPrompt="1"/>
          </p:nvPr>
        </p:nvSpPr>
        <p:spPr>
          <a:xfrm>
            <a:off x="1134877"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2" name="Text Placeholder 8">
            <a:extLst>
              <a:ext uri="{FF2B5EF4-FFF2-40B4-BE49-F238E27FC236}">
                <a16:creationId xmlns:a16="http://schemas.microsoft.com/office/drawing/2014/main" id="{FE7811F0-B8DA-4A4B-AB9D-AC55F824C77B}"/>
              </a:ext>
            </a:extLst>
          </p:cNvPr>
          <p:cNvSpPr>
            <a:spLocks noGrp="1"/>
          </p:cNvSpPr>
          <p:nvPr>
            <p:ph type="body" sz="quarter" idx="15" hasCustomPrompt="1"/>
          </p:nvPr>
        </p:nvSpPr>
        <p:spPr>
          <a:xfrm>
            <a:off x="3803791"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42281" y="468193"/>
            <a:ext cx="10678419" cy="400109"/>
          </a:xfrm>
        </p:spPr>
        <p:txBody>
          <a:bodyPr/>
          <a:lstStyle>
            <a:lvl1pPr>
              <a:defRPr>
                <a:solidFill>
                  <a:schemeClr val="bg1"/>
                </a:solidFill>
              </a:defRPr>
            </a:lvl1pPr>
          </a:lstStyle>
          <a:p>
            <a:r>
              <a:rPr lang="en-GB"/>
              <a:t>Contents – click to add title</a:t>
            </a:r>
          </a:p>
        </p:txBody>
      </p:sp>
      <p:sp>
        <p:nvSpPr>
          <p:cNvPr id="10" name="TextBox 9">
            <a:extLst>
              <a:ext uri="{FF2B5EF4-FFF2-40B4-BE49-F238E27FC236}">
                <a16:creationId xmlns:a16="http://schemas.microsoft.com/office/drawing/2014/main" id="{47EABC3D-CE21-4DC1-9F7F-A73F14CFC283}"/>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11" name="TextBox 10">
            <a:extLst>
              <a:ext uri="{FF2B5EF4-FFF2-40B4-BE49-F238E27FC236}">
                <a16:creationId xmlns:a16="http://schemas.microsoft.com/office/drawing/2014/main" id="{A8C2642A-DF80-4A0B-9DFA-96E4565C8003}"/>
              </a:ext>
            </a:extLst>
          </p:cNvPr>
          <p:cNvSpPr txBox="1"/>
          <p:nvPr userDrawn="1"/>
        </p:nvSpPr>
        <p:spPr>
          <a:xfrm>
            <a:off x="9836589" y="6222366"/>
            <a:ext cx="1591774" cy="282128"/>
          </a:xfrm>
          <a:prstGeom prst="rect">
            <a:avLst/>
          </a:prstGeom>
          <a:noFill/>
        </p:spPr>
        <p:txBody>
          <a:bodyPr wrap="square" lIns="0" tIns="0" rIns="0" bIns="0" rtlCol="0" anchor="b">
            <a:spAutoFit/>
          </a:bodyPr>
          <a:lstStyle/>
          <a:p>
            <a:pPr marL="0" algn="r">
              <a:lnSpc>
                <a:spcPct val="117000"/>
              </a:lnSpc>
              <a:spcAft>
                <a:spcPts val="500"/>
              </a:spcAft>
            </a:pPr>
            <a:r>
              <a:rPr lang="en-GB" sz="800" b="1">
                <a:solidFill>
                  <a:schemeClr val="bg1"/>
                </a:solidFill>
                <a:latin typeface="Helvetica Now Text" panose="020B0504030202020204" pitchFamily="34" charset="0"/>
              </a:rPr>
              <a:t>Nat Cat Revealed 2025</a:t>
            </a:r>
            <a:br>
              <a:rPr lang="en-GB" sz="800">
                <a:solidFill>
                  <a:schemeClr val="bg1"/>
                </a:solidFill>
                <a:latin typeface="Helvetica Now Text" panose="020B0504030202020204" pitchFamily="34" charset="0"/>
              </a:rPr>
            </a:br>
            <a:r>
              <a:rPr lang="en-GB" sz="800">
                <a:solidFill>
                  <a:schemeClr val="bg1"/>
                </a:solidFill>
                <a:latin typeface="Helvetica Now Text" panose="020B0504030202020204" pitchFamily="34" charset="0"/>
              </a:rPr>
              <a:t>Proprietary &amp; Confidential</a:t>
            </a:r>
          </a:p>
        </p:txBody>
      </p:sp>
      <p:sp>
        <p:nvSpPr>
          <p:cNvPr id="8" name="Text Placeholder 8">
            <a:extLst>
              <a:ext uri="{FF2B5EF4-FFF2-40B4-BE49-F238E27FC236}">
                <a16:creationId xmlns:a16="http://schemas.microsoft.com/office/drawing/2014/main" id="{B0DAAF2B-EC28-4E60-A185-D8866666C5CE}"/>
              </a:ext>
            </a:extLst>
          </p:cNvPr>
          <p:cNvSpPr>
            <a:spLocks noGrp="1"/>
          </p:cNvSpPr>
          <p:nvPr>
            <p:ph type="body" sz="quarter" idx="16" hasCustomPrompt="1"/>
          </p:nvPr>
        </p:nvSpPr>
        <p:spPr>
          <a:xfrm>
            <a:off x="6472705"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4" name="Text Placeholder 8">
            <a:extLst>
              <a:ext uri="{FF2B5EF4-FFF2-40B4-BE49-F238E27FC236}">
                <a16:creationId xmlns:a16="http://schemas.microsoft.com/office/drawing/2014/main" id="{3FC2B2FD-E805-47E4-BCF5-959FCB6A9F83}"/>
              </a:ext>
            </a:extLst>
          </p:cNvPr>
          <p:cNvSpPr>
            <a:spLocks noGrp="1"/>
          </p:cNvSpPr>
          <p:nvPr>
            <p:ph type="body" sz="quarter" idx="17" hasCustomPrompt="1"/>
          </p:nvPr>
        </p:nvSpPr>
        <p:spPr>
          <a:xfrm>
            <a:off x="9141619" y="1565717"/>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5" name="Text Placeholder 8">
            <a:extLst>
              <a:ext uri="{FF2B5EF4-FFF2-40B4-BE49-F238E27FC236}">
                <a16:creationId xmlns:a16="http://schemas.microsoft.com/office/drawing/2014/main" id="{17C7E27D-2C64-42D5-B71A-D3D823945DC9}"/>
              </a:ext>
            </a:extLst>
          </p:cNvPr>
          <p:cNvSpPr>
            <a:spLocks noGrp="1"/>
          </p:cNvSpPr>
          <p:nvPr>
            <p:ph type="body" sz="quarter" idx="18" hasCustomPrompt="1"/>
          </p:nvPr>
        </p:nvSpPr>
        <p:spPr>
          <a:xfrm>
            <a:off x="1134877"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6" name="Text Placeholder 8">
            <a:extLst>
              <a:ext uri="{FF2B5EF4-FFF2-40B4-BE49-F238E27FC236}">
                <a16:creationId xmlns:a16="http://schemas.microsoft.com/office/drawing/2014/main" id="{11F7F4ED-A8E3-4E39-AF5A-D9F4793C77B7}"/>
              </a:ext>
            </a:extLst>
          </p:cNvPr>
          <p:cNvSpPr>
            <a:spLocks noGrp="1"/>
          </p:cNvSpPr>
          <p:nvPr>
            <p:ph type="body" sz="quarter" idx="19" hasCustomPrompt="1"/>
          </p:nvPr>
        </p:nvSpPr>
        <p:spPr>
          <a:xfrm>
            <a:off x="3803791"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7" name="Text Placeholder 8">
            <a:extLst>
              <a:ext uri="{FF2B5EF4-FFF2-40B4-BE49-F238E27FC236}">
                <a16:creationId xmlns:a16="http://schemas.microsoft.com/office/drawing/2014/main" id="{4433B9F1-444B-43C2-B807-1EC315880727}"/>
              </a:ext>
            </a:extLst>
          </p:cNvPr>
          <p:cNvSpPr>
            <a:spLocks noGrp="1"/>
          </p:cNvSpPr>
          <p:nvPr>
            <p:ph type="body" sz="quarter" idx="20" hasCustomPrompt="1"/>
          </p:nvPr>
        </p:nvSpPr>
        <p:spPr>
          <a:xfrm>
            <a:off x="6472705"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
        <p:nvSpPr>
          <p:cNvPr id="18" name="Text Placeholder 8">
            <a:extLst>
              <a:ext uri="{FF2B5EF4-FFF2-40B4-BE49-F238E27FC236}">
                <a16:creationId xmlns:a16="http://schemas.microsoft.com/office/drawing/2014/main" id="{4E55B570-0D7B-47D6-934D-07D49D9FCC19}"/>
              </a:ext>
            </a:extLst>
          </p:cNvPr>
          <p:cNvSpPr>
            <a:spLocks noGrp="1"/>
          </p:cNvSpPr>
          <p:nvPr>
            <p:ph type="body" sz="quarter" idx="21" hasCustomPrompt="1"/>
          </p:nvPr>
        </p:nvSpPr>
        <p:spPr>
          <a:xfrm>
            <a:off x="9141619" y="3805648"/>
            <a:ext cx="2267410" cy="1863284"/>
          </a:xfrm>
        </p:spPr>
        <p:txBody>
          <a:bodyPr/>
          <a:lstStyle>
            <a:lvl1pPr marL="356358" indent="-356358">
              <a:spcAft>
                <a:spcPts val="0"/>
              </a:spcAft>
              <a:tabLst/>
              <a:defRPr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00	Type number then a tab, then the contents text. Make the numbers bold</a:t>
            </a:r>
          </a:p>
        </p:txBody>
      </p:sp>
    </p:spTree>
    <p:extLst>
      <p:ext uri="{BB962C8B-B14F-4D97-AF65-F5344CB8AC3E}">
        <p14:creationId xmlns:p14="http://schemas.microsoft.com/office/powerpoint/2010/main" val="18874725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ontent_1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10667900" cy="4554708"/>
          </a:xfrm>
        </p:spPr>
        <p:txBody>
          <a:bodyPr/>
          <a:lstStyle>
            <a:lvl1pPr>
              <a:defRPr sz="16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33944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ontent_2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2" y="1562100"/>
            <a:ext cx="5149533"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3">
            <a:extLst>
              <a:ext uri="{FF2B5EF4-FFF2-40B4-BE49-F238E27FC236}">
                <a16:creationId xmlns:a16="http://schemas.microsoft.com/office/drawing/2014/main" id="{C4727DAE-2E97-A443-B677-9D8220C5E4C4}"/>
              </a:ext>
            </a:extLst>
          </p:cNvPr>
          <p:cNvSpPr>
            <a:spLocks noGrp="1"/>
          </p:cNvSpPr>
          <p:nvPr>
            <p:ph sz="quarter" idx="15"/>
          </p:nvPr>
        </p:nvSpPr>
        <p:spPr>
          <a:xfrm>
            <a:off x="6668913" y="1562100"/>
            <a:ext cx="5149533"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05321781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 V4">
    <p:bg>
      <p:bgPr>
        <a:solidFill>
          <a:schemeClr val="bg1">
            <a:lumMod val="95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D2CF568-98D8-4D14-9CFB-EC79D2DE100E}"/>
              </a:ext>
            </a:extLst>
          </p:cNvPr>
          <p:cNvSpPr/>
          <p:nvPr userDrawn="1"/>
        </p:nvSpPr>
        <p:spPr>
          <a:xfrm>
            <a:off x="0" y="0"/>
            <a:ext cx="12192000" cy="6858000"/>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reeform: Shape 3">
            <a:extLst>
              <a:ext uri="{FF2B5EF4-FFF2-40B4-BE49-F238E27FC236}">
                <a16:creationId xmlns:a16="http://schemas.microsoft.com/office/drawing/2014/main" id="{8681D24C-ADC9-4F96-9A7F-95456DA79B7B}"/>
              </a:ext>
            </a:extLst>
          </p:cNvPr>
          <p:cNvSpPr/>
          <p:nvPr userDrawn="1"/>
        </p:nvSpPr>
        <p:spPr>
          <a:xfrm>
            <a:off x="0" y="0"/>
            <a:ext cx="12192000" cy="6858000"/>
          </a:xfrm>
          <a:custGeom>
            <a:avLst/>
            <a:gdLst>
              <a:gd name="connsiteX0" fmla="*/ 640633 w 12192000"/>
              <a:gd name="connsiteY0" fmla="*/ 368300 h 6858000"/>
              <a:gd name="connsiteX1" fmla="*/ 371475 w 12192000"/>
              <a:gd name="connsiteY1" fmla="*/ 637458 h 6858000"/>
              <a:gd name="connsiteX2" fmla="*/ 371475 w 12192000"/>
              <a:gd name="connsiteY2" fmla="*/ 6220542 h 6858000"/>
              <a:gd name="connsiteX3" fmla="*/ 640633 w 12192000"/>
              <a:gd name="connsiteY3" fmla="*/ 6489700 h 6858000"/>
              <a:gd name="connsiteX4" fmla="*/ 11551367 w 12192000"/>
              <a:gd name="connsiteY4" fmla="*/ 6489700 h 6858000"/>
              <a:gd name="connsiteX5" fmla="*/ 11820525 w 12192000"/>
              <a:gd name="connsiteY5" fmla="*/ 6220542 h 6858000"/>
              <a:gd name="connsiteX6" fmla="*/ 11820525 w 12192000"/>
              <a:gd name="connsiteY6" fmla="*/ 637458 h 6858000"/>
              <a:gd name="connsiteX7" fmla="*/ 11551367 w 12192000"/>
              <a:gd name="connsiteY7" fmla="*/ 3683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40633" y="368300"/>
                </a:moveTo>
                <a:cubicBezTo>
                  <a:pt x="491981" y="368300"/>
                  <a:pt x="371475" y="488806"/>
                  <a:pt x="371475" y="637458"/>
                </a:cubicBezTo>
                <a:lnTo>
                  <a:pt x="371475" y="6220542"/>
                </a:lnTo>
                <a:cubicBezTo>
                  <a:pt x="371475" y="6369194"/>
                  <a:pt x="491981" y="6489700"/>
                  <a:pt x="640633" y="6489700"/>
                </a:cubicBezTo>
                <a:lnTo>
                  <a:pt x="11551367" y="6489700"/>
                </a:lnTo>
                <a:cubicBezTo>
                  <a:pt x="11700019" y="6489700"/>
                  <a:pt x="11820525" y="6369194"/>
                  <a:pt x="11820525" y="6220542"/>
                </a:cubicBezTo>
                <a:lnTo>
                  <a:pt x="11820525" y="637458"/>
                </a:lnTo>
                <a:cubicBezTo>
                  <a:pt x="11820525" y="488806"/>
                  <a:pt x="11700019" y="368300"/>
                  <a:pt x="11551367" y="368300"/>
                </a:cubicBezTo>
                <a:close/>
                <a:moveTo>
                  <a:pt x="0" y="0"/>
                </a:moveTo>
                <a:lnTo>
                  <a:pt x="12192000" y="0"/>
                </a:lnTo>
                <a:lnTo>
                  <a:pt x="12192000" y="6858000"/>
                </a:lnTo>
                <a:lnTo>
                  <a:pt x="0" y="685800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BE"/>
          </a:p>
        </p:txBody>
      </p:sp>
      <p:grpSp>
        <p:nvGrpSpPr>
          <p:cNvPr id="5" name="Groupe 22">
            <a:extLst>
              <a:ext uri="{FF2B5EF4-FFF2-40B4-BE49-F238E27FC236}">
                <a16:creationId xmlns:a16="http://schemas.microsoft.com/office/drawing/2014/main" id="{2B32DBD4-A425-4C9E-AB3F-50820ABE35E2}"/>
              </a:ext>
            </a:extLst>
          </p:cNvPr>
          <p:cNvGrpSpPr/>
          <p:nvPr userDrawn="1"/>
        </p:nvGrpSpPr>
        <p:grpSpPr>
          <a:xfrm>
            <a:off x="4341018" y="2930841"/>
            <a:ext cx="3509961" cy="997017"/>
            <a:chOff x="-838200" y="8253511"/>
            <a:chExt cx="12192000" cy="3463176"/>
          </a:xfrm>
          <a:solidFill>
            <a:schemeClr val="bg1"/>
          </a:solidFill>
        </p:grpSpPr>
        <p:sp>
          <p:nvSpPr>
            <p:cNvPr id="6" name="Forme libre : forme 23">
              <a:extLst>
                <a:ext uri="{FF2B5EF4-FFF2-40B4-BE49-F238E27FC236}">
                  <a16:creationId xmlns:a16="http://schemas.microsoft.com/office/drawing/2014/main" id="{02DB79CB-4FD3-4EEA-BEAE-F9E90E8A8DC1}"/>
                </a:ext>
              </a:extLst>
            </p:cNvPr>
            <p:cNvSpPr/>
            <p:nvPr/>
          </p:nvSpPr>
          <p:spPr>
            <a:xfrm>
              <a:off x="-838200" y="10819488"/>
              <a:ext cx="12192000" cy="897199"/>
            </a:xfrm>
            <a:custGeom>
              <a:avLst/>
              <a:gdLst>
                <a:gd name="connsiteX0" fmla="*/ 12198649 w 12192000"/>
                <a:gd name="connsiteY0" fmla="*/ 885124 h 897199"/>
                <a:gd name="connsiteX1" fmla="*/ 12097839 w 12192000"/>
                <a:gd name="connsiteY1" fmla="*/ 885124 h 897199"/>
                <a:gd name="connsiteX2" fmla="*/ 11805730 w 12192000"/>
                <a:gd name="connsiteY2" fmla="*/ 581421 h 897199"/>
                <a:gd name="connsiteX3" fmla="*/ 11805730 w 12192000"/>
                <a:gd name="connsiteY3" fmla="*/ 885124 h 897199"/>
                <a:gd name="connsiteX4" fmla="*/ 11732688 w 12192000"/>
                <a:gd name="connsiteY4" fmla="*/ 885124 h 897199"/>
                <a:gd name="connsiteX5" fmla="*/ 11732688 w 12192000"/>
                <a:gd name="connsiteY5" fmla="*/ 15789 h 897199"/>
                <a:gd name="connsiteX6" fmla="*/ 11805730 w 12192000"/>
                <a:gd name="connsiteY6" fmla="*/ 15789 h 897199"/>
                <a:gd name="connsiteX7" fmla="*/ 11805730 w 12192000"/>
                <a:gd name="connsiteY7" fmla="*/ 536236 h 897199"/>
                <a:gd name="connsiteX8" fmla="*/ 12070007 w 12192000"/>
                <a:gd name="connsiteY8" fmla="*/ 293982 h 897199"/>
                <a:gd name="connsiteX9" fmla="*/ 12163887 w 12192000"/>
                <a:gd name="connsiteY9" fmla="*/ 293982 h 897199"/>
                <a:gd name="connsiteX10" fmla="*/ 11875270 w 12192000"/>
                <a:gd name="connsiteY10" fmla="*/ 555961 h 897199"/>
                <a:gd name="connsiteX11" fmla="*/ 12198649 w 12192000"/>
                <a:gd name="connsiteY11" fmla="*/ 885124 h 897199"/>
                <a:gd name="connsiteX12" fmla="*/ 11444120 w 12192000"/>
                <a:gd name="connsiteY12" fmla="*/ 342661 h 897199"/>
                <a:gd name="connsiteX13" fmla="*/ 11316608 w 12192000"/>
                <a:gd name="connsiteY13" fmla="*/ 441203 h 897199"/>
                <a:gd name="connsiteX14" fmla="*/ 11607548 w 12192000"/>
                <a:gd name="connsiteY14" fmla="*/ 730989 h 897199"/>
                <a:gd name="connsiteX15" fmla="*/ 11401218 w 12192000"/>
                <a:gd name="connsiteY15" fmla="*/ 899088 h 897199"/>
                <a:gd name="connsiteX16" fmla="*/ 11235475 w 12192000"/>
                <a:gd name="connsiteY16" fmla="*/ 871248 h 897199"/>
                <a:gd name="connsiteX17" fmla="*/ 11242445 w 12192000"/>
                <a:gd name="connsiteY17" fmla="*/ 799384 h 897199"/>
                <a:gd name="connsiteX18" fmla="*/ 11396595 w 12192000"/>
                <a:gd name="connsiteY18" fmla="*/ 836485 h 897199"/>
                <a:gd name="connsiteX19" fmla="*/ 11527584 w 12192000"/>
                <a:gd name="connsiteY19" fmla="*/ 730989 h 897199"/>
                <a:gd name="connsiteX20" fmla="*/ 11243590 w 12192000"/>
                <a:gd name="connsiteY20" fmla="*/ 441203 h 897199"/>
                <a:gd name="connsiteX21" fmla="*/ 11436004 w 12192000"/>
                <a:gd name="connsiteY21" fmla="*/ 280106 h 897199"/>
                <a:gd name="connsiteX22" fmla="*/ 11582055 w 12192000"/>
                <a:gd name="connsiteY22" fmla="*/ 306761 h 897199"/>
                <a:gd name="connsiteX23" fmla="*/ 11575085 w 12192000"/>
                <a:gd name="connsiteY23" fmla="*/ 370533 h 897199"/>
                <a:gd name="connsiteX24" fmla="*/ 11444120 w 12192000"/>
                <a:gd name="connsiteY24" fmla="*/ 342701 h 897199"/>
                <a:gd name="connsiteX25" fmla="*/ 11036115 w 12192000"/>
                <a:gd name="connsiteY25" fmla="*/ 38950 h 897199"/>
                <a:gd name="connsiteX26" fmla="*/ 11109148 w 12192000"/>
                <a:gd name="connsiteY26" fmla="*/ 38950 h 897199"/>
                <a:gd name="connsiteX27" fmla="*/ 11109148 w 12192000"/>
                <a:gd name="connsiteY27" fmla="*/ 136339 h 897199"/>
                <a:gd name="connsiteX28" fmla="*/ 11036115 w 12192000"/>
                <a:gd name="connsiteY28" fmla="*/ 136339 h 897199"/>
                <a:gd name="connsiteX29" fmla="*/ 11036115 w 12192000"/>
                <a:gd name="connsiteY29" fmla="*/ 38950 h 897199"/>
                <a:gd name="connsiteX30" fmla="*/ 11036115 w 12192000"/>
                <a:gd name="connsiteY30" fmla="*/ 885124 h 897199"/>
                <a:gd name="connsiteX31" fmla="*/ 11036115 w 12192000"/>
                <a:gd name="connsiteY31" fmla="*/ 293982 h 897199"/>
                <a:gd name="connsiteX32" fmla="*/ 11109148 w 12192000"/>
                <a:gd name="connsiteY32" fmla="*/ 293982 h 897199"/>
                <a:gd name="connsiteX33" fmla="*/ 11109148 w 12192000"/>
                <a:gd name="connsiteY33" fmla="*/ 885124 h 897199"/>
                <a:gd name="connsiteX34" fmla="*/ 10570226 w 12192000"/>
                <a:gd name="connsiteY34" fmla="*/ 145600 h 897199"/>
                <a:gd name="connsiteX35" fmla="*/ 10487892 w 12192000"/>
                <a:gd name="connsiteY35" fmla="*/ 145600 h 897199"/>
                <a:gd name="connsiteX36" fmla="*/ 10487892 w 12192000"/>
                <a:gd name="connsiteY36" fmla="*/ 434217 h 897199"/>
                <a:gd name="connsiteX37" fmla="*/ 10572525 w 12192000"/>
                <a:gd name="connsiteY37" fmla="*/ 434217 h 897199"/>
                <a:gd name="connsiteX38" fmla="*/ 10774209 w 12192000"/>
                <a:gd name="connsiteY38" fmla="*/ 285859 h 897199"/>
                <a:gd name="connsiteX39" fmla="*/ 10570226 w 12192000"/>
                <a:gd name="connsiteY39" fmla="*/ 145600 h 897199"/>
                <a:gd name="connsiteX40" fmla="*/ 10674529 w 12192000"/>
                <a:gd name="connsiteY40" fmla="*/ 472472 h 897199"/>
                <a:gd name="connsiteX41" fmla="*/ 10674529 w 12192000"/>
                <a:gd name="connsiteY41" fmla="*/ 474795 h 897199"/>
                <a:gd name="connsiteX42" fmla="*/ 10778855 w 12192000"/>
                <a:gd name="connsiteY42" fmla="*/ 572176 h 897199"/>
                <a:gd name="connsiteX43" fmla="*/ 10916799 w 12192000"/>
                <a:gd name="connsiteY43" fmla="*/ 885124 h 897199"/>
                <a:gd name="connsiteX44" fmla="*/ 10828671 w 12192000"/>
                <a:gd name="connsiteY44" fmla="*/ 885124 h 897199"/>
                <a:gd name="connsiteX45" fmla="*/ 10711598 w 12192000"/>
                <a:gd name="connsiteY45" fmla="*/ 611561 h 897199"/>
                <a:gd name="connsiteX46" fmla="*/ 10553987 w 12192000"/>
                <a:gd name="connsiteY46" fmla="*/ 503757 h 897199"/>
                <a:gd name="connsiteX47" fmla="*/ 10487892 w 12192000"/>
                <a:gd name="connsiteY47" fmla="*/ 503757 h 897199"/>
                <a:gd name="connsiteX48" fmla="*/ 10487892 w 12192000"/>
                <a:gd name="connsiteY48" fmla="*/ 885108 h 897199"/>
                <a:gd name="connsiteX49" fmla="*/ 10407928 w 12192000"/>
                <a:gd name="connsiteY49" fmla="*/ 885108 h 897199"/>
                <a:gd name="connsiteX50" fmla="*/ 10407928 w 12192000"/>
                <a:gd name="connsiteY50" fmla="*/ 76060 h 897199"/>
                <a:gd name="connsiteX51" fmla="*/ 10616581 w 12192000"/>
                <a:gd name="connsiteY51" fmla="*/ 76060 h 897199"/>
                <a:gd name="connsiteX52" fmla="*/ 10854188 w 12192000"/>
                <a:gd name="connsiteY52" fmla="*/ 285859 h 897199"/>
                <a:gd name="connsiteX53" fmla="*/ 10674529 w 12192000"/>
                <a:gd name="connsiteY53" fmla="*/ 472472 h 897199"/>
                <a:gd name="connsiteX54" fmla="*/ 9970977 w 12192000"/>
                <a:gd name="connsiteY54" fmla="*/ 77229 h 897199"/>
                <a:gd name="connsiteX55" fmla="*/ 9913053 w 12192000"/>
                <a:gd name="connsiteY55" fmla="*/ 64483 h 897199"/>
                <a:gd name="connsiteX56" fmla="*/ 9823773 w 12192000"/>
                <a:gd name="connsiteY56" fmla="*/ 242981 h 897199"/>
                <a:gd name="connsiteX57" fmla="*/ 9823773 w 12192000"/>
                <a:gd name="connsiteY57" fmla="*/ 293982 h 897199"/>
                <a:gd name="connsiteX58" fmla="*/ 9957061 w 12192000"/>
                <a:gd name="connsiteY58" fmla="*/ 293982 h 897199"/>
                <a:gd name="connsiteX59" fmla="*/ 9957061 w 12192000"/>
                <a:gd name="connsiteY59" fmla="*/ 356577 h 897199"/>
                <a:gd name="connsiteX60" fmla="*/ 9823773 w 12192000"/>
                <a:gd name="connsiteY60" fmla="*/ 356577 h 897199"/>
                <a:gd name="connsiteX61" fmla="*/ 9823773 w 12192000"/>
                <a:gd name="connsiteY61" fmla="*/ 885124 h 897199"/>
                <a:gd name="connsiteX62" fmla="*/ 9750755 w 12192000"/>
                <a:gd name="connsiteY62" fmla="*/ 885124 h 897199"/>
                <a:gd name="connsiteX63" fmla="*/ 9750755 w 12192000"/>
                <a:gd name="connsiteY63" fmla="*/ 356577 h 897199"/>
                <a:gd name="connsiteX64" fmla="*/ 9631383 w 12192000"/>
                <a:gd name="connsiteY64" fmla="*/ 356577 h 897199"/>
                <a:gd name="connsiteX65" fmla="*/ 9631383 w 12192000"/>
                <a:gd name="connsiteY65" fmla="*/ 293982 h 897199"/>
                <a:gd name="connsiteX66" fmla="*/ 9750755 w 12192000"/>
                <a:gd name="connsiteY66" fmla="*/ 293982 h 897199"/>
                <a:gd name="connsiteX67" fmla="*/ 9750755 w 12192000"/>
                <a:gd name="connsiteY67" fmla="*/ 251096 h 897199"/>
                <a:gd name="connsiteX68" fmla="*/ 9907229 w 12192000"/>
                <a:gd name="connsiteY68" fmla="*/ 1889 h 897199"/>
                <a:gd name="connsiteX69" fmla="*/ 9975624 w 12192000"/>
                <a:gd name="connsiteY69" fmla="*/ 13465 h 897199"/>
                <a:gd name="connsiteX70" fmla="*/ 9970977 w 12192000"/>
                <a:gd name="connsiteY70" fmla="*/ 77229 h 897199"/>
                <a:gd name="connsiteX71" fmla="*/ 9292942 w 12192000"/>
                <a:gd name="connsiteY71" fmla="*/ 342661 h 897199"/>
                <a:gd name="connsiteX72" fmla="*/ 9097060 w 12192000"/>
                <a:gd name="connsiteY72" fmla="*/ 589545 h 897199"/>
                <a:gd name="connsiteX73" fmla="*/ 9292942 w 12192000"/>
                <a:gd name="connsiteY73" fmla="*/ 836446 h 897199"/>
                <a:gd name="connsiteX74" fmla="*/ 9488825 w 12192000"/>
                <a:gd name="connsiteY74" fmla="*/ 589545 h 897199"/>
                <a:gd name="connsiteX75" fmla="*/ 9292942 w 12192000"/>
                <a:gd name="connsiteY75" fmla="*/ 342661 h 897199"/>
                <a:gd name="connsiteX76" fmla="*/ 9292942 w 12192000"/>
                <a:gd name="connsiteY76" fmla="*/ 899048 h 897199"/>
                <a:gd name="connsiteX77" fmla="*/ 9017048 w 12192000"/>
                <a:gd name="connsiteY77" fmla="*/ 589545 h 897199"/>
                <a:gd name="connsiteX78" fmla="*/ 9292942 w 12192000"/>
                <a:gd name="connsiteY78" fmla="*/ 280066 h 897199"/>
                <a:gd name="connsiteX79" fmla="*/ 9568813 w 12192000"/>
                <a:gd name="connsiteY79" fmla="*/ 589545 h 897199"/>
                <a:gd name="connsiteX80" fmla="*/ 9292942 w 12192000"/>
                <a:gd name="connsiteY80" fmla="*/ 899040 h 897199"/>
                <a:gd name="connsiteX81" fmla="*/ 8381940 w 12192000"/>
                <a:gd name="connsiteY81" fmla="*/ 342661 h 897199"/>
                <a:gd name="connsiteX82" fmla="*/ 8208089 w 12192000"/>
                <a:gd name="connsiteY82" fmla="*/ 547813 h 897199"/>
                <a:gd name="connsiteX83" fmla="*/ 8532661 w 12192000"/>
                <a:gd name="connsiteY83" fmla="*/ 547813 h 897199"/>
                <a:gd name="connsiteX84" fmla="*/ 8381956 w 12192000"/>
                <a:gd name="connsiteY84" fmla="*/ 342661 h 897199"/>
                <a:gd name="connsiteX85" fmla="*/ 8208089 w 12192000"/>
                <a:gd name="connsiteY85" fmla="*/ 610407 h 897199"/>
                <a:gd name="connsiteX86" fmla="*/ 8402826 w 12192000"/>
                <a:gd name="connsiteY86" fmla="*/ 836446 h 897199"/>
                <a:gd name="connsiteX87" fmla="*/ 8568569 w 12192000"/>
                <a:gd name="connsiteY87" fmla="*/ 792382 h 897199"/>
                <a:gd name="connsiteX88" fmla="*/ 8568569 w 12192000"/>
                <a:gd name="connsiteY88" fmla="*/ 866545 h 897199"/>
                <a:gd name="connsiteX89" fmla="*/ 8397025 w 12192000"/>
                <a:gd name="connsiteY89" fmla="*/ 899032 h 897199"/>
                <a:gd name="connsiteX90" fmla="*/ 8128125 w 12192000"/>
                <a:gd name="connsiteY90" fmla="*/ 589529 h 897199"/>
                <a:gd name="connsiteX91" fmla="*/ 8377333 w 12192000"/>
                <a:gd name="connsiteY91" fmla="*/ 280050 h 897199"/>
                <a:gd name="connsiteX92" fmla="*/ 8612624 w 12192000"/>
                <a:gd name="connsiteY92" fmla="*/ 573274 h 897199"/>
                <a:gd name="connsiteX93" fmla="*/ 8612624 w 12192000"/>
                <a:gd name="connsiteY93" fmla="*/ 610383 h 897199"/>
                <a:gd name="connsiteX94" fmla="*/ 7921843 w 12192000"/>
                <a:gd name="connsiteY94" fmla="*/ 342661 h 897199"/>
                <a:gd name="connsiteX95" fmla="*/ 7699274 w 12192000"/>
                <a:gd name="connsiteY95" fmla="*/ 589545 h 897199"/>
                <a:gd name="connsiteX96" fmla="*/ 7913720 w 12192000"/>
                <a:gd name="connsiteY96" fmla="*/ 836446 h 897199"/>
                <a:gd name="connsiteX97" fmla="*/ 8047008 w 12192000"/>
                <a:gd name="connsiteY97" fmla="*/ 809767 h 897199"/>
                <a:gd name="connsiteX98" fmla="*/ 8053978 w 12192000"/>
                <a:gd name="connsiteY98" fmla="*/ 878178 h 897199"/>
                <a:gd name="connsiteX99" fmla="*/ 7902127 w 12192000"/>
                <a:gd name="connsiteY99" fmla="*/ 899048 h 897199"/>
                <a:gd name="connsiteX100" fmla="*/ 7619319 w 12192000"/>
                <a:gd name="connsiteY100" fmla="*/ 589545 h 897199"/>
                <a:gd name="connsiteX101" fmla="*/ 7911428 w 12192000"/>
                <a:gd name="connsiteY101" fmla="*/ 280066 h 897199"/>
                <a:gd name="connsiteX102" fmla="*/ 8054034 w 12192000"/>
                <a:gd name="connsiteY102" fmla="*/ 303228 h 897199"/>
                <a:gd name="connsiteX103" fmla="*/ 8048242 w 12192000"/>
                <a:gd name="connsiteY103" fmla="*/ 372768 h 897199"/>
                <a:gd name="connsiteX104" fmla="*/ 7921899 w 12192000"/>
                <a:gd name="connsiteY104" fmla="*/ 342661 h 897199"/>
                <a:gd name="connsiteX105" fmla="*/ 7413005 w 12192000"/>
                <a:gd name="connsiteY105" fmla="*/ 885124 h 897199"/>
                <a:gd name="connsiteX106" fmla="*/ 7413005 w 12192000"/>
                <a:gd name="connsiteY106" fmla="*/ 525773 h 897199"/>
                <a:gd name="connsiteX107" fmla="*/ 7272746 w 12192000"/>
                <a:gd name="connsiteY107" fmla="*/ 342661 h 897199"/>
                <a:gd name="connsiteX108" fmla="*/ 7097726 w 12192000"/>
                <a:gd name="connsiteY108" fmla="*/ 558252 h 897199"/>
                <a:gd name="connsiteX109" fmla="*/ 7097726 w 12192000"/>
                <a:gd name="connsiteY109" fmla="*/ 885124 h 897199"/>
                <a:gd name="connsiteX110" fmla="*/ 7024708 w 12192000"/>
                <a:gd name="connsiteY110" fmla="*/ 885124 h 897199"/>
                <a:gd name="connsiteX111" fmla="*/ 7024708 w 12192000"/>
                <a:gd name="connsiteY111" fmla="*/ 433063 h 897199"/>
                <a:gd name="connsiteX112" fmla="*/ 7020062 w 12192000"/>
                <a:gd name="connsiteY112" fmla="*/ 293982 h 897199"/>
                <a:gd name="connsiteX113" fmla="*/ 7090756 w 12192000"/>
                <a:gd name="connsiteY113" fmla="*/ 293982 h 897199"/>
                <a:gd name="connsiteX114" fmla="*/ 7090756 w 12192000"/>
                <a:gd name="connsiteY114" fmla="*/ 399431 h 897199"/>
                <a:gd name="connsiteX115" fmla="*/ 7093103 w 12192000"/>
                <a:gd name="connsiteY115" fmla="*/ 399431 h 897199"/>
                <a:gd name="connsiteX116" fmla="*/ 7284363 w 12192000"/>
                <a:gd name="connsiteY116" fmla="*/ 280058 h 897199"/>
                <a:gd name="connsiteX117" fmla="*/ 7486046 w 12192000"/>
                <a:gd name="connsiteY117" fmla="*/ 507250 h 897199"/>
                <a:gd name="connsiteX118" fmla="*/ 7486046 w 12192000"/>
                <a:gd name="connsiteY118" fmla="*/ 885116 h 897199"/>
                <a:gd name="connsiteX119" fmla="*/ 6660783 w 12192000"/>
                <a:gd name="connsiteY119" fmla="*/ 342661 h 897199"/>
                <a:gd name="connsiteX120" fmla="*/ 6486932 w 12192000"/>
                <a:gd name="connsiteY120" fmla="*/ 547813 h 897199"/>
                <a:gd name="connsiteX121" fmla="*/ 6811464 w 12192000"/>
                <a:gd name="connsiteY121" fmla="*/ 547813 h 897199"/>
                <a:gd name="connsiteX122" fmla="*/ 6660807 w 12192000"/>
                <a:gd name="connsiteY122" fmla="*/ 342661 h 897199"/>
                <a:gd name="connsiteX123" fmla="*/ 6486932 w 12192000"/>
                <a:gd name="connsiteY123" fmla="*/ 610407 h 897199"/>
                <a:gd name="connsiteX124" fmla="*/ 6681669 w 12192000"/>
                <a:gd name="connsiteY124" fmla="*/ 836446 h 897199"/>
                <a:gd name="connsiteX125" fmla="*/ 6847412 w 12192000"/>
                <a:gd name="connsiteY125" fmla="*/ 792382 h 897199"/>
                <a:gd name="connsiteX126" fmla="*/ 6847412 w 12192000"/>
                <a:gd name="connsiteY126" fmla="*/ 866545 h 897199"/>
                <a:gd name="connsiteX127" fmla="*/ 6675869 w 12192000"/>
                <a:gd name="connsiteY127" fmla="*/ 899032 h 897199"/>
                <a:gd name="connsiteX128" fmla="*/ 6406969 w 12192000"/>
                <a:gd name="connsiteY128" fmla="*/ 589529 h 897199"/>
                <a:gd name="connsiteX129" fmla="*/ 6656128 w 12192000"/>
                <a:gd name="connsiteY129" fmla="*/ 280050 h 897199"/>
                <a:gd name="connsiteX130" fmla="*/ 6891436 w 12192000"/>
                <a:gd name="connsiteY130" fmla="*/ 573274 h 897199"/>
                <a:gd name="connsiteX131" fmla="*/ 6891436 w 12192000"/>
                <a:gd name="connsiteY131" fmla="*/ 610383 h 897199"/>
                <a:gd name="connsiteX132" fmla="*/ 6199429 w 12192000"/>
                <a:gd name="connsiteY132" fmla="*/ 38950 h 897199"/>
                <a:gd name="connsiteX133" fmla="*/ 6272494 w 12192000"/>
                <a:gd name="connsiteY133" fmla="*/ 38950 h 897199"/>
                <a:gd name="connsiteX134" fmla="*/ 6272494 w 12192000"/>
                <a:gd name="connsiteY134" fmla="*/ 136339 h 897199"/>
                <a:gd name="connsiteX135" fmla="*/ 6199429 w 12192000"/>
                <a:gd name="connsiteY135" fmla="*/ 136339 h 897199"/>
                <a:gd name="connsiteX136" fmla="*/ 6199429 w 12192000"/>
                <a:gd name="connsiteY136" fmla="*/ 38950 h 897199"/>
                <a:gd name="connsiteX137" fmla="*/ 6199429 w 12192000"/>
                <a:gd name="connsiteY137" fmla="*/ 885124 h 897199"/>
                <a:gd name="connsiteX138" fmla="*/ 6199429 w 12192000"/>
                <a:gd name="connsiteY138" fmla="*/ 293982 h 897199"/>
                <a:gd name="connsiteX139" fmla="*/ 6272494 w 12192000"/>
                <a:gd name="connsiteY139" fmla="*/ 293982 h 897199"/>
                <a:gd name="connsiteX140" fmla="*/ 6272494 w 12192000"/>
                <a:gd name="connsiteY140" fmla="*/ 885124 h 897199"/>
                <a:gd name="connsiteX141" fmla="*/ 5949116 w 12192000"/>
                <a:gd name="connsiteY141" fmla="*/ 342661 h 897199"/>
                <a:gd name="connsiteX142" fmla="*/ 5726570 w 12192000"/>
                <a:gd name="connsiteY142" fmla="*/ 589545 h 897199"/>
                <a:gd name="connsiteX143" fmla="*/ 5940992 w 12192000"/>
                <a:gd name="connsiteY143" fmla="*/ 836446 h 897199"/>
                <a:gd name="connsiteX144" fmla="*/ 6074280 w 12192000"/>
                <a:gd name="connsiteY144" fmla="*/ 809767 h 897199"/>
                <a:gd name="connsiteX145" fmla="*/ 6081250 w 12192000"/>
                <a:gd name="connsiteY145" fmla="*/ 878178 h 897199"/>
                <a:gd name="connsiteX146" fmla="*/ 5929399 w 12192000"/>
                <a:gd name="connsiteY146" fmla="*/ 899040 h 897199"/>
                <a:gd name="connsiteX147" fmla="*/ 5646591 w 12192000"/>
                <a:gd name="connsiteY147" fmla="*/ 589537 h 897199"/>
                <a:gd name="connsiteX148" fmla="*/ 5938701 w 12192000"/>
                <a:gd name="connsiteY148" fmla="*/ 280058 h 897199"/>
                <a:gd name="connsiteX149" fmla="*/ 6081306 w 12192000"/>
                <a:gd name="connsiteY149" fmla="*/ 303220 h 897199"/>
                <a:gd name="connsiteX150" fmla="*/ 6075514 w 12192000"/>
                <a:gd name="connsiteY150" fmla="*/ 372760 h 897199"/>
                <a:gd name="connsiteX151" fmla="*/ 5949172 w 12192000"/>
                <a:gd name="connsiteY151" fmla="*/ 342653 h 897199"/>
                <a:gd name="connsiteX152" fmla="*/ 5347551 w 12192000"/>
                <a:gd name="connsiteY152" fmla="*/ 131708 h 897199"/>
                <a:gd name="connsiteX153" fmla="*/ 5172555 w 12192000"/>
                <a:gd name="connsiteY153" fmla="*/ 270789 h 897199"/>
                <a:gd name="connsiteX154" fmla="*/ 5543434 w 12192000"/>
                <a:gd name="connsiteY154" fmla="*/ 670678 h 897199"/>
                <a:gd name="connsiteX155" fmla="*/ 5278003 w 12192000"/>
                <a:gd name="connsiteY155" fmla="*/ 899040 h 897199"/>
                <a:gd name="connsiteX156" fmla="*/ 5094890 w 12192000"/>
                <a:gd name="connsiteY156" fmla="*/ 864254 h 897199"/>
                <a:gd name="connsiteX157" fmla="*/ 5103006 w 12192000"/>
                <a:gd name="connsiteY157" fmla="*/ 781943 h 897199"/>
                <a:gd name="connsiteX158" fmla="*/ 5281504 w 12192000"/>
                <a:gd name="connsiteY158" fmla="*/ 829467 h 897199"/>
                <a:gd name="connsiteX159" fmla="*/ 5463463 w 12192000"/>
                <a:gd name="connsiteY159" fmla="*/ 663700 h 897199"/>
                <a:gd name="connsiteX160" fmla="*/ 5092567 w 12192000"/>
                <a:gd name="connsiteY160" fmla="*/ 273104 h 897199"/>
                <a:gd name="connsiteX161" fmla="*/ 5348721 w 12192000"/>
                <a:gd name="connsiteY161" fmla="*/ 62136 h 897199"/>
                <a:gd name="connsiteX162" fmla="*/ 5507494 w 12192000"/>
                <a:gd name="connsiteY162" fmla="*/ 88798 h 897199"/>
                <a:gd name="connsiteX163" fmla="*/ 5494756 w 12192000"/>
                <a:gd name="connsiteY163" fmla="*/ 161831 h 897199"/>
                <a:gd name="connsiteX164" fmla="*/ 5347551 w 12192000"/>
                <a:gd name="connsiteY164" fmla="*/ 131700 h 897199"/>
                <a:gd name="connsiteX165" fmla="*/ 4231388 w 12192000"/>
                <a:gd name="connsiteY165" fmla="*/ 482895 h 897199"/>
                <a:gd name="connsiteX166" fmla="*/ 4079561 w 12192000"/>
                <a:gd name="connsiteY166" fmla="*/ 669565 h 897199"/>
                <a:gd name="connsiteX167" fmla="*/ 4267320 w 12192000"/>
                <a:gd name="connsiteY167" fmla="*/ 836477 h 897199"/>
                <a:gd name="connsiteX168" fmla="*/ 4466680 w 12192000"/>
                <a:gd name="connsiteY168" fmla="*/ 742574 h 897199"/>
                <a:gd name="connsiteX169" fmla="*/ 4231388 w 12192000"/>
                <a:gd name="connsiteY169" fmla="*/ 482927 h 897199"/>
                <a:gd name="connsiteX170" fmla="*/ 4413379 w 12192000"/>
                <a:gd name="connsiteY170" fmla="*/ 241803 h 897199"/>
                <a:gd name="connsiteX171" fmla="*/ 4298605 w 12192000"/>
                <a:gd name="connsiteY171" fmla="*/ 124738 h 897199"/>
                <a:gd name="connsiteX172" fmla="*/ 4165316 w 12192000"/>
                <a:gd name="connsiteY172" fmla="*/ 242981 h 897199"/>
                <a:gd name="connsiteX173" fmla="*/ 4256881 w 12192000"/>
                <a:gd name="connsiteY173" fmla="*/ 407554 h 897199"/>
                <a:gd name="connsiteX174" fmla="*/ 4413379 w 12192000"/>
                <a:gd name="connsiteY174" fmla="*/ 241803 h 897199"/>
                <a:gd name="connsiteX175" fmla="*/ 4698518 w 12192000"/>
                <a:gd name="connsiteY175" fmla="*/ 882800 h 897199"/>
                <a:gd name="connsiteX176" fmla="*/ 4596539 w 12192000"/>
                <a:gd name="connsiteY176" fmla="*/ 882800 h 897199"/>
                <a:gd name="connsiteX177" fmla="*/ 4510751 w 12192000"/>
                <a:gd name="connsiteY177" fmla="*/ 792398 h 897199"/>
                <a:gd name="connsiteX178" fmla="*/ 4264996 w 12192000"/>
                <a:gd name="connsiteY178" fmla="*/ 899048 h 897199"/>
                <a:gd name="connsiteX179" fmla="*/ 3999573 w 12192000"/>
                <a:gd name="connsiteY179" fmla="*/ 673002 h 897199"/>
                <a:gd name="connsiteX180" fmla="*/ 4190833 w 12192000"/>
                <a:gd name="connsiteY180" fmla="*/ 437710 h 897199"/>
                <a:gd name="connsiteX181" fmla="*/ 4085353 w 12192000"/>
                <a:gd name="connsiteY181" fmla="*/ 238334 h 897199"/>
                <a:gd name="connsiteX182" fmla="*/ 4303268 w 12192000"/>
                <a:gd name="connsiteY182" fmla="*/ 62144 h 897199"/>
                <a:gd name="connsiteX183" fmla="*/ 4493334 w 12192000"/>
                <a:gd name="connsiteY183" fmla="*/ 229065 h 897199"/>
                <a:gd name="connsiteX184" fmla="*/ 4298597 w 12192000"/>
                <a:gd name="connsiteY184" fmla="*/ 449286 h 897199"/>
                <a:gd name="connsiteX185" fmla="*/ 4511897 w 12192000"/>
                <a:gd name="connsiteY185" fmla="*/ 686902 h 897199"/>
                <a:gd name="connsiteX186" fmla="*/ 4581437 w 12192000"/>
                <a:gd name="connsiteY186" fmla="*/ 441163 h 897199"/>
                <a:gd name="connsiteX187" fmla="*/ 4650986 w 12192000"/>
                <a:gd name="connsiteY187" fmla="*/ 441163 h 897199"/>
                <a:gd name="connsiteX188" fmla="*/ 4560575 w 12192000"/>
                <a:gd name="connsiteY188" fmla="*/ 733249 h 897199"/>
                <a:gd name="connsiteX189" fmla="*/ 4698510 w 12192000"/>
                <a:gd name="connsiteY189" fmla="*/ 882800 h 897199"/>
                <a:gd name="connsiteX190" fmla="*/ 3535960 w 12192000"/>
                <a:gd name="connsiteY190" fmla="*/ 836446 h 897199"/>
                <a:gd name="connsiteX191" fmla="*/ 3603201 w 12192000"/>
                <a:gd name="connsiteY191" fmla="*/ 822529 h 897199"/>
                <a:gd name="connsiteX192" fmla="*/ 3607824 w 12192000"/>
                <a:gd name="connsiteY192" fmla="*/ 882800 h 897199"/>
                <a:gd name="connsiteX193" fmla="*/ 3518591 w 12192000"/>
                <a:gd name="connsiteY193" fmla="*/ 899048 h 897199"/>
                <a:gd name="connsiteX194" fmla="*/ 3384109 w 12192000"/>
                <a:gd name="connsiteY194" fmla="*/ 701963 h 897199"/>
                <a:gd name="connsiteX195" fmla="*/ 3384109 w 12192000"/>
                <a:gd name="connsiteY195" fmla="*/ 356577 h 897199"/>
                <a:gd name="connsiteX196" fmla="*/ 3268213 w 12192000"/>
                <a:gd name="connsiteY196" fmla="*/ 356577 h 897199"/>
                <a:gd name="connsiteX197" fmla="*/ 3268213 w 12192000"/>
                <a:gd name="connsiteY197" fmla="*/ 293982 h 897199"/>
                <a:gd name="connsiteX198" fmla="*/ 3384109 w 12192000"/>
                <a:gd name="connsiteY198" fmla="*/ 293982 h 897199"/>
                <a:gd name="connsiteX199" fmla="*/ 3384109 w 12192000"/>
                <a:gd name="connsiteY199" fmla="*/ 151376 h 897199"/>
                <a:gd name="connsiteX200" fmla="*/ 3457150 w 12192000"/>
                <a:gd name="connsiteY200" fmla="*/ 125884 h 897199"/>
                <a:gd name="connsiteX201" fmla="*/ 3457150 w 12192000"/>
                <a:gd name="connsiteY201" fmla="*/ 293958 h 897199"/>
                <a:gd name="connsiteX202" fmla="*/ 3591584 w 12192000"/>
                <a:gd name="connsiteY202" fmla="*/ 293958 h 897199"/>
                <a:gd name="connsiteX203" fmla="*/ 3591584 w 12192000"/>
                <a:gd name="connsiteY203" fmla="*/ 356553 h 897199"/>
                <a:gd name="connsiteX204" fmla="*/ 3457150 w 12192000"/>
                <a:gd name="connsiteY204" fmla="*/ 356553 h 897199"/>
                <a:gd name="connsiteX205" fmla="*/ 3457150 w 12192000"/>
                <a:gd name="connsiteY205" fmla="*/ 739049 h 897199"/>
                <a:gd name="connsiteX206" fmla="*/ 3535960 w 12192000"/>
                <a:gd name="connsiteY206" fmla="*/ 836421 h 897199"/>
                <a:gd name="connsiteX207" fmla="*/ 3176673 w 12192000"/>
                <a:gd name="connsiteY207" fmla="*/ 356553 h 897199"/>
                <a:gd name="connsiteX208" fmla="*/ 3029469 w 12192000"/>
                <a:gd name="connsiteY208" fmla="*/ 593014 h 897199"/>
                <a:gd name="connsiteX209" fmla="*/ 3029469 w 12192000"/>
                <a:gd name="connsiteY209" fmla="*/ 885100 h 897199"/>
                <a:gd name="connsiteX210" fmla="*/ 2956451 w 12192000"/>
                <a:gd name="connsiteY210" fmla="*/ 885100 h 897199"/>
                <a:gd name="connsiteX211" fmla="*/ 2956451 w 12192000"/>
                <a:gd name="connsiteY211" fmla="*/ 426117 h 897199"/>
                <a:gd name="connsiteX212" fmla="*/ 2951789 w 12192000"/>
                <a:gd name="connsiteY212" fmla="*/ 293982 h 897199"/>
                <a:gd name="connsiteX213" fmla="*/ 3024822 w 12192000"/>
                <a:gd name="connsiteY213" fmla="*/ 293982 h 897199"/>
                <a:gd name="connsiteX214" fmla="*/ 3024822 w 12192000"/>
                <a:gd name="connsiteY214" fmla="*/ 407554 h 897199"/>
                <a:gd name="connsiteX215" fmla="*/ 3027169 w 12192000"/>
                <a:gd name="connsiteY215" fmla="*/ 407554 h 897199"/>
                <a:gd name="connsiteX216" fmla="*/ 3178997 w 12192000"/>
                <a:gd name="connsiteY216" fmla="*/ 280066 h 897199"/>
                <a:gd name="connsiteX217" fmla="*/ 3229974 w 12192000"/>
                <a:gd name="connsiteY217" fmla="*/ 287036 h 897199"/>
                <a:gd name="connsiteX218" fmla="*/ 3229974 w 12192000"/>
                <a:gd name="connsiteY218" fmla="*/ 363523 h 897199"/>
                <a:gd name="connsiteX219" fmla="*/ 3176673 w 12192000"/>
                <a:gd name="connsiteY219" fmla="*/ 356577 h 897199"/>
                <a:gd name="connsiteX220" fmla="*/ 2483569 w 12192000"/>
                <a:gd name="connsiteY220" fmla="*/ 152546 h 897199"/>
                <a:gd name="connsiteX221" fmla="*/ 2307402 w 12192000"/>
                <a:gd name="connsiteY221" fmla="*/ 598790 h 897199"/>
                <a:gd name="connsiteX222" fmla="*/ 2658589 w 12192000"/>
                <a:gd name="connsiteY222" fmla="*/ 598790 h 897199"/>
                <a:gd name="connsiteX223" fmla="*/ 2483569 w 12192000"/>
                <a:gd name="connsiteY223" fmla="*/ 152546 h 897199"/>
                <a:gd name="connsiteX224" fmla="*/ 2772185 w 12192000"/>
                <a:gd name="connsiteY224" fmla="*/ 885100 h 897199"/>
                <a:gd name="connsiteX225" fmla="*/ 2685252 w 12192000"/>
                <a:gd name="connsiteY225" fmla="*/ 668355 h 897199"/>
                <a:gd name="connsiteX226" fmla="*/ 2277247 w 12192000"/>
                <a:gd name="connsiteY226" fmla="*/ 668355 h 897199"/>
                <a:gd name="connsiteX227" fmla="*/ 2190297 w 12192000"/>
                <a:gd name="connsiteY227" fmla="*/ 885100 h 897199"/>
                <a:gd name="connsiteX228" fmla="*/ 2112665 w 12192000"/>
                <a:gd name="connsiteY228" fmla="*/ 885100 h 897199"/>
                <a:gd name="connsiteX229" fmla="*/ 2444168 w 12192000"/>
                <a:gd name="connsiteY229" fmla="*/ 76036 h 897199"/>
                <a:gd name="connsiteX230" fmla="*/ 2534570 w 12192000"/>
                <a:gd name="connsiteY230" fmla="*/ 76036 h 897199"/>
                <a:gd name="connsiteX231" fmla="*/ 2855650 w 12192000"/>
                <a:gd name="connsiteY231" fmla="*/ 885100 h 897199"/>
                <a:gd name="connsiteX232" fmla="*/ 1508762 w 12192000"/>
                <a:gd name="connsiteY232" fmla="*/ 342637 h 897199"/>
                <a:gd name="connsiteX233" fmla="*/ 1334911 w 12192000"/>
                <a:gd name="connsiteY233" fmla="*/ 547789 h 897199"/>
                <a:gd name="connsiteX234" fmla="*/ 1659451 w 12192000"/>
                <a:gd name="connsiteY234" fmla="*/ 547789 h 897199"/>
                <a:gd name="connsiteX235" fmla="*/ 1508778 w 12192000"/>
                <a:gd name="connsiteY235" fmla="*/ 342637 h 897199"/>
                <a:gd name="connsiteX236" fmla="*/ 1334911 w 12192000"/>
                <a:gd name="connsiteY236" fmla="*/ 610383 h 897199"/>
                <a:gd name="connsiteX237" fmla="*/ 1529640 w 12192000"/>
                <a:gd name="connsiteY237" fmla="*/ 836421 h 897199"/>
                <a:gd name="connsiteX238" fmla="*/ 1695391 w 12192000"/>
                <a:gd name="connsiteY238" fmla="*/ 792358 h 897199"/>
                <a:gd name="connsiteX239" fmla="*/ 1695391 w 12192000"/>
                <a:gd name="connsiteY239" fmla="*/ 866521 h 897199"/>
                <a:gd name="connsiteX240" fmla="*/ 1523847 w 12192000"/>
                <a:gd name="connsiteY240" fmla="*/ 899008 h 897199"/>
                <a:gd name="connsiteX241" fmla="*/ 1254915 w 12192000"/>
                <a:gd name="connsiteY241" fmla="*/ 589505 h 897199"/>
                <a:gd name="connsiteX242" fmla="*/ 1504147 w 12192000"/>
                <a:gd name="connsiteY242" fmla="*/ 280026 h 897199"/>
                <a:gd name="connsiteX243" fmla="*/ 1739447 w 12192000"/>
                <a:gd name="connsiteY243" fmla="*/ 573249 h 897199"/>
                <a:gd name="connsiteX244" fmla="*/ 1739447 w 12192000"/>
                <a:gd name="connsiteY244" fmla="*/ 610359 h 897199"/>
                <a:gd name="connsiteX245" fmla="*/ 1048633 w 12192000"/>
                <a:gd name="connsiteY245" fmla="*/ 885100 h 897199"/>
                <a:gd name="connsiteX246" fmla="*/ 1048633 w 12192000"/>
                <a:gd name="connsiteY246" fmla="*/ 532743 h 897199"/>
                <a:gd name="connsiteX247" fmla="*/ 908375 w 12192000"/>
                <a:gd name="connsiteY247" fmla="*/ 342661 h 897199"/>
                <a:gd name="connsiteX248" fmla="*/ 733346 w 12192000"/>
                <a:gd name="connsiteY248" fmla="*/ 568675 h 897199"/>
                <a:gd name="connsiteX249" fmla="*/ 733346 w 12192000"/>
                <a:gd name="connsiteY249" fmla="*/ 885132 h 897199"/>
                <a:gd name="connsiteX250" fmla="*/ 660393 w 12192000"/>
                <a:gd name="connsiteY250" fmla="*/ 885132 h 897199"/>
                <a:gd name="connsiteX251" fmla="*/ 660393 w 12192000"/>
                <a:gd name="connsiteY251" fmla="*/ 15789 h 897199"/>
                <a:gd name="connsiteX252" fmla="*/ 733402 w 12192000"/>
                <a:gd name="connsiteY252" fmla="*/ 15789 h 897199"/>
                <a:gd name="connsiteX253" fmla="*/ 733402 w 12192000"/>
                <a:gd name="connsiteY253" fmla="*/ 393638 h 897199"/>
                <a:gd name="connsiteX254" fmla="*/ 735734 w 12192000"/>
                <a:gd name="connsiteY254" fmla="*/ 393638 h 897199"/>
                <a:gd name="connsiteX255" fmla="*/ 920039 w 12192000"/>
                <a:gd name="connsiteY255" fmla="*/ 280066 h 897199"/>
                <a:gd name="connsiteX256" fmla="*/ 1121731 w 12192000"/>
                <a:gd name="connsiteY256" fmla="*/ 531573 h 897199"/>
                <a:gd name="connsiteX257" fmla="*/ 1121731 w 12192000"/>
                <a:gd name="connsiteY257" fmla="*/ 885124 h 897199"/>
                <a:gd name="connsiteX258" fmla="*/ 325373 w 12192000"/>
                <a:gd name="connsiteY258" fmla="*/ 145576 h 897199"/>
                <a:gd name="connsiteX259" fmla="*/ 325373 w 12192000"/>
                <a:gd name="connsiteY259" fmla="*/ 885100 h 897199"/>
                <a:gd name="connsiteX260" fmla="*/ 245410 w 12192000"/>
                <a:gd name="connsiteY260" fmla="*/ 885100 h 897199"/>
                <a:gd name="connsiteX261" fmla="*/ 245410 w 12192000"/>
                <a:gd name="connsiteY261" fmla="*/ 145600 h 897199"/>
                <a:gd name="connsiteX262" fmla="*/ 6649 w 12192000"/>
                <a:gd name="connsiteY262" fmla="*/ 145600 h 897199"/>
                <a:gd name="connsiteX263" fmla="*/ 6649 w 12192000"/>
                <a:gd name="connsiteY263" fmla="*/ 76060 h 897199"/>
                <a:gd name="connsiteX264" fmla="*/ 564190 w 12192000"/>
                <a:gd name="connsiteY264" fmla="*/ 76060 h 897199"/>
                <a:gd name="connsiteX265" fmla="*/ 564190 w 12192000"/>
                <a:gd name="connsiteY265" fmla="*/ 145600 h 89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2192000" h="897199">
                  <a:moveTo>
                    <a:pt x="12198649" y="885124"/>
                  </a:moveTo>
                  <a:lnTo>
                    <a:pt x="12097839" y="885124"/>
                  </a:lnTo>
                  <a:lnTo>
                    <a:pt x="11805730" y="581421"/>
                  </a:lnTo>
                  <a:lnTo>
                    <a:pt x="11805730" y="885124"/>
                  </a:lnTo>
                  <a:lnTo>
                    <a:pt x="11732688" y="885124"/>
                  </a:lnTo>
                  <a:lnTo>
                    <a:pt x="11732688" y="15789"/>
                  </a:lnTo>
                  <a:lnTo>
                    <a:pt x="11805730" y="15789"/>
                  </a:lnTo>
                  <a:lnTo>
                    <a:pt x="11805730" y="536236"/>
                  </a:lnTo>
                  <a:lnTo>
                    <a:pt x="12070007" y="293982"/>
                  </a:lnTo>
                  <a:lnTo>
                    <a:pt x="12163887" y="293982"/>
                  </a:lnTo>
                  <a:lnTo>
                    <a:pt x="11875270" y="555961"/>
                  </a:lnTo>
                  <a:lnTo>
                    <a:pt x="12198649" y="885124"/>
                  </a:lnTo>
                  <a:close/>
                  <a:moveTo>
                    <a:pt x="11444120" y="342661"/>
                  </a:moveTo>
                  <a:cubicBezTo>
                    <a:pt x="11368811" y="342661"/>
                    <a:pt x="11316608" y="365822"/>
                    <a:pt x="11316608" y="441203"/>
                  </a:cubicBezTo>
                  <a:cubicBezTo>
                    <a:pt x="11316608" y="551346"/>
                    <a:pt x="11607548" y="537430"/>
                    <a:pt x="11607548" y="730989"/>
                  </a:cubicBezTo>
                  <a:cubicBezTo>
                    <a:pt x="11607548" y="856178"/>
                    <a:pt x="11490475" y="899088"/>
                    <a:pt x="11401218" y="899088"/>
                  </a:cubicBezTo>
                  <a:cubicBezTo>
                    <a:pt x="11344424" y="899088"/>
                    <a:pt x="11287622" y="892118"/>
                    <a:pt x="11235475" y="871248"/>
                  </a:cubicBezTo>
                  <a:lnTo>
                    <a:pt x="11242445" y="799384"/>
                  </a:lnTo>
                  <a:cubicBezTo>
                    <a:pt x="11286468" y="821424"/>
                    <a:pt x="11339793" y="836485"/>
                    <a:pt x="11396595" y="836485"/>
                  </a:cubicBezTo>
                  <a:cubicBezTo>
                    <a:pt x="11466136" y="836485"/>
                    <a:pt x="11527584" y="798214"/>
                    <a:pt x="11527584" y="730989"/>
                  </a:cubicBezTo>
                  <a:cubicBezTo>
                    <a:pt x="11527584" y="590731"/>
                    <a:pt x="11243590" y="612770"/>
                    <a:pt x="11243590" y="441203"/>
                  </a:cubicBezTo>
                  <a:cubicBezTo>
                    <a:pt x="11243590" y="324130"/>
                    <a:pt x="11338647" y="280106"/>
                    <a:pt x="11436004" y="280106"/>
                  </a:cubicBezTo>
                  <a:cubicBezTo>
                    <a:pt x="11467289" y="280106"/>
                    <a:pt x="11529884" y="287076"/>
                    <a:pt x="11582055" y="306761"/>
                  </a:cubicBezTo>
                  <a:lnTo>
                    <a:pt x="11575085" y="370533"/>
                  </a:lnTo>
                  <a:cubicBezTo>
                    <a:pt x="11536830" y="353116"/>
                    <a:pt x="11484682" y="342701"/>
                    <a:pt x="11444120" y="342701"/>
                  </a:cubicBezTo>
                  <a:close/>
                  <a:moveTo>
                    <a:pt x="11036115" y="38950"/>
                  </a:moveTo>
                  <a:lnTo>
                    <a:pt x="11109148" y="38950"/>
                  </a:lnTo>
                  <a:lnTo>
                    <a:pt x="11109148" y="136339"/>
                  </a:lnTo>
                  <a:lnTo>
                    <a:pt x="11036115" y="136339"/>
                  </a:lnTo>
                  <a:lnTo>
                    <a:pt x="11036115" y="38950"/>
                  </a:lnTo>
                  <a:close/>
                  <a:moveTo>
                    <a:pt x="11036115" y="885124"/>
                  </a:moveTo>
                  <a:lnTo>
                    <a:pt x="11036115" y="293982"/>
                  </a:lnTo>
                  <a:lnTo>
                    <a:pt x="11109148" y="293982"/>
                  </a:lnTo>
                  <a:lnTo>
                    <a:pt x="11109148" y="885124"/>
                  </a:lnTo>
                  <a:close/>
                  <a:moveTo>
                    <a:pt x="10570226" y="145600"/>
                  </a:moveTo>
                  <a:lnTo>
                    <a:pt x="10487892" y="145600"/>
                  </a:lnTo>
                  <a:lnTo>
                    <a:pt x="10487892" y="434217"/>
                  </a:lnTo>
                  <a:lnTo>
                    <a:pt x="10572525" y="434217"/>
                  </a:lnTo>
                  <a:cubicBezTo>
                    <a:pt x="10666405" y="434217"/>
                    <a:pt x="10774209" y="398309"/>
                    <a:pt x="10774209" y="285859"/>
                  </a:cubicBezTo>
                  <a:cubicBezTo>
                    <a:pt x="10774209" y="153724"/>
                    <a:pt x="10680321" y="145600"/>
                    <a:pt x="10570226" y="145600"/>
                  </a:cubicBezTo>
                  <a:close/>
                  <a:moveTo>
                    <a:pt x="10674529" y="472472"/>
                  </a:moveTo>
                  <a:lnTo>
                    <a:pt x="10674529" y="474795"/>
                  </a:lnTo>
                  <a:cubicBezTo>
                    <a:pt x="10739423" y="482895"/>
                    <a:pt x="10753339" y="517673"/>
                    <a:pt x="10778855" y="572176"/>
                  </a:cubicBezTo>
                  <a:lnTo>
                    <a:pt x="10916799" y="885124"/>
                  </a:lnTo>
                  <a:lnTo>
                    <a:pt x="10828671" y="885124"/>
                  </a:lnTo>
                  <a:lnTo>
                    <a:pt x="10711598" y="611561"/>
                  </a:lnTo>
                  <a:cubicBezTo>
                    <a:pt x="10665235" y="507274"/>
                    <a:pt x="10630473" y="503757"/>
                    <a:pt x="10553987" y="503757"/>
                  </a:cubicBezTo>
                  <a:lnTo>
                    <a:pt x="10487892" y="503757"/>
                  </a:lnTo>
                  <a:lnTo>
                    <a:pt x="10487892" y="885108"/>
                  </a:lnTo>
                  <a:lnTo>
                    <a:pt x="10407928" y="885108"/>
                  </a:lnTo>
                  <a:lnTo>
                    <a:pt x="10407928" y="76060"/>
                  </a:lnTo>
                  <a:lnTo>
                    <a:pt x="10616581" y="76060"/>
                  </a:lnTo>
                  <a:cubicBezTo>
                    <a:pt x="10760285" y="76060"/>
                    <a:pt x="10854188" y="137484"/>
                    <a:pt x="10854188" y="285859"/>
                  </a:cubicBezTo>
                  <a:cubicBezTo>
                    <a:pt x="10854188" y="390185"/>
                    <a:pt x="10774209" y="459710"/>
                    <a:pt x="10674529" y="472472"/>
                  </a:cubicBezTo>
                  <a:close/>
                  <a:moveTo>
                    <a:pt x="9970977" y="77229"/>
                  </a:moveTo>
                  <a:cubicBezTo>
                    <a:pt x="9955908" y="69114"/>
                    <a:pt x="9933916" y="64483"/>
                    <a:pt x="9913053" y="64483"/>
                  </a:cubicBezTo>
                  <a:cubicBezTo>
                    <a:pt x="9813350" y="64483"/>
                    <a:pt x="9823773" y="172263"/>
                    <a:pt x="9823773" y="242981"/>
                  </a:cubicBezTo>
                  <a:lnTo>
                    <a:pt x="9823773" y="293982"/>
                  </a:lnTo>
                  <a:lnTo>
                    <a:pt x="9957061" y="293982"/>
                  </a:lnTo>
                  <a:lnTo>
                    <a:pt x="9957061" y="356577"/>
                  </a:lnTo>
                  <a:lnTo>
                    <a:pt x="9823773" y="356577"/>
                  </a:lnTo>
                  <a:lnTo>
                    <a:pt x="9823773" y="885124"/>
                  </a:lnTo>
                  <a:lnTo>
                    <a:pt x="9750755" y="885124"/>
                  </a:lnTo>
                  <a:lnTo>
                    <a:pt x="9750755" y="356577"/>
                  </a:lnTo>
                  <a:lnTo>
                    <a:pt x="9631383" y="356577"/>
                  </a:lnTo>
                  <a:lnTo>
                    <a:pt x="9631383" y="293982"/>
                  </a:lnTo>
                  <a:lnTo>
                    <a:pt x="9750755" y="293982"/>
                  </a:lnTo>
                  <a:lnTo>
                    <a:pt x="9750755" y="251096"/>
                  </a:lnTo>
                  <a:cubicBezTo>
                    <a:pt x="9750755" y="127061"/>
                    <a:pt x="9755378" y="1889"/>
                    <a:pt x="9907229" y="1889"/>
                  </a:cubicBezTo>
                  <a:cubicBezTo>
                    <a:pt x="9930463" y="1889"/>
                    <a:pt x="9961708" y="5342"/>
                    <a:pt x="9975624" y="13465"/>
                  </a:cubicBezTo>
                  <a:lnTo>
                    <a:pt x="9970977" y="77229"/>
                  </a:lnTo>
                  <a:close/>
                  <a:moveTo>
                    <a:pt x="9292942" y="342661"/>
                  </a:moveTo>
                  <a:cubicBezTo>
                    <a:pt x="9165430" y="342661"/>
                    <a:pt x="9097060" y="452780"/>
                    <a:pt x="9097060" y="589545"/>
                  </a:cubicBezTo>
                  <a:cubicBezTo>
                    <a:pt x="9097060" y="726310"/>
                    <a:pt x="9165430" y="836446"/>
                    <a:pt x="9292942" y="836446"/>
                  </a:cubicBezTo>
                  <a:cubicBezTo>
                    <a:pt x="9420454" y="836446"/>
                    <a:pt x="9488825" y="726302"/>
                    <a:pt x="9488825" y="589545"/>
                  </a:cubicBezTo>
                  <a:cubicBezTo>
                    <a:pt x="9488825" y="452788"/>
                    <a:pt x="9420431" y="342661"/>
                    <a:pt x="9292942" y="342661"/>
                  </a:cubicBezTo>
                  <a:close/>
                  <a:moveTo>
                    <a:pt x="9292942" y="899048"/>
                  </a:moveTo>
                  <a:cubicBezTo>
                    <a:pt x="9101682" y="899048"/>
                    <a:pt x="9017048" y="750666"/>
                    <a:pt x="9017048" y="589545"/>
                  </a:cubicBezTo>
                  <a:cubicBezTo>
                    <a:pt x="9017048" y="428424"/>
                    <a:pt x="9101682" y="280066"/>
                    <a:pt x="9292942" y="280066"/>
                  </a:cubicBezTo>
                  <a:cubicBezTo>
                    <a:pt x="9484202" y="280066"/>
                    <a:pt x="9568813" y="428416"/>
                    <a:pt x="9568813" y="589545"/>
                  </a:cubicBezTo>
                  <a:cubicBezTo>
                    <a:pt x="9568813" y="750674"/>
                    <a:pt x="9484179" y="899040"/>
                    <a:pt x="9292942" y="899040"/>
                  </a:cubicBezTo>
                  <a:close/>
                  <a:moveTo>
                    <a:pt x="8381940" y="342661"/>
                  </a:moveTo>
                  <a:cubicBezTo>
                    <a:pt x="8274144" y="342661"/>
                    <a:pt x="8208089" y="450432"/>
                    <a:pt x="8208089" y="547813"/>
                  </a:cubicBezTo>
                  <a:lnTo>
                    <a:pt x="8532661" y="547813"/>
                  </a:lnTo>
                  <a:cubicBezTo>
                    <a:pt x="8532661" y="444656"/>
                    <a:pt x="8490929" y="342661"/>
                    <a:pt x="8381956" y="342661"/>
                  </a:cubicBezTo>
                  <a:close/>
                  <a:moveTo>
                    <a:pt x="8208089" y="610407"/>
                  </a:moveTo>
                  <a:cubicBezTo>
                    <a:pt x="8208089" y="735596"/>
                    <a:pt x="8275306" y="836446"/>
                    <a:pt x="8402826" y="836446"/>
                  </a:cubicBezTo>
                  <a:cubicBezTo>
                    <a:pt x="8456143" y="836446"/>
                    <a:pt x="8533791" y="814414"/>
                    <a:pt x="8568569" y="792382"/>
                  </a:cubicBezTo>
                  <a:lnTo>
                    <a:pt x="8568569" y="866545"/>
                  </a:lnTo>
                  <a:cubicBezTo>
                    <a:pt x="8517591" y="887415"/>
                    <a:pt x="8451496" y="899032"/>
                    <a:pt x="8397025" y="899032"/>
                  </a:cubicBezTo>
                  <a:cubicBezTo>
                    <a:pt x="8201119" y="899032"/>
                    <a:pt x="8128125" y="766889"/>
                    <a:pt x="8128125" y="589529"/>
                  </a:cubicBezTo>
                  <a:cubicBezTo>
                    <a:pt x="8128125" y="408708"/>
                    <a:pt x="8227781" y="280050"/>
                    <a:pt x="8377333" y="280050"/>
                  </a:cubicBezTo>
                  <a:cubicBezTo>
                    <a:pt x="8544230" y="280050"/>
                    <a:pt x="8612624" y="414484"/>
                    <a:pt x="8612624" y="573274"/>
                  </a:cubicBezTo>
                  <a:lnTo>
                    <a:pt x="8612624" y="610383"/>
                  </a:lnTo>
                  <a:close/>
                  <a:moveTo>
                    <a:pt x="7921843" y="342661"/>
                  </a:moveTo>
                  <a:cubicBezTo>
                    <a:pt x="7779237" y="342661"/>
                    <a:pt x="7699274" y="445810"/>
                    <a:pt x="7699274" y="589545"/>
                  </a:cubicBezTo>
                  <a:cubicBezTo>
                    <a:pt x="7699274" y="724003"/>
                    <a:pt x="7780415" y="836446"/>
                    <a:pt x="7913720" y="836446"/>
                  </a:cubicBezTo>
                  <a:cubicBezTo>
                    <a:pt x="7960075" y="836446"/>
                    <a:pt x="8002960" y="826030"/>
                    <a:pt x="8047008" y="809767"/>
                  </a:cubicBezTo>
                  <a:lnTo>
                    <a:pt x="8053978" y="878178"/>
                  </a:lnTo>
                  <a:cubicBezTo>
                    <a:pt x="8004130" y="895547"/>
                    <a:pt x="7957775" y="899048"/>
                    <a:pt x="7902127" y="899048"/>
                  </a:cubicBezTo>
                  <a:cubicBezTo>
                    <a:pt x="7712045" y="899048"/>
                    <a:pt x="7619319" y="754119"/>
                    <a:pt x="7619319" y="589545"/>
                  </a:cubicBezTo>
                  <a:cubicBezTo>
                    <a:pt x="7619319" y="407554"/>
                    <a:pt x="7736392" y="280066"/>
                    <a:pt x="7911428" y="280066"/>
                  </a:cubicBezTo>
                  <a:cubicBezTo>
                    <a:pt x="7982122" y="280066"/>
                    <a:pt x="8033148" y="296282"/>
                    <a:pt x="8054034" y="303228"/>
                  </a:cubicBezTo>
                  <a:lnTo>
                    <a:pt x="8048242" y="372768"/>
                  </a:lnTo>
                  <a:cubicBezTo>
                    <a:pt x="8008809" y="355399"/>
                    <a:pt x="7961284" y="342661"/>
                    <a:pt x="7921899" y="342661"/>
                  </a:cubicBezTo>
                  <a:close/>
                  <a:moveTo>
                    <a:pt x="7413005" y="885124"/>
                  </a:moveTo>
                  <a:lnTo>
                    <a:pt x="7413005" y="525773"/>
                  </a:lnTo>
                  <a:cubicBezTo>
                    <a:pt x="7413005" y="414500"/>
                    <a:pt x="7373596" y="342661"/>
                    <a:pt x="7272746" y="342661"/>
                  </a:cubicBezTo>
                  <a:cubicBezTo>
                    <a:pt x="7139458" y="342661"/>
                    <a:pt x="7097726" y="459726"/>
                    <a:pt x="7097726" y="558252"/>
                  </a:cubicBezTo>
                  <a:lnTo>
                    <a:pt x="7097726" y="885124"/>
                  </a:lnTo>
                  <a:lnTo>
                    <a:pt x="7024708" y="885124"/>
                  </a:lnTo>
                  <a:lnTo>
                    <a:pt x="7024708" y="433063"/>
                  </a:lnTo>
                  <a:cubicBezTo>
                    <a:pt x="7024708" y="387862"/>
                    <a:pt x="7024708" y="341507"/>
                    <a:pt x="7020062" y="293982"/>
                  </a:cubicBezTo>
                  <a:lnTo>
                    <a:pt x="7090756" y="293982"/>
                  </a:lnTo>
                  <a:lnTo>
                    <a:pt x="7090756" y="399431"/>
                  </a:lnTo>
                  <a:lnTo>
                    <a:pt x="7093103" y="399431"/>
                  </a:lnTo>
                  <a:cubicBezTo>
                    <a:pt x="7117418" y="346130"/>
                    <a:pt x="7161474" y="280058"/>
                    <a:pt x="7284363" y="280058"/>
                  </a:cubicBezTo>
                  <a:cubicBezTo>
                    <a:pt x="7430422" y="280058"/>
                    <a:pt x="7486046" y="377431"/>
                    <a:pt x="7486046" y="507250"/>
                  </a:cubicBezTo>
                  <a:lnTo>
                    <a:pt x="7486046" y="885116"/>
                  </a:lnTo>
                  <a:close/>
                  <a:moveTo>
                    <a:pt x="6660783" y="342661"/>
                  </a:moveTo>
                  <a:cubicBezTo>
                    <a:pt x="6552979" y="342661"/>
                    <a:pt x="6486932" y="450432"/>
                    <a:pt x="6486932" y="547813"/>
                  </a:cubicBezTo>
                  <a:lnTo>
                    <a:pt x="6811464" y="547813"/>
                  </a:lnTo>
                  <a:cubicBezTo>
                    <a:pt x="6811464" y="444656"/>
                    <a:pt x="6769732" y="342661"/>
                    <a:pt x="6660807" y="342661"/>
                  </a:cubicBezTo>
                  <a:close/>
                  <a:moveTo>
                    <a:pt x="6486932" y="610407"/>
                  </a:moveTo>
                  <a:cubicBezTo>
                    <a:pt x="6486932" y="735596"/>
                    <a:pt x="6554157" y="836446"/>
                    <a:pt x="6681669" y="836446"/>
                  </a:cubicBezTo>
                  <a:cubicBezTo>
                    <a:pt x="6734970" y="836446"/>
                    <a:pt x="6812634" y="814414"/>
                    <a:pt x="6847412" y="792382"/>
                  </a:cubicBezTo>
                  <a:lnTo>
                    <a:pt x="6847412" y="866545"/>
                  </a:lnTo>
                  <a:cubicBezTo>
                    <a:pt x="6796419" y="887415"/>
                    <a:pt x="6730347" y="899032"/>
                    <a:pt x="6675869" y="899032"/>
                  </a:cubicBezTo>
                  <a:cubicBezTo>
                    <a:pt x="6479970" y="899032"/>
                    <a:pt x="6406969" y="766889"/>
                    <a:pt x="6406969" y="589529"/>
                  </a:cubicBezTo>
                  <a:cubicBezTo>
                    <a:pt x="6406969" y="408708"/>
                    <a:pt x="6506624" y="280050"/>
                    <a:pt x="6656128" y="280050"/>
                  </a:cubicBezTo>
                  <a:cubicBezTo>
                    <a:pt x="6823041" y="280050"/>
                    <a:pt x="6891436" y="414484"/>
                    <a:pt x="6891436" y="573274"/>
                  </a:cubicBezTo>
                  <a:lnTo>
                    <a:pt x="6891436" y="610383"/>
                  </a:lnTo>
                  <a:close/>
                  <a:moveTo>
                    <a:pt x="6199429" y="38950"/>
                  </a:moveTo>
                  <a:lnTo>
                    <a:pt x="6272494" y="38950"/>
                  </a:lnTo>
                  <a:lnTo>
                    <a:pt x="6272494" y="136339"/>
                  </a:lnTo>
                  <a:lnTo>
                    <a:pt x="6199429" y="136339"/>
                  </a:lnTo>
                  <a:lnTo>
                    <a:pt x="6199429" y="38950"/>
                  </a:lnTo>
                  <a:close/>
                  <a:moveTo>
                    <a:pt x="6199429" y="885124"/>
                  </a:moveTo>
                  <a:lnTo>
                    <a:pt x="6199429" y="293982"/>
                  </a:lnTo>
                  <a:lnTo>
                    <a:pt x="6272494" y="293982"/>
                  </a:lnTo>
                  <a:lnTo>
                    <a:pt x="6272494" y="885124"/>
                  </a:lnTo>
                  <a:close/>
                  <a:moveTo>
                    <a:pt x="5949116" y="342661"/>
                  </a:moveTo>
                  <a:cubicBezTo>
                    <a:pt x="5806510" y="342661"/>
                    <a:pt x="5726570" y="445810"/>
                    <a:pt x="5726570" y="589545"/>
                  </a:cubicBezTo>
                  <a:cubicBezTo>
                    <a:pt x="5726570" y="724003"/>
                    <a:pt x="5807687" y="836446"/>
                    <a:pt x="5940992" y="836446"/>
                  </a:cubicBezTo>
                  <a:cubicBezTo>
                    <a:pt x="5987347" y="836446"/>
                    <a:pt x="6030233" y="826030"/>
                    <a:pt x="6074280" y="809767"/>
                  </a:cubicBezTo>
                  <a:lnTo>
                    <a:pt x="6081250" y="878178"/>
                  </a:lnTo>
                  <a:cubicBezTo>
                    <a:pt x="6031402" y="895547"/>
                    <a:pt x="5985048" y="899040"/>
                    <a:pt x="5929399" y="899040"/>
                  </a:cubicBezTo>
                  <a:cubicBezTo>
                    <a:pt x="5739317" y="899040"/>
                    <a:pt x="5646591" y="754111"/>
                    <a:pt x="5646591" y="589537"/>
                  </a:cubicBezTo>
                  <a:cubicBezTo>
                    <a:pt x="5646591" y="407546"/>
                    <a:pt x="5763688" y="280058"/>
                    <a:pt x="5938701" y="280058"/>
                  </a:cubicBezTo>
                  <a:cubicBezTo>
                    <a:pt x="6009419" y="280058"/>
                    <a:pt x="6060420" y="296274"/>
                    <a:pt x="6081306" y="303220"/>
                  </a:cubicBezTo>
                  <a:lnTo>
                    <a:pt x="6075514" y="372760"/>
                  </a:lnTo>
                  <a:cubicBezTo>
                    <a:pt x="6036081" y="355391"/>
                    <a:pt x="5988581" y="342653"/>
                    <a:pt x="5949172" y="342653"/>
                  </a:cubicBezTo>
                  <a:close/>
                  <a:moveTo>
                    <a:pt x="5347551" y="131708"/>
                  </a:moveTo>
                  <a:cubicBezTo>
                    <a:pt x="5264087" y="131708"/>
                    <a:pt x="5172555" y="166470"/>
                    <a:pt x="5172555" y="270789"/>
                  </a:cubicBezTo>
                  <a:cubicBezTo>
                    <a:pt x="5172555" y="433063"/>
                    <a:pt x="5543434" y="434225"/>
                    <a:pt x="5543434" y="670678"/>
                  </a:cubicBezTo>
                  <a:cubicBezTo>
                    <a:pt x="5543442" y="834146"/>
                    <a:pt x="5403192" y="899040"/>
                    <a:pt x="5278003" y="899040"/>
                  </a:cubicBezTo>
                  <a:cubicBezTo>
                    <a:pt x="5199193" y="899040"/>
                    <a:pt x="5137800" y="882792"/>
                    <a:pt x="5094890" y="864254"/>
                  </a:cubicBezTo>
                  <a:lnTo>
                    <a:pt x="5103006" y="781943"/>
                  </a:lnTo>
                  <a:cubicBezTo>
                    <a:pt x="5150515" y="812082"/>
                    <a:pt x="5206163" y="829467"/>
                    <a:pt x="5281504" y="829467"/>
                  </a:cubicBezTo>
                  <a:cubicBezTo>
                    <a:pt x="5381176" y="829467"/>
                    <a:pt x="5463463" y="778474"/>
                    <a:pt x="5463463" y="663700"/>
                  </a:cubicBezTo>
                  <a:cubicBezTo>
                    <a:pt x="5463463" y="504927"/>
                    <a:pt x="5092567" y="485210"/>
                    <a:pt x="5092567" y="273104"/>
                  </a:cubicBezTo>
                  <a:cubicBezTo>
                    <a:pt x="5092567" y="143269"/>
                    <a:pt x="5206163" y="62136"/>
                    <a:pt x="5348721" y="62136"/>
                  </a:cubicBezTo>
                  <a:cubicBezTo>
                    <a:pt x="5388146" y="62136"/>
                    <a:pt x="5451870" y="67928"/>
                    <a:pt x="5507494" y="88798"/>
                  </a:cubicBezTo>
                  <a:lnTo>
                    <a:pt x="5494756" y="161831"/>
                  </a:lnTo>
                  <a:cubicBezTo>
                    <a:pt x="5458824" y="142099"/>
                    <a:pt x="5402046" y="131700"/>
                    <a:pt x="5347551" y="131700"/>
                  </a:cubicBezTo>
                  <a:close/>
                  <a:moveTo>
                    <a:pt x="4231388" y="482895"/>
                  </a:moveTo>
                  <a:cubicBezTo>
                    <a:pt x="4154901" y="513027"/>
                    <a:pt x="4079561" y="580252"/>
                    <a:pt x="4079561" y="669565"/>
                  </a:cubicBezTo>
                  <a:cubicBezTo>
                    <a:pt x="4079561" y="779684"/>
                    <a:pt x="4169963" y="836477"/>
                    <a:pt x="4267320" y="836477"/>
                  </a:cubicBezTo>
                  <a:cubicBezTo>
                    <a:pt x="4340337" y="836477"/>
                    <a:pt x="4420341" y="799376"/>
                    <a:pt x="4466680" y="742574"/>
                  </a:cubicBezTo>
                  <a:lnTo>
                    <a:pt x="4231388" y="482927"/>
                  </a:lnTo>
                  <a:close/>
                  <a:moveTo>
                    <a:pt x="4413379" y="241803"/>
                  </a:moveTo>
                  <a:cubicBezTo>
                    <a:pt x="4413379" y="165293"/>
                    <a:pt x="4367024" y="124738"/>
                    <a:pt x="4298605" y="124738"/>
                  </a:cubicBezTo>
                  <a:cubicBezTo>
                    <a:pt x="4230186" y="124738"/>
                    <a:pt x="4165316" y="164147"/>
                    <a:pt x="4165316" y="242981"/>
                  </a:cubicBezTo>
                  <a:cubicBezTo>
                    <a:pt x="4165316" y="306721"/>
                    <a:pt x="4212873" y="358876"/>
                    <a:pt x="4256881" y="407554"/>
                  </a:cubicBezTo>
                  <a:cubicBezTo>
                    <a:pt x="4327591" y="373906"/>
                    <a:pt x="4413379" y="336836"/>
                    <a:pt x="4413379" y="241803"/>
                  </a:cubicBezTo>
                  <a:close/>
                  <a:moveTo>
                    <a:pt x="4698518" y="882800"/>
                  </a:moveTo>
                  <a:lnTo>
                    <a:pt x="4596539" y="882800"/>
                  </a:lnTo>
                  <a:lnTo>
                    <a:pt x="4510751" y="792398"/>
                  </a:lnTo>
                  <a:cubicBezTo>
                    <a:pt x="4444664" y="866561"/>
                    <a:pt x="4360078" y="899048"/>
                    <a:pt x="4264996" y="899048"/>
                  </a:cubicBezTo>
                  <a:cubicBezTo>
                    <a:pt x="4128239" y="899048"/>
                    <a:pt x="3999573" y="829475"/>
                    <a:pt x="3999573" y="673002"/>
                  </a:cubicBezTo>
                  <a:cubicBezTo>
                    <a:pt x="3999573" y="548982"/>
                    <a:pt x="4083014" y="479418"/>
                    <a:pt x="4190833" y="437710"/>
                  </a:cubicBezTo>
                  <a:cubicBezTo>
                    <a:pt x="4140977" y="380892"/>
                    <a:pt x="4085353" y="319467"/>
                    <a:pt x="4085353" y="238334"/>
                  </a:cubicBezTo>
                  <a:cubicBezTo>
                    <a:pt x="4085353" y="122415"/>
                    <a:pt x="4196626" y="62144"/>
                    <a:pt x="4303268" y="62144"/>
                  </a:cubicBezTo>
                  <a:cubicBezTo>
                    <a:pt x="4399455" y="62144"/>
                    <a:pt x="4493334" y="115469"/>
                    <a:pt x="4493334" y="229065"/>
                  </a:cubicBezTo>
                  <a:cubicBezTo>
                    <a:pt x="4493334" y="355399"/>
                    <a:pt x="4395978" y="400608"/>
                    <a:pt x="4298597" y="449286"/>
                  </a:cubicBezTo>
                  <a:lnTo>
                    <a:pt x="4511897" y="686902"/>
                  </a:lnTo>
                  <a:cubicBezTo>
                    <a:pt x="4562874" y="613900"/>
                    <a:pt x="4581437" y="528120"/>
                    <a:pt x="4581437" y="441163"/>
                  </a:cubicBezTo>
                  <a:lnTo>
                    <a:pt x="4650986" y="441163"/>
                  </a:lnTo>
                  <a:cubicBezTo>
                    <a:pt x="4650986" y="545489"/>
                    <a:pt x="4620846" y="652139"/>
                    <a:pt x="4560575" y="733249"/>
                  </a:cubicBezTo>
                  <a:lnTo>
                    <a:pt x="4698510" y="882800"/>
                  </a:lnTo>
                  <a:close/>
                  <a:moveTo>
                    <a:pt x="3535960" y="836446"/>
                  </a:moveTo>
                  <a:cubicBezTo>
                    <a:pt x="3563776" y="836446"/>
                    <a:pt x="3582339" y="830653"/>
                    <a:pt x="3603201" y="822529"/>
                  </a:cubicBezTo>
                  <a:lnTo>
                    <a:pt x="3607824" y="882800"/>
                  </a:lnTo>
                  <a:cubicBezTo>
                    <a:pt x="3590455" y="889754"/>
                    <a:pt x="3554523" y="899048"/>
                    <a:pt x="3518591" y="899048"/>
                  </a:cubicBezTo>
                  <a:cubicBezTo>
                    <a:pt x="3388804" y="899048"/>
                    <a:pt x="3384109" y="809767"/>
                    <a:pt x="3384109" y="701963"/>
                  </a:cubicBezTo>
                  <a:lnTo>
                    <a:pt x="3384109" y="356577"/>
                  </a:lnTo>
                  <a:lnTo>
                    <a:pt x="3268213" y="356577"/>
                  </a:lnTo>
                  <a:lnTo>
                    <a:pt x="3268213" y="293982"/>
                  </a:lnTo>
                  <a:lnTo>
                    <a:pt x="3384109" y="293982"/>
                  </a:lnTo>
                  <a:lnTo>
                    <a:pt x="3384109" y="151376"/>
                  </a:lnTo>
                  <a:lnTo>
                    <a:pt x="3457150" y="125884"/>
                  </a:lnTo>
                  <a:lnTo>
                    <a:pt x="3457150" y="293958"/>
                  </a:lnTo>
                  <a:lnTo>
                    <a:pt x="3591584" y="293958"/>
                  </a:lnTo>
                  <a:lnTo>
                    <a:pt x="3591584" y="356553"/>
                  </a:lnTo>
                  <a:lnTo>
                    <a:pt x="3457150" y="356553"/>
                  </a:lnTo>
                  <a:lnTo>
                    <a:pt x="3457150" y="739049"/>
                  </a:lnTo>
                  <a:cubicBezTo>
                    <a:pt x="3457150" y="792374"/>
                    <a:pt x="3476859" y="836421"/>
                    <a:pt x="3535960" y="836421"/>
                  </a:cubicBezTo>
                  <a:close/>
                  <a:moveTo>
                    <a:pt x="3176673" y="356553"/>
                  </a:moveTo>
                  <a:cubicBezTo>
                    <a:pt x="3060778" y="356553"/>
                    <a:pt x="3029469" y="486340"/>
                    <a:pt x="3029469" y="593014"/>
                  </a:cubicBezTo>
                  <a:lnTo>
                    <a:pt x="3029469" y="885100"/>
                  </a:lnTo>
                  <a:lnTo>
                    <a:pt x="2956451" y="885100"/>
                  </a:lnTo>
                  <a:lnTo>
                    <a:pt x="2956451" y="426117"/>
                  </a:lnTo>
                  <a:cubicBezTo>
                    <a:pt x="2956451" y="361223"/>
                    <a:pt x="2956451" y="336836"/>
                    <a:pt x="2951789" y="293982"/>
                  </a:cubicBezTo>
                  <a:lnTo>
                    <a:pt x="3024822" y="293982"/>
                  </a:lnTo>
                  <a:lnTo>
                    <a:pt x="3024822" y="407554"/>
                  </a:lnTo>
                  <a:lnTo>
                    <a:pt x="3027169" y="407554"/>
                  </a:lnTo>
                  <a:cubicBezTo>
                    <a:pt x="3053808" y="341507"/>
                    <a:pt x="3103656" y="280066"/>
                    <a:pt x="3178997" y="280066"/>
                  </a:cubicBezTo>
                  <a:cubicBezTo>
                    <a:pt x="3196366" y="280066"/>
                    <a:pt x="3217236" y="283535"/>
                    <a:pt x="3229974" y="287036"/>
                  </a:cubicBezTo>
                  <a:lnTo>
                    <a:pt x="3229974" y="363523"/>
                  </a:lnTo>
                  <a:cubicBezTo>
                    <a:pt x="3214929" y="358876"/>
                    <a:pt x="3195220" y="356577"/>
                    <a:pt x="3176673" y="356577"/>
                  </a:cubicBezTo>
                  <a:close/>
                  <a:moveTo>
                    <a:pt x="2483569" y="152546"/>
                  </a:moveTo>
                  <a:lnTo>
                    <a:pt x="2307402" y="598790"/>
                  </a:lnTo>
                  <a:lnTo>
                    <a:pt x="2658589" y="598790"/>
                  </a:lnTo>
                  <a:lnTo>
                    <a:pt x="2483569" y="152546"/>
                  </a:lnTo>
                  <a:close/>
                  <a:moveTo>
                    <a:pt x="2772185" y="885100"/>
                  </a:moveTo>
                  <a:lnTo>
                    <a:pt x="2685252" y="668355"/>
                  </a:lnTo>
                  <a:lnTo>
                    <a:pt x="2277247" y="668355"/>
                  </a:lnTo>
                  <a:lnTo>
                    <a:pt x="2190297" y="885100"/>
                  </a:lnTo>
                  <a:lnTo>
                    <a:pt x="2112665" y="885100"/>
                  </a:lnTo>
                  <a:lnTo>
                    <a:pt x="2444168" y="76036"/>
                  </a:lnTo>
                  <a:lnTo>
                    <a:pt x="2534570" y="76036"/>
                  </a:lnTo>
                  <a:lnTo>
                    <a:pt x="2855650" y="885100"/>
                  </a:lnTo>
                  <a:close/>
                  <a:moveTo>
                    <a:pt x="1508762" y="342637"/>
                  </a:moveTo>
                  <a:cubicBezTo>
                    <a:pt x="1400950" y="342637"/>
                    <a:pt x="1334911" y="450408"/>
                    <a:pt x="1334911" y="547789"/>
                  </a:cubicBezTo>
                  <a:lnTo>
                    <a:pt x="1659451" y="547789"/>
                  </a:lnTo>
                  <a:cubicBezTo>
                    <a:pt x="1659451" y="444632"/>
                    <a:pt x="1617727" y="342637"/>
                    <a:pt x="1508778" y="342637"/>
                  </a:cubicBezTo>
                  <a:close/>
                  <a:moveTo>
                    <a:pt x="1334911" y="610383"/>
                  </a:moveTo>
                  <a:cubicBezTo>
                    <a:pt x="1334911" y="735572"/>
                    <a:pt x="1402128" y="836421"/>
                    <a:pt x="1529640" y="836421"/>
                  </a:cubicBezTo>
                  <a:cubicBezTo>
                    <a:pt x="1582948" y="836421"/>
                    <a:pt x="1660613" y="814390"/>
                    <a:pt x="1695391" y="792358"/>
                  </a:cubicBezTo>
                  <a:lnTo>
                    <a:pt x="1695391" y="866521"/>
                  </a:lnTo>
                  <a:cubicBezTo>
                    <a:pt x="1644381" y="887391"/>
                    <a:pt x="1578318" y="899008"/>
                    <a:pt x="1523847" y="899008"/>
                  </a:cubicBezTo>
                  <a:cubicBezTo>
                    <a:pt x="1327956" y="899008"/>
                    <a:pt x="1254915" y="766865"/>
                    <a:pt x="1254915" y="589505"/>
                  </a:cubicBezTo>
                  <a:cubicBezTo>
                    <a:pt x="1254915" y="408684"/>
                    <a:pt x="1354611" y="280026"/>
                    <a:pt x="1504147" y="280026"/>
                  </a:cubicBezTo>
                  <a:cubicBezTo>
                    <a:pt x="1671060" y="280026"/>
                    <a:pt x="1739447" y="414460"/>
                    <a:pt x="1739447" y="573249"/>
                  </a:cubicBezTo>
                  <a:lnTo>
                    <a:pt x="1739447" y="610359"/>
                  </a:lnTo>
                  <a:close/>
                  <a:moveTo>
                    <a:pt x="1048633" y="885100"/>
                  </a:moveTo>
                  <a:lnTo>
                    <a:pt x="1048633" y="532743"/>
                  </a:lnTo>
                  <a:cubicBezTo>
                    <a:pt x="1048633" y="430740"/>
                    <a:pt x="1028933" y="342661"/>
                    <a:pt x="908375" y="342661"/>
                  </a:cubicBezTo>
                  <a:cubicBezTo>
                    <a:pt x="778587" y="342661"/>
                    <a:pt x="733346" y="465526"/>
                    <a:pt x="733346" y="568675"/>
                  </a:cubicBezTo>
                  <a:lnTo>
                    <a:pt x="733346" y="885132"/>
                  </a:lnTo>
                  <a:lnTo>
                    <a:pt x="660393" y="885132"/>
                  </a:lnTo>
                  <a:lnTo>
                    <a:pt x="660393" y="15789"/>
                  </a:lnTo>
                  <a:lnTo>
                    <a:pt x="733402" y="15789"/>
                  </a:lnTo>
                  <a:lnTo>
                    <a:pt x="733402" y="393638"/>
                  </a:lnTo>
                  <a:lnTo>
                    <a:pt x="735734" y="393638"/>
                  </a:lnTo>
                  <a:cubicBezTo>
                    <a:pt x="767043" y="328745"/>
                    <a:pt x="833098" y="280066"/>
                    <a:pt x="920039" y="280066"/>
                  </a:cubicBezTo>
                  <a:cubicBezTo>
                    <a:pt x="1078837" y="280066"/>
                    <a:pt x="1121731" y="385539"/>
                    <a:pt x="1121731" y="531573"/>
                  </a:cubicBezTo>
                  <a:lnTo>
                    <a:pt x="1121731" y="885124"/>
                  </a:lnTo>
                  <a:close/>
                  <a:moveTo>
                    <a:pt x="325373" y="145576"/>
                  </a:moveTo>
                  <a:lnTo>
                    <a:pt x="325373" y="885100"/>
                  </a:lnTo>
                  <a:lnTo>
                    <a:pt x="245410" y="885100"/>
                  </a:lnTo>
                  <a:lnTo>
                    <a:pt x="245410" y="145600"/>
                  </a:lnTo>
                  <a:lnTo>
                    <a:pt x="6649" y="145600"/>
                  </a:lnTo>
                  <a:lnTo>
                    <a:pt x="6649" y="76060"/>
                  </a:lnTo>
                  <a:lnTo>
                    <a:pt x="564190" y="76060"/>
                  </a:lnTo>
                  <a:lnTo>
                    <a:pt x="564190" y="145600"/>
                  </a:lnTo>
                  <a:close/>
                </a:path>
              </a:pathLst>
            </a:custGeom>
            <a:grpFill/>
            <a:ln w="801" cap="flat">
              <a:noFill/>
              <a:prstDash val="solid"/>
              <a:miter/>
            </a:ln>
          </p:spPr>
          <p:txBody>
            <a:bodyPr rtlCol="0" anchor="ctr"/>
            <a:lstStyle/>
            <a:p>
              <a:endParaRPr lang="fr-BE"/>
            </a:p>
          </p:txBody>
        </p:sp>
        <p:sp>
          <p:nvSpPr>
            <p:cNvPr id="7" name="Forme libre : forme 24">
              <a:extLst>
                <a:ext uri="{FF2B5EF4-FFF2-40B4-BE49-F238E27FC236}">
                  <a16:creationId xmlns:a16="http://schemas.microsoft.com/office/drawing/2014/main" id="{97546D95-3040-429A-8252-7B1A28ACC9A3}"/>
                </a:ext>
              </a:extLst>
            </p:cNvPr>
            <p:cNvSpPr/>
            <p:nvPr/>
          </p:nvSpPr>
          <p:spPr>
            <a:xfrm>
              <a:off x="-786557" y="8253511"/>
              <a:ext cx="12106540" cy="2183968"/>
            </a:xfrm>
            <a:custGeom>
              <a:avLst/>
              <a:gdLst>
                <a:gd name="connsiteX0" fmla="*/ 1817527 w 12106540"/>
                <a:gd name="connsiteY0" fmla="*/ 17639 h 2183968"/>
                <a:gd name="connsiteX1" fmla="*/ 2709919 w 12106540"/>
                <a:gd name="connsiteY1" fmla="*/ 219996 h 2183968"/>
                <a:gd name="connsiteX2" fmla="*/ 2399495 w 12106540"/>
                <a:gd name="connsiteY2" fmla="*/ 553709 h 2183968"/>
                <a:gd name="connsiteX3" fmla="*/ 1554275 w 12106540"/>
                <a:gd name="connsiteY3" fmla="*/ 421102 h 2183968"/>
                <a:gd name="connsiteX4" fmla="*/ 1093835 w 12106540"/>
                <a:gd name="connsiteY4" fmla="*/ 615663 h 2183968"/>
                <a:gd name="connsiteX5" fmla="*/ 2590034 w 12106540"/>
                <a:gd name="connsiteY5" fmla="*/ 1477163 h 2183968"/>
                <a:gd name="connsiteX6" fmla="*/ 1357920 w 12106540"/>
                <a:gd name="connsiteY6" fmla="*/ 2178888 h 2183968"/>
                <a:gd name="connsiteX7" fmla="*/ 6649 w 12106540"/>
                <a:gd name="connsiteY7" fmla="*/ 1870266 h 2183968"/>
                <a:gd name="connsiteX8" fmla="*/ 177127 w 12106540"/>
                <a:gd name="connsiteY8" fmla="*/ 1601366 h 2183968"/>
                <a:gd name="connsiteX9" fmla="*/ 315383 w 12106540"/>
                <a:gd name="connsiteY9" fmla="*/ 1540622 h 2183968"/>
                <a:gd name="connsiteX10" fmla="*/ 1266003 w 12106540"/>
                <a:gd name="connsiteY10" fmla="*/ 1757896 h 2183968"/>
                <a:gd name="connsiteX11" fmla="*/ 1878047 w 12106540"/>
                <a:gd name="connsiteY11" fmla="*/ 1547704 h 2183968"/>
                <a:gd name="connsiteX12" fmla="*/ 435781 w 12106540"/>
                <a:gd name="connsiteY12" fmla="*/ 659750 h 2183968"/>
                <a:gd name="connsiteX13" fmla="*/ 1817559 w 12106540"/>
                <a:gd name="connsiteY13" fmla="*/ 17639 h 2183968"/>
                <a:gd name="connsiteX14" fmla="*/ 5541880 w 12106540"/>
                <a:gd name="connsiteY14" fmla="*/ 339584 h 2183968"/>
                <a:gd name="connsiteX15" fmla="*/ 5124069 w 12106540"/>
                <a:gd name="connsiteY15" fmla="*/ 641084 h 2183968"/>
                <a:gd name="connsiteX16" fmla="*/ 4293630 w 12106540"/>
                <a:gd name="connsiteY16" fmla="*/ 471959 h 2183968"/>
                <a:gd name="connsiteX17" fmla="*/ 3500028 w 12106540"/>
                <a:gd name="connsiteY17" fmla="*/ 1112949 h 2183968"/>
                <a:gd name="connsiteX18" fmla="*/ 4294295 w 12106540"/>
                <a:gd name="connsiteY18" fmla="*/ 1709266 h 2183968"/>
                <a:gd name="connsiteX19" fmla="*/ 6285970 w 12106540"/>
                <a:gd name="connsiteY19" fmla="*/ 463467 h 2183968"/>
                <a:gd name="connsiteX20" fmla="*/ 7656116 w 12106540"/>
                <a:gd name="connsiteY20" fmla="*/ 1889 h 2183968"/>
                <a:gd name="connsiteX21" fmla="*/ 9088663 w 12106540"/>
                <a:gd name="connsiteY21" fmla="*/ 1112925 h 2183968"/>
                <a:gd name="connsiteX22" fmla="*/ 7660522 w 12106540"/>
                <a:gd name="connsiteY22" fmla="*/ 2185858 h 2183968"/>
                <a:gd name="connsiteX23" fmla="*/ 6096064 w 12106540"/>
                <a:gd name="connsiteY23" fmla="*/ 1561236 h 2183968"/>
                <a:gd name="connsiteX24" fmla="*/ 6461199 w 12106540"/>
                <a:gd name="connsiteY24" fmla="*/ 1232329 h 2183968"/>
                <a:gd name="connsiteX25" fmla="*/ 7621963 w 12106540"/>
                <a:gd name="connsiteY25" fmla="*/ 1709266 h 2183968"/>
                <a:gd name="connsiteX26" fmla="*/ 8449349 w 12106540"/>
                <a:gd name="connsiteY26" fmla="*/ 1112949 h 2183968"/>
                <a:gd name="connsiteX27" fmla="*/ 7656436 w 12106540"/>
                <a:gd name="connsiteY27" fmla="*/ 471959 h 2183968"/>
                <a:gd name="connsiteX28" fmla="*/ 4297451 w 12106540"/>
                <a:gd name="connsiteY28" fmla="*/ 2178872 h 2183968"/>
                <a:gd name="connsiteX29" fmla="*/ 2858141 w 12106540"/>
                <a:gd name="connsiteY29" fmla="*/ 1209152 h 2183968"/>
                <a:gd name="connsiteX30" fmla="*/ 2858141 w 12106540"/>
                <a:gd name="connsiteY30" fmla="*/ 1027145 h 2183968"/>
                <a:gd name="connsiteX31" fmla="*/ 4317048 w 12106540"/>
                <a:gd name="connsiteY31" fmla="*/ 1913 h 2183968"/>
                <a:gd name="connsiteX32" fmla="*/ 5541912 w 12106540"/>
                <a:gd name="connsiteY32" fmla="*/ 339584 h 2183968"/>
                <a:gd name="connsiteX33" fmla="*/ 11334842 w 12106540"/>
                <a:gd name="connsiteY33" fmla="*/ 2127766 h 2183968"/>
                <a:gd name="connsiteX34" fmla="*/ 11045520 w 12106540"/>
                <a:gd name="connsiteY34" fmla="*/ 1920675 h 2183968"/>
                <a:gd name="connsiteX35" fmla="*/ 10375930 w 12106540"/>
                <a:gd name="connsiteY35" fmla="*/ 1108086 h 2183968"/>
                <a:gd name="connsiteX36" fmla="*/ 11480516 w 12106540"/>
                <a:gd name="connsiteY36" fmla="*/ 670702 h 2183968"/>
                <a:gd name="connsiteX37" fmla="*/ 10929641 w 12106540"/>
                <a:gd name="connsiteY37" fmla="*/ 419059 h 2183968"/>
                <a:gd name="connsiteX38" fmla="*/ 10098626 w 12106540"/>
                <a:gd name="connsiteY38" fmla="*/ 1123011 h 2183968"/>
                <a:gd name="connsiteX39" fmla="*/ 9779148 w 12106540"/>
                <a:gd name="connsiteY39" fmla="*/ 2142018 h 2183968"/>
                <a:gd name="connsiteX40" fmla="*/ 9150385 w 12106540"/>
                <a:gd name="connsiteY40" fmla="*/ 2142018 h 2183968"/>
                <a:gd name="connsiteX41" fmla="*/ 9474348 w 12106540"/>
                <a:gd name="connsiteY41" fmla="*/ 1112380 h 2183968"/>
                <a:gd name="connsiteX42" fmla="*/ 10977422 w 12106540"/>
                <a:gd name="connsiteY42" fmla="*/ 1913 h 2183968"/>
                <a:gd name="connsiteX43" fmla="*/ 12113190 w 12106540"/>
                <a:gd name="connsiteY43" fmla="*/ 602988 h 2183968"/>
                <a:gd name="connsiteX44" fmla="*/ 11137950 w 12106540"/>
                <a:gd name="connsiteY44" fmla="*/ 1304105 h 2183968"/>
                <a:gd name="connsiteX45" fmla="*/ 11974357 w 12106540"/>
                <a:gd name="connsiteY45" fmla="*/ 2142018 h 2183968"/>
                <a:gd name="connsiteX46" fmla="*/ 11447725 w 12106540"/>
                <a:gd name="connsiteY46" fmla="*/ 2142018 h 2183968"/>
                <a:gd name="connsiteX47" fmla="*/ 11334842 w 12106540"/>
                <a:gd name="connsiteY47" fmla="*/ 2127774 h 218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106540" h="2183968">
                  <a:moveTo>
                    <a:pt x="1817527" y="17639"/>
                  </a:moveTo>
                  <a:cubicBezTo>
                    <a:pt x="2181084" y="56095"/>
                    <a:pt x="2662459" y="205110"/>
                    <a:pt x="2709919" y="219996"/>
                  </a:cubicBezTo>
                  <a:cubicBezTo>
                    <a:pt x="2630797" y="359493"/>
                    <a:pt x="2565463" y="553709"/>
                    <a:pt x="2399495" y="553709"/>
                  </a:cubicBezTo>
                  <a:cubicBezTo>
                    <a:pt x="2276846" y="553709"/>
                    <a:pt x="1935209" y="421102"/>
                    <a:pt x="1554275" y="421102"/>
                  </a:cubicBezTo>
                  <a:cubicBezTo>
                    <a:pt x="1397593" y="421102"/>
                    <a:pt x="1093835" y="445185"/>
                    <a:pt x="1093835" y="615663"/>
                  </a:cubicBezTo>
                  <a:cubicBezTo>
                    <a:pt x="1093153" y="909687"/>
                    <a:pt x="2652981" y="818476"/>
                    <a:pt x="2590034" y="1477163"/>
                  </a:cubicBezTo>
                  <a:cubicBezTo>
                    <a:pt x="2552701" y="1872982"/>
                    <a:pt x="2043541" y="2178888"/>
                    <a:pt x="1357920" y="2178888"/>
                  </a:cubicBezTo>
                  <a:cubicBezTo>
                    <a:pt x="782273" y="2178888"/>
                    <a:pt x="216808" y="1980601"/>
                    <a:pt x="6649" y="1870266"/>
                  </a:cubicBezTo>
                  <a:cubicBezTo>
                    <a:pt x="66680" y="1775153"/>
                    <a:pt x="88832" y="1742081"/>
                    <a:pt x="177127" y="1601366"/>
                  </a:cubicBezTo>
                  <a:cubicBezTo>
                    <a:pt x="203237" y="1558905"/>
                    <a:pt x="252748" y="1534069"/>
                    <a:pt x="315383" y="1540622"/>
                  </a:cubicBezTo>
                  <a:cubicBezTo>
                    <a:pt x="402549" y="1549435"/>
                    <a:pt x="885373" y="1747497"/>
                    <a:pt x="1266003" y="1757896"/>
                  </a:cubicBezTo>
                  <a:cubicBezTo>
                    <a:pt x="1501703" y="1764601"/>
                    <a:pt x="1853403" y="1759178"/>
                    <a:pt x="1878047" y="1547704"/>
                  </a:cubicBezTo>
                  <a:cubicBezTo>
                    <a:pt x="1915805" y="1221377"/>
                    <a:pt x="435781" y="1302430"/>
                    <a:pt x="435781" y="659750"/>
                  </a:cubicBezTo>
                  <a:cubicBezTo>
                    <a:pt x="435781" y="328296"/>
                    <a:pt x="862533" y="-83651"/>
                    <a:pt x="1817559" y="17639"/>
                  </a:cubicBezTo>
                  <a:close/>
                  <a:moveTo>
                    <a:pt x="5541880" y="339584"/>
                  </a:moveTo>
                  <a:cubicBezTo>
                    <a:pt x="5376842" y="528144"/>
                    <a:pt x="5312413" y="641084"/>
                    <a:pt x="5124069" y="641084"/>
                  </a:cubicBezTo>
                  <a:cubicBezTo>
                    <a:pt x="4930870" y="641084"/>
                    <a:pt x="4776775" y="471959"/>
                    <a:pt x="4293630" y="471959"/>
                  </a:cubicBezTo>
                  <a:cubicBezTo>
                    <a:pt x="3804003" y="471959"/>
                    <a:pt x="3500028" y="757972"/>
                    <a:pt x="3500028" y="1112949"/>
                  </a:cubicBezTo>
                  <a:cubicBezTo>
                    <a:pt x="3500028" y="1600525"/>
                    <a:pt x="4056904" y="1709266"/>
                    <a:pt x="4294295" y="1709266"/>
                  </a:cubicBezTo>
                  <a:cubicBezTo>
                    <a:pt x="5033762" y="1709266"/>
                    <a:pt x="5737923" y="837335"/>
                    <a:pt x="6285970" y="463467"/>
                  </a:cubicBezTo>
                  <a:cubicBezTo>
                    <a:pt x="6654975" y="201753"/>
                    <a:pt x="7039105" y="1889"/>
                    <a:pt x="7656116" y="1889"/>
                  </a:cubicBezTo>
                  <a:cubicBezTo>
                    <a:pt x="8550110" y="1889"/>
                    <a:pt x="9088663" y="511841"/>
                    <a:pt x="9088663" y="1112925"/>
                  </a:cubicBezTo>
                  <a:cubicBezTo>
                    <a:pt x="9088663" y="1697336"/>
                    <a:pt x="8519922" y="2185858"/>
                    <a:pt x="7660522" y="2185858"/>
                  </a:cubicBezTo>
                  <a:cubicBezTo>
                    <a:pt x="6960760" y="2185858"/>
                    <a:pt x="6536043" y="1989158"/>
                    <a:pt x="6096064" y="1561236"/>
                  </a:cubicBezTo>
                  <a:lnTo>
                    <a:pt x="6461199" y="1232329"/>
                  </a:lnTo>
                  <a:cubicBezTo>
                    <a:pt x="6648669" y="1436151"/>
                    <a:pt x="7079091" y="1709266"/>
                    <a:pt x="7621963" y="1709266"/>
                  </a:cubicBezTo>
                  <a:cubicBezTo>
                    <a:pt x="8032667" y="1709266"/>
                    <a:pt x="8449349" y="1472997"/>
                    <a:pt x="8449349" y="1112949"/>
                  </a:cubicBezTo>
                  <a:cubicBezTo>
                    <a:pt x="8449349" y="746019"/>
                    <a:pt x="8141865" y="471959"/>
                    <a:pt x="7656436" y="471959"/>
                  </a:cubicBezTo>
                  <a:cubicBezTo>
                    <a:pt x="6427054" y="471959"/>
                    <a:pt x="5839413" y="2178872"/>
                    <a:pt x="4297451" y="2178872"/>
                  </a:cubicBezTo>
                  <a:cubicBezTo>
                    <a:pt x="3724865" y="2178872"/>
                    <a:pt x="2942239" y="1957520"/>
                    <a:pt x="2858141" y="1209152"/>
                  </a:cubicBezTo>
                  <a:cubicBezTo>
                    <a:pt x="2858141" y="1200443"/>
                    <a:pt x="2857228" y="1046132"/>
                    <a:pt x="2858141" y="1027145"/>
                  </a:cubicBezTo>
                  <a:cubicBezTo>
                    <a:pt x="2903231" y="432174"/>
                    <a:pt x="3572148" y="1913"/>
                    <a:pt x="4317048" y="1913"/>
                  </a:cubicBezTo>
                  <a:cubicBezTo>
                    <a:pt x="4766985" y="1913"/>
                    <a:pt x="5233987" y="181772"/>
                    <a:pt x="5541912" y="339584"/>
                  </a:cubicBezTo>
                  <a:close/>
                  <a:moveTo>
                    <a:pt x="11334842" y="2127766"/>
                  </a:moveTo>
                  <a:cubicBezTo>
                    <a:pt x="11226157" y="2098836"/>
                    <a:pt x="11134137" y="2026940"/>
                    <a:pt x="11045520" y="1920675"/>
                  </a:cubicBezTo>
                  <a:cubicBezTo>
                    <a:pt x="10795912" y="1620185"/>
                    <a:pt x="10464217" y="1219102"/>
                    <a:pt x="10375930" y="1108086"/>
                  </a:cubicBezTo>
                  <a:cubicBezTo>
                    <a:pt x="10657937" y="1064335"/>
                    <a:pt x="11480516" y="1037880"/>
                    <a:pt x="11480516" y="670702"/>
                  </a:cubicBezTo>
                  <a:cubicBezTo>
                    <a:pt x="11480516" y="462017"/>
                    <a:pt x="11163915" y="419059"/>
                    <a:pt x="10929641" y="419059"/>
                  </a:cubicBezTo>
                  <a:cubicBezTo>
                    <a:pt x="10276450" y="419059"/>
                    <a:pt x="10188259" y="864238"/>
                    <a:pt x="10098626" y="1123011"/>
                  </a:cubicBezTo>
                  <a:cubicBezTo>
                    <a:pt x="10098626" y="1123011"/>
                    <a:pt x="9826408" y="1990760"/>
                    <a:pt x="9779148" y="2142018"/>
                  </a:cubicBezTo>
                  <a:lnTo>
                    <a:pt x="9150385" y="2142018"/>
                  </a:lnTo>
                  <a:lnTo>
                    <a:pt x="9474348" y="1112380"/>
                  </a:lnTo>
                  <a:cubicBezTo>
                    <a:pt x="9670143" y="436132"/>
                    <a:pt x="10036087" y="1913"/>
                    <a:pt x="10977422" y="1913"/>
                  </a:cubicBezTo>
                  <a:cubicBezTo>
                    <a:pt x="11551114" y="1913"/>
                    <a:pt x="12113190" y="181772"/>
                    <a:pt x="12113190" y="602988"/>
                  </a:cubicBezTo>
                  <a:cubicBezTo>
                    <a:pt x="12113190" y="1094514"/>
                    <a:pt x="11492462" y="1260017"/>
                    <a:pt x="11137950" y="1304105"/>
                  </a:cubicBezTo>
                  <a:lnTo>
                    <a:pt x="11974357" y="2142018"/>
                  </a:lnTo>
                  <a:lnTo>
                    <a:pt x="11447725" y="2142018"/>
                  </a:lnTo>
                  <a:cubicBezTo>
                    <a:pt x="11407947" y="2142018"/>
                    <a:pt x="11370421" y="2137268"/>
                    <a:pt x="11334842" y="2127774"/>
                  </a:cubicBezTo>
                </a:path>
              </a:pathLst>
            </a:custGeom>
            <a:grpFill/>
            <a:ln w="801" cap="flat">
              <a:noFill/>
              <a:prstDash val="solid"/>
              <a:miter/>
            </a:ln>
          </p:spPr>
          <p:txBody>
            <a:bodyPr rtlCol="0" anchor="ctr"/>
            <a:lstStyle/>
            <a:p>
              <a:endParaRPr lang="fr-BE"/>
            </a:p>
          </p:txBody>
        </p:sp>
      </p:grpSp>
      <p:grpSp>
        <p:nvGrpSpPr>
          <p:cNvPr id="11" name="Groupe 10">
            <a:extLst>
              <a:ext uri="{FF2B5EF4-FFF2-40B4-BE49-F238E27FC236}">
                <a16:creationId xmlns:a16="http://schemas.microsoft.com/office/drawing/2014/main" id="{D4DC4F57-2204-454A-AE5F-87BA7DD6FD0A}"/>
              </a:ext>
            </a:extLst>
          </p:cNvPr>
          <p:cNvGrpSpPr/>
          <p:nvPr userDrawn="1"/>
        </p:nvGrpSpPr>
        <p:grpSpPr>
          <a:xfrm>
            <a:off x="12360696" y="-13072"/>
            <a:ext cx="1885826" cy="1528108"/>
            <a:chOff x="4867566" y="1651754"/>
            <a:chExt cx="1885826" cy="1528108"/>
          </a:xfrm>
        </p:grpSpPr>
        <p:sp>
          <p:nvSpPr>
            <p:cNvPr id="12" name="Freeform 5">
              <a:extLst>
                <a:ext uri="{FF2B5EF4-FFF2-40B4-BE49-F238E27FC236}">
                  <a16:creationId xmlns:a16="http://schemas.microsoft.com/office/drawing/2014/main" id="{7C68AAA6-C9AD-43BB-985E-99CCA2126E2D}"/>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3" name="Rectangle 12">
              <a:extLst>
                <a:ext uri="{FF2B5EF4-FFF2-40B4-BE49-F238E27FC236}">
                  <a16:creationId xmlns:a16="http://schemas.microsoft.com/office/drawing/2014/main" id="{B09890B2-7F10-4540-AD96-03AAEBD27349}"/>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a:solidFill>
                    <a:schemeClr val="accent1"/>
                  </a:solidFill>
                  <a:latin typeface="+mj-lt"/>
                </a:rPr>
                <a:t>To change the </a:t>
              </a:r>
              <a:r>
                <a:rPr lang="fr-FR" sz="1000" b="1" err="1">
                  <a:solidFill>
                    <a:schemeClr val="accent1"/>
                  </a:solidFill>
                  <a:latin typeface="+mj-lt"/>
                </a:rPr>
                <a:t>visual</a:t>
              </a:r>
              <a:r>
                <a:rPr lang="fr-FR" sz="1000" b="1">
                  <a:solidFill>
                    <a:schemeClr val="accent1"/>
                  </a:solidFill>
                  <a:latin typeface="+mj-lt"/>
                </a:rPr>
                <a:t>:</a:t>
              </a:r>
            </a:p>
            <a:p>
              <a:pPr marL="171450" lvl="0" indent="-171450">
                <a:buFont typeface="Arial" panose="020B0604020202020204" pitchFamily="34" charset="0"/>
                <a:buChar char="•"/>
              </a:pPr>
              <a:r>
                <a:rPr lang="en-US" sz="1000">
                  <a:solidFill>
                    <a:schemeClr val="tx1"/>
                  </a:solidFill>
                </a:rPr>
                <a:t>Right click on the slide</a:t>
              </a:r>
            </a:p>
            <a:p>
              <a:pPr marL="171450" lvl="0" indent="-171450">
                <a:buFont typeface="Arial" panose="020B0604020202020204" pitchFamily="34" charset="0"/>
                <a:buChar char="•"/>
              </a:pPr>
              <a:r>
                <a:rPr lang="en-US" sz="1000">
                  <a:solidFill>
                    <a:schemeClr val="tx1"/>
                  </a:solidFill>
                </a:rPr>
                <a:t>Click on “Format Background”</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 (1920x1080px)</a:t>
              </a:r>
            </a:p>
          </p:txBody>
        </p:sp>
      </p:grpSp>
    </p:spTree>
    <p:extLst>
      <p:ext uri="{BB962C8B-B14F-4D97-AF65-F5344CB8AC3E}">
        <p14:creationId xmlns:p14="http://schemas.microsoft.com/office/powerpoint/2010/main" val="293246490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Content_3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821703"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501125" y="1562101"/>
            <a:ext cx="3310790" cy="4554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85531269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4 col content, with bullets">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2281"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35" name="Text Placeholder 11">
            <a:extLst>
              <a:ext uri="{FF2B5EF4-FFF2-40B4-BE49-F238E27FC236}">
                <a16:creationId xmlns:a16="http://schemas.microsoft.com/office/drawing/2014/main" id="{3E0C490C-6E46-DA4D-9C35-2B312B0DAD82}"/>
              </a:ext>
            </a:extLst>
          </p:cNvPr>
          <p:cNvSpPr>
            <a:spLocks noGrp="1"/>
          </p:cNvSpPr>
          <p:nvPr>
            <p:ph type="body" sz="quarter" idx="15" hasCustomPrompt="1"/>
          </p:nvPr>
        </p:nvSpPr>
        <p:spPr>
          <a:xfrm>
            <a:off x="1142281" y="1562100"/>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6" name="Text Placeholder 11">
            <a:extLst>
              <a:ext uri="{FF2B5EF4-FFF2-40B4-BE49-F238E27FC236}">
                <a16:creationId xmlns:a16="http://schemas.microsoft.com/office/drawing/2014/main" id="{323CF613-4B78-124C-8431-E69133B251B2}"/>
              </a:ext>
            </a:extLst>
          </p:cNvPr>
          <p:cNvSpPr>
            <a:spLocks noGrp="1"/>
          </p:cNvSpPr>
          <p:nvPr>
            <p:ph type="body" sz="quarter" idx="16" hasCustomPrompt="1"/>
          </p:nvPr>
        </p:nvSpPr>
        <p:spPr>
          <a:xfrm>
            <a:off x="3894234"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7" name="Text Placeholder 11">
            <a:extLst>
              <a:ext uri="{FF2B5EF4-FFF2-40B4-BE49-F238E27FC236}">
                <a16:creationId xmlns:a16="http://schemas.microsoft.com/office/drawing/2014/main" id="{E44EDEBE-67F4-2647-AFFF-D1E705C4BADC}"/>
              </a:ext>
            </a:extLst>
          </p:cNvPr>
          <p:cNvSpPr>
            <a:spLocks noGrp="1"/>
          </p:cNvSpPr>
          <p:nvPr>
            <p:ph type="body" sz="quarter" idx="17" hasCustomPrompt="1"/>
          </p:nvPr>
        </p:nvSpPr>
        <p:spPr>
          <a:xfrm>
            <a:off x="6646187"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marL="553982" indent="-119844">
              <a:lnSpc>
                <a:spcPct val="117000"/>
              </a:lnSpc>
              <a:spcAft>
                <a:spcPts val="1300"/>
              </a:spcAft>
              <a:tabLst/>
              <a:defRPr b="0" i="0">
                <a:solidFill>
                  <a:schemeClr val="tx2"/>
                </a:solidFill>
                <a:latin typeface="Helvetica Now Text" panose="020B0504030202020204" pitchFamily="34" charset="77"/>
              </a:defRPr>
            </a:lvl6pPr>
            <a:lvl7pPr>
              <a:defRPr>
                <a:solidFill>
                  <a:schemeClr val="tx2"/>
                </a:solidFill>
              </a:defRPr>
            </a:lvl7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38" name="Text Placeholder 11">
            <a:extLst>
              <a:ext uri="{FF2B5EF4-FFF2-40B4-BE49-F238E27FC236}">
                <a16:creationId xmlns:a16="http://schemas.microsoft.com/office/drawing/2014/main" id="{F47A09BB-CBFA-0D4E-B2BB-868F53588A20}"/>
              </a:ext>
            </a:extLst>
          </p:cNvPr>
          <p:cNvSpPr>
            <a:spLocks noGrp="1"/>
          </p:cNvSpPr>
          <p:nvPr>
            <p:ph type="body" sz="quarter" idx="18" hasCustomPrompt="1"/>
          </p:nvPr>
        </p:nvSpPr>
        <p:spPr>
          <a:xfrm>
            <a:off x="9398141" y="1570396"/>
            <a:ext cx="2411372" cy="4546412"/>
          </a:xfrm>
        </p:spPr>
        <p:txBody>
          <a:bodyPr/>
          <a:lstStyle>
            <a:lvl1pPr>
              <a:lnSpc>
                <a:spcPct val="100000"/>
              </a:lnSpc>
              <a:spcAft>
                <a:spcPts val="300"/>
              </a:spcAft>
              <a:defRPr>
                <a:solidFill>
                  <a:schemeClr val="tx1"/>
                </a:solidFill>
              </a:defRPr>
            </a:lvl1pPr>
            <a:lvl2pPr>
              <a:lnSpc>
                <a:spcPct val="100000"/>
              </a:lnSpc>
              <a:spcAft>
                <a:spcPts val="300"/>
              </a:spcAft>
              <a:defRPr b="0" i="0">
                <a:solidFill>
                  <a:schemeClr val="tx1"/>
                </a:solidFill>
                <a:latin typeface="Helvetica Now Text" panose="020B0504030202020204" pitchFamily="34" charset="77"/>
              </a:defRPr>
            </a:lvl2pPr>
            <a:lvl3pPr>
              <a:lnSpc>
                <a:spcPct val="100000"/>
              </a:lnSpc>
              <a:spcAft>
                <a:spcPts val="300"/>
              </a:spcAft>
              <a:defRPr b="0" i="0">
                <a:solidFill>
                  <a:schemeClr val="tx1"/>
                </a:solidFill>
                <a:latin typeface="Helvetica Now Text" panose="020B0504030202020204" pitchFamily="34" charset="77"/>
              </a:defRPr>
            </a:lvl3pPr>
            <a:lvl4pPr>
              <a:lnSpc>
                <a:spcPct val="100000"/>
              </a:lnSpc>
              <a:spcAft>
                <a:spcPts val="300"/>
              </a:spcAft>
              <a:defRPr b="0" i="0">
                <a:solidFill>
                  <a:schemeClr val="tx1"/>
                </a:solidFill>
                <a:latin typeface="Helvetica Now Text" panose="020B0504030202020204" pitchFamily="34" charset="77"/>
              </a:defRPr>
            </a:lvl4pPr>
            <a:lvl5pPr>
              <a:lnSpc>
                <a:spcPct val="100000"/>
              </a:lnSpc>
              <a:spcAft>
                <a:spcPts val="300"/>
              </a:spcAft>
              <a:defRPr b="0" i="0">
                <a:solidFill>
                  <a:schemeClr val="tx1"/>
                </a:solidFill>
                <a:latin typeface="Helvetica Now Text" panose="020B0504030202020204" pitchFamily="34" charset="77"/>
              </a:defRPr>
            </a:lvl5pPr>
            <a:lvl6pPr indent="-120588">
              <a:lnSpc>
                <a:spcPct val="117000"/>
              </a:lnSpc>
              <a:spcAft>
                <a:spcPts val="1300"/>
              </a:spcAft>
              <a:defRPr b="0" i="0">
                <a:solidFill>
                  <a:schemeClr val="tx2"/>
                </a:solidFill>
                <a:latin typeface="Helvetica Now Text" panose="020B0504030202020204" pitchFamily="34" charset="77"/>
              </a:defRPr>
            </a:lvl6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3895453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GB"/>
              <a:t>Graphs/infographics/tables – click to add title</a:t>
            </a:r>
          </a:p>
        </p:txBody>
      </p:sp>
    </p:spTree>
    <p:extLst>
      <p:ext uri="{BB962C8B-B14F-4D97-AF65-F5344CB8AC3E}">
        <p14:creationId xmlns:p14="http://schemas.microsoft.com/office/powerpoint/2010/main" val="4255042398"/>
      </p:ext>
    </p:extLst>
  </p:cSld>
  <p:clrMapOvr>
    <a:masterClrMapping/>
  </p:clrMapOvr>
  <p:hf hd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subtitle only">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a:xfrm>
            <a:off x="1142281" y="468193"/>
            <a:ext cx="10678419" cy="400109"/>
          </a:xfrm>
        </p:spPr>
        <p:txBody>
          <a:bodyPr/>
          <a:lstStyle/>
          <a:p>
            <a:r>
              <a:rPr lang="en-GB"/>
              <a:t>Graphs/infographics/tables – click to add title</a:t>
            </a:r>
          </a:p>
        </p:txBody>
      </p:sp>
    </p:spTree>
    <p:extLst>
      <p:ext uri="{BB962C8B-B14F-4D97-AF65-F5344CB8AC3E}">
        <p14:creationId xmlns:p14="http://schemas.microsoft.com/office/powerpoint/2010/main" val="109795306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tats/infographics/table - long title and subtitle">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ECDBD03C-CBFE-EF48-9EDC-2C836516482D}"/>
              </a:ext>
            </a:extLst>
          </p:cNvPr>
          <p:cNvSpPr>
            <a:spLocks noGrp="1"/>
          </p:cNvSpPr>
          <p:nvPr>
            <p:ph type="subTitle" idx="13" hasCustomPrompt="1"/>
          </p:nvPr>
        </p:nvSpPr>
        <p:spPr>
          <a:xfrm>
            <a:off x="1142281" y="1560735"/>
            <a:ext cx="10678419" cy="230833"/>
          </a:xfrm>
        </p:spPr>
        <p:txBody>
          <a:bodyPr wrap="square">
            <a:spAutoFit/>
          </a:bodyPr>
          <a:lstStyle>
            <a:lvl1pPr marL="0" indent="0" algn="l">
              <a:spcAft>
                <a:spcPts val="0"/>
              </a:spcAft>
              <a:buNone/>
              <a:defRPr sz="1500" b="1"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title</a:t>
            </a:r>
          </a:p>
        </p:txBody>
      </p:sp>
      <p:sp>
        <p:nvSpPr>
          <p:cNvPr id="5" name="Title 4">
            <a:extLst>
              <a:ext uri="{FF2B5EF4-FFF2-40B4-BE49-F238E27FC236}">
                <a16:creationId xmlns:a16="http://schemas.microsoft.com/office/drawing/2014/main" id="{8C0D9B07-E9B2-C449-9FDC-719C9006FBB6}"/>
              </a:ext>
            </a:extLst>
          </p:cNvPr>
          <p:cNvSpPr>
            <a:spLocks noGrp="1"/>
          </p:cNvSpPr>
          <p:nvPr>
            <p:ph type="title" hasCustomPrompt="1"/>
          </p:nvPr>
        </p:nvSpPr>
        <p:spPr>
          <a:xfrm>
            <a:off x="1142281" y="468193"/>
            <a:ext cx="10678419" cy="400109"/>
          </a:xfrm>
        </p:spPr>
        <p:txBody>
          <a:bodyPr/>
          <a:lstStyle/>
          <a:p>
            <a:r>
              <a:rPr lang="en-GB"/>
              <a:t>Stats or infographics – click to add title</a:t>
            </a:r>
          </a:p>
        </p:txBody>
      </p:sp>
    </p:spTree>
    <p:extLst>
      <p:ext uri="{BB962C8B-B14F-4D97-AF65-F5344CB8AC3E}">
        <p14:creationId xmlns:p14="http://schemas.microsoft.com/office/powerpoint/2010/main" val="10831250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Content and infographic">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1142280" y="1562101"/>
            <a:ext cx="2347507" cy="4554708"/>
          </a:xfrm>
        </p:spPr>
        <p:txBody>
          <a:bodyPr/>
          <a:lstStyle>
            <a:lvl1pPr>
              <a:lnSpc>
                <a:spcPct val="117000"/>
              </a:lnSpc>
              <a:spcAft>
                <a:spcPts val="400"/>
              </a:spcAft>
              <a:defRPr sz="1000">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3" y="468193"/>
            <a:ext cx="10678419"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36117266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itle, 1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4" y="468193"/>
            <a:ext cx="6850294"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4" y="843284"/>
            <a:ext cx="6850294"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42282" y="1562100"/>
            <a:ext cx="6856636" cy="4554708"/>
          </a:xfrm>
        </p:spPr>
        <p:txBody>
          <a:body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23634204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Title, 2 col content and 1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8380958" y="0"/>
            <a:ext cx="3811042"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4" y="468193"/>
            <a:ext cx="6875910"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4" y="843284"/>
            <a:ext cx="6875910"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pPr lvl="0"/>
            <a:r>
              <a:rPr lang="en-GB"/>
              <a:t>Click to add subhead</a:t>
            </a:r>
          </a:p>
        </p:txBody>
      </p:sp>
      <p:sp>
        <p:nvSpPr>
          <p:cNvPr id="9" name="Text Placeholder 8">
            <a:extLst>
              <a:ext uri="{FF2B5EF4-FFF2-40B4-BE49-F238E27FC236}">
                <a16:creationId xmlns:a16="http://schemas.microsoft.com/office/drawing/2014/main" id="{C9E4C97E-00D5-394C-B6B1-5D95FD196B6C}"/>
              </a:ext>
            </a:extLst>
          </p:cNvPr>
          <p:cNvSpPr>
            <a:spLocks noGrp="1"/>
          </p:cNvSpPr>
          <p:nvPr>
            <p:ph type="body" sz="quarter" idx="14" hasCustomPrompt="1"/>
          </p:nvPr>
        </p:nvSpPr>
        <p:spPr>
          <a:xfrm>
            <a:off x="1142281" y="1562100"/>
            <a:ext cx="3040199" cy="45535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
        <p:nvSpPr>
          <p:cNvPr id="15" name="Text Placeholder 8">
            <a:extLst>
              <a:ext uri="{FF2B5EF4-FFF2-40B4-BE49-F238E27FC236}">
                <a16:creationId xmlns:a16="http://schemas.microsoft.com/office/drawing/2014/main" id="{E8CCE00E-6A41-1C48-A182-3BE9BB39784F}"/>
              </a:ext>
            </a:extLst>
          </p:cNvPr>
          <p:cNvSpPr>
            <a:spLocks noGrp="1"/>
          </p:cNvSpPr>
          <p:nvPr>
            <p:ph type="body" sz="quarter" idx="15" hasCustomPrompt="1"/>
          </p:nvPr>
        </p:nvSpPr>
        <p:spPr>
          <a:xfrm>
            <a:off x="4579405" y="1563241"/>
            <a:ext cx="3040199" cy="455356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869504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Title, 1 col content and large imag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33F0F45A-F682-2D49-8730-9963CCAA667F}"/>
              </a:ext>
            </a:extLst>
          </p:cNvPr>
          <p:cNvSpPr>
            <a:spLocks noGrp="1"/>
          </p:cNvSpPr>
          <p:nvPr>
            <p:ph type="pic" sz="quarter" idx="16"/>
          </p:nvPr>
        </p:nvSpPr>
        <p:spPr>
          <a:xfrm>
            <a:off x="5333554" y="0"/>
            <a:ext cx="6858446" cy="6858000"/>
          </a:xfrm>
        </p:spPr>
        <p:txBody>
          <a:bodyPr tIns="5669280"/>
          <a:lstStyle>
            <a:lvl1pPr algn="ctr">
              <a:defRPr b="0"/>
            </a:lvl1pPr>
          </a:lstStyle>
          <a:p>
            <a:r>
              <a:rPr lang="en-US"/>
              <a:t>Click icon to add picture</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a:xfrm>
            <a:off x="1148623" y="468193"/>
            <a:ext cx="3803088" cy="400109"/>
          </a:xfrm>
        </p:spPr>
        <p:txBody>
          <a:bodyPr/>
          <a:lstStyle/>
          <a:p>
            <a:r>
              <a:rPr lang="en-GB"/>
              <a:t>Click to add title</a:t>
            </a:r>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48623" y="843284"/>
            <a:ext cx="3803088"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
        <p:nvSpPr>
          <p:cNvPr id="10" name="Text Placeholder 8">
            <a:extLst>
              <a:ext uri="{FF2B5EF4-FFF2-40B4-BE49-F238E27FC236}">
                <a16:creationId xmlns:a16="http://schemas.microsoft.com/office/drawing/2014/main" id="{847EF4F2-8463-C345-BD26-41417596A8BA}"/>
              </a:ext>
            </a:extLst>
          </p:cNvPr>
          <p:cNvSpPr>
            <a:spLocks noGrp="1"/>
          </p:cNvSpPr>
          <p:nvPr>
            <p:ph type="body" sz="quarter" idx="14" hasCustomPrompt="1"/>
          </p:nvPr>
        </p:nvSpPr>
        <p:spPr>
          <a:xfrm>
            <a:off x="1142280" y="1562100"/>
            <a:ext cx="3803087" cy="4554708"/>
          </a:xfrm>
        </p:spPr>
        <p:txBody>
          <a:bodyPr/>
          <a:lstStyle/>
          <a:p>
            <a:pPr lvl="0"/>
            <a:r>
              <a:rPr lang="en-GB"/>
              <a:t>Type a subheading – First level. Type text Second level. Type bullet Third, Fourth and Fifth level</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52164676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os -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4E18B91-E713-0EA8-A9D3-BF18771F59C4}"/>
              </a:ext>
            </a:extLst>
          </p:cNvPr>
          <p:cNvSpPr>
            <a:spLocks noGrp="1"/>
          </p:cNvSpPr>
          <p:nvPr>
            <p:ph type="body" sz="quarter" idx="14"/>
          </p:nvPr>
        </p:nvSpPr>
        <p:spPr>
          <a:xfrm>
            <a:off x="1142702" y="2423552"/>
            <a:ext cx="5135863"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667365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9" name="Text Placeholder 3">
            <a:extLst>
              <a:ext uri="{FF2B5EF4-FFF2-40B4-BE49-F238E27FC236}">
                <a16:creationId xmlns:a16="http://schemas.microsoft.com/office/drawing/2014/main" id="{4EFE8E29-14D6-57CA-E972-7DEACBB732C7}"/>
              </a:ext>
            </a:extLst>
          </p:cNvPr>
          <p:cNvSpPr>
            <a:spLocks noGrp="1"/>
          </p:cNvSpPr>
          <p:nvPr>
            <p:ph type="body" sz="quarter" idx="15"/>
          </p:nvPr>
        </p:nvSpPr>
        <p:spPr>
          <a:xfrm>
            <a:off x="6673650" y="2423787"/>
            <a:ext cx="5135863"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Subtitle 2">
            <a:extLst>
              <a:ext uri="{FF2B5EF4-FFF2-40B4-BE49-F238E27FC236}">
                <a16:creationId xmlns:a16="http://schemas.microsoft.com/office/drawing/2014/main" id="{007673B9-ECFB-B30C-F5DD-915A9637C92B}"/>
              </a:ext>
            </a:extLst>
          </p:cNvPr>
          <p:cNvSpPr>
            <a:spLocks noGrp="1"/>
          </p:cNvSpPr>
          <p:nvPr>
            <p:ph type="subTitle" idx="16"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1991823143"/>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slide - V5">
    <p:bg>
      <p:bgPr>
        <a:solidFill>
          <a:schemeClr val="bg1">
            <a:lumMod val="95000"/>
          </a:schemeClr>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8BD53E-9033-4C19-B6CB-614519C5180E}"/>
              </a:ext>
            </a:extLst>
          </p:cNvPr>
          <p:cNvSpPr/>
          <p:nvPr userDrawn="1"/>
        </p:nvSpPr>
        <p:spPr>
          <a:xfrm>
            <a:off x="0" y="0"/>
            <a:ext cx="12192000" cy="6858000"/>
          </a:xfrm>
          <a:prstGeom prst="rect">
            <a:avLst/>
          </a:prstGeom>
          <a:solidFill>
            <a:schemeClr val="tx1">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Freeform: Shape 3">
            <a:extLst>
              <a:ext uri="{FF2B5EF4-FFF2-40B4-BE49-F238E27FC236}">
                <a16:creationId xmlns:a16="http://schemas.microsoft.com/office/drawing/2014/main" id="{8681D24C-ADC9-4F96-9A7F-95456DA79B7B}"/>
              </a:ext>
            </a:extLst>
          </p:cNvPr>
          <p:cNvSpPr/>
          <p:nvPr userDrawn="1"/>
        </p:nvSpPr>
        <p:spPr>
          <a:xfrm>
            <a:off x="0" y="0"/>
            <a:ext cx="12192000" cy="6858000"/>
          </a:xfrm>
          <a:custGeom>
            <a:avLst/>
            <a:gdLst>
              <a:gd name="connsiteX0" fmla="*/ 640633 w 12192000"/>
              <a:gd name="connsiteY0" fmla="*/ 368300 h 6858000"/>
              <a:gd name="connsiteX1" fmla="*/ 371475 w 12192000"/>
              <a:gd name="connsiteY1" fmla="*/ 637458 h 6858000"/>
              <a:gd name="connsiteX2" fmla="*/ 371475 w 12192000"/>
              <a:gd name="connsiteY2" fmla="*/ 6220542 h 6858000"/>
              <a:gd name="connsiteX3" fmla="*/ 640633 w 12192000"/>
              <a:gd name="connsiteY3" fmla="*/ 6489700 h 6858000"/>
              <a:gd name="connsiteX4" fmla="*/ 11551367 w 12192000"/>
              <a:gd name="connsiteY4" fmla="*/ 6489700 h 6858000"/>
              <a:gd name="connsiteX5" fmla="*/ 11820525 w 12192000"/>
              <a:gd name="connsiteY5" fmla="*/ 6220542 h 6858000"/>
              <a:gd name="connsiteX6" fmla="*/ 11820525 w 12192000"/>
              <a:gd name="connsiteY6" fmla="*/ 637458 h 6858000"/>
              <a:gd name="connsiteX7" fmla="*/ 11551367 w 12192000"/>
              <a:gd name="connsiteY7" fmla="*/ 3683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40633" y="368300"/>
                </a:moveTo>
                <a:cubicBezTo>
                  <a:pt x="491981" y="368300"/>
                  <a:pt x="371475" y="488806"/>
                  <a:pt x="371475" y="637458"/>
                </a:cubicBezTo>
                <a:lnTo>
                  <a:pt x="371475" y="6220542"/>
                </a:lnTo>
                <a:cubicBezTo>
                  <a:pt x="371475" y="6369194"/>
                  <a:pt x="491981" y="6489700"/>
                  <a:pt x="640633" y="6489700"/>
                </a:cubicBezTo>
                <a:lnTo>
                  <a:pt x="11551367" y="6489700"/>
                </a:lnTo>
                <a:cubicBezTo>
                  <a:pt x="11700019" y="6489700"/>
                  <a:pt x="11820525" y="6369194"/>
                  <a:pt x="11820525" y="6220542"/>
                </a:cubicBezTo>
                <a:lnTo>
                  <a:pt x="11820525" y="637458"/>
                </a:lnTo>
                <a:cubicBezTo>
                  <a:pt x="11820525" y="488806"/>
                  <a:pt x="11700019" y="368300"/>
                  <a:pt x="11551367" y="368300"/>
                </a:cubicBezTo>
                <a:close/>
                <a:moveTo>
                  <a:pt x="0" y="0"/>
                </a:moveTo>
                <a:lnTo>
                  <a:pt x="12192000" y="0"/>
                </a:lnTo>
                <a:lnTo>
                  <a:pt x="12192000" y="6858000"/>
                </a:lnTo>
                <a:lnTo>
                  <a:pt x="0" y="685800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BE"/>
          </a:p>
        </p:txBody>
      </p:sp>
      <p:grpSp>
        <p:nvGrpSpPr>
          <p:cNvPr id="5" name="Groupe 22">
            <a:extLst>
              <a:ext uri="{FF2B5EF4-FFF2-40B4-BE49-F238E27FC236}">
                <a16:creationId xmlns:a16="http://schemas.microsoft.com/office/drawing/2014/main" id="{2B32DBD4-A425-4C9E-AB3F-50820ABE35E2}"/>
              </a:ext>
            </a:extLst>
          </p:cNvPr>
          <p:cNvGrpSpPr/>
          <p:nvPr userDrawn="1"/>
        </p:nvGrpSpPr>
        <p:grpSpPr>
          <a:xfrm>
            <a:off x="4341018" y="2930841"/>
            <a:ext cx="3509961" cy="997017"/>
            <a:chOff x="-838200" y="8253511"/>
            <a:chExt cx="12192000" cy="3463176"/>
          </a:xfrm>
          <a:solidFill>
            <a:schemeClr val="bg1"/>
          </a:solidFill>
        </p:grpSpPr>
        <p:sp>
          <p:nvSpPr>
            <p:cNvPr id="6" name="Forme libre : forme 23">
              <a:extLst>
                <a:ext uri="{FF2B5EF4-FFF2-40B4-BE49-F238E27FC236}">
                  <a16:creationId xmlns:a16="http://schemas.microsoft.com/office/drawing/2014/main" id="{02DB79CB-4FD3-4EEA-BEAE-F9E90E8A8DC1}"/>
                </a:ext>
              </a:extLst>
            </p:cNvPr>
            <p:cNvSpPr/>
            <p:nvPr/>
          </p:nvSpPr>
          <p:spPr>
            <a:xfrm>
              <a:off x="-838200" y="10819488"/>
              <a:ext cx="12192000" cy="897199"/>
            </a:xfrm>
            <a:custGeom>
              <a:avLst/>
              <a:gdLst>
                <a:gd name="connsiteX0" fmla="*/ 12198649 w 12192000"/>
                <a:gd name="connsiteY0" fmla="*/ 885124 h 897199"/>
                <a:gd name="connsiteX1" fmla="*/ 12097839 w 12192000"/>
                <a:gd name="connsiteY1" fmla="*/ 885124 h 897199"/>
                <a:gd name="connsiteX2" fmla="*/ 11805730 w 12192000"/>
                <a:gd name="connsiteY2" fmla="*/ 581421 h 897199"/>
                <a:gd name="connsiteX3" fmla="*/ 11805730 w 12192000"/>
                <a:gd name="connsiteY3" fmla="*/ 885124 h 897199"/>
                <a:gd name="connsiteX4" fmla="*/ 11732688 w 12192000"/>
                <a:gd name="connsiteY4" fmla="*/ 885124 h 897199"/>
                <a:gd name="connsiteX5" fmla="*/ 11732688 w 12192000"/>
                <a:gd name="connsiteY5" fmla="*/ 15789 h 897199"/>
                <a:gd name="connsiteX6" fmla="*/ 11805730 w 12192000"/>
                <a:gd name="connsiteY6" fmla="*/ 15789 h 897199"/>
                <a:gd name="connsiteX7" fmla="*/ 11805730 w 12192000"/>
                <a:gd name="connsiteY7" fmla="*/ 536236 h 897199"/>
                <a:gd name="connsiteX8" fmla="*/ 12070007 w 12192000"/>
                <a:gd name="connsiteY8" fmla="*/ 293982 h 897199"/>
                <a:gd name="connsiteX9" fmla="*/ 12163887 w 12192000"/>
                <a:gd name="connsiteY9" fmla="*/ 293982 h 897199"/>
                <a:gd name="connsiteX10" fmla="*/ 11875270 w 12192000"/>
                <a:gd name="connsiteY10" fmla="*/ 555961 h 897199"/>
                <a:gd name="connsiteX11" fmla="*/ 12198649 w 12192000"/>
                <a:gd name="connsiteY11" fmla="*/ 885124 h 897199"/>
                <a:gd name="connsiteX12" fmla="*/ 11444120 w 12192000"/>
                <a:gd name="connsiteY12" fmla="*/ 342661 h 897199"/>
                <a:gd name="connsiteX13" fmla="*/ 11316608 w 12192000"/>
                <a:gd name="connsiteY13" fmla="*/ 441203 h 897199"/>
                <a:gd name="connsiteX14" fmla="*/ 11607548 w 12192000"/>
                <a:gd name="connsiteY14" fmla="*/ 730989 h 897199"/>
                <a:gd name="connsiteX15" fmla="*/ 11401218 w 12192000"/>
                <a:gd name="connsiteY15" fmla="*/ 899088 h 897199"/>
                <a:gd name="connsiteX16" fmla="*/ 11235475 w 12192000"/>
                <a:gd name="connsiteY16" fmla="*/ 871248 h 897199"/>
                <a:gd name="connsiteX17" fmla="*/ 11242445 w 12192000"/>
                <a:gd name="connsiteY17" fmla="*/ 799384 h 897199"/>
                <a:gd name="connsiteX18" fmla="*/ 11396595 w 12192000"/>
                <a:gd name="connsiteY18" fmla="*/ 836485 h 897199"/>
                <a:gd name="connsiteX19" fmla="*/ 11527584 w 12192000"/>
                <a:gd name="connsiteY19" fmla="*/ 730989 h 897199"/>
                <a:gd name="connsiteX20" fmla="*/ 11243590 w 12192000"/>
                <a:gd name="connsiteY20" fmla="*/ 441203 h 897199"/>
                <a:gd name="connsiteX21" fmla="*/ 11436004 w 12192000"/>
                <a:gd name="connsiteY21" fmla="*/ 280106 h 897199"/>
                <a:gd name="connsiteX22" fmla="*/ 11582055 w 12192000"/>
                <a:gd name="connsiteY22" fmla="*/ 306761 h 897199"/>
                <a:gd name="connsiteX23" fmla="*/ 11575085 w 12192000"/>
                <a:gd name="connsiteY23" fmla="*/ 370533 h 897199"/>
                <a:gd name="connsiteX24" fmla="*/ 11444120 w 12192000"/>
                <a:gd name="connsiteY24" fmla="*/ 342701 h 897199"/>
                <a:gd name="connsiteX25" fmla="*/ 11036115 w 12192000"/>
                <a:gd name="connsiteY25" fmla="*/ 38950 h 897199"/>
                <a:gd name="connsiteX26" fmla="*/ 11109148 w 12192000"/>
                <a:gd name="connsiteY26" fmla="*/ 38950 h 897199"/>
                <a:gd name="connsiteX27" fmla="*/ 11109148 w 12192000"/>
                <a:gd name="connsiteY27" fmla="*/ 136339 h 897199"/>
                <a:gd name="connsiteX28" fmla="*/ 11036115 w 12192000"/>
                <a:gd name="connsiteY28" fmla="*/ 136339 h 897199"/>
                <a:gd name="connsiteX29" fmla="*/ 11036115 w 12192000"/>
                <a:gd name="connsiteY29" fmla="*/ 38950 h 897199"/>
                <a:gd name="connsiteX30" fmla="*/ 11036115 w 12192000"/>
                <a:gd name="connsiteY30" fmla="*/ 885124 h 897199"/>
                <a:gd name="connsiteX31" fmla="*/ 11036115 w 12192000"/>
                <a:gd name="connsiteY31" fmla="*/ 293982 h 897199"/>
                <a:gd name="connsiteX32" fmla="*/ 11109148 w 12192000"/>
                <a:gd name="connsiteY32" fmla="*/ 293982 h 897199"/>
                <a:gd name="connsiteX33" fmla="*/ 11109148 w 12192000"/>
                <a:gd name="connsiteY33" fmla="*/ 885124 h 897199"/>
                <a:gd name="connsiteX34" fmla="*/ 10570226 w 12192000"/>
                <a:gd name="connsiteY34" fmla="*/ 145600 h 897199"/>
                <a:gd name="connsiteX35" fmla="*/ 10487892 w 12192000"/>
                <a:gd name="connsiteY35" fmla="*/ 145600 h 897199"/>
                <a:gd name="connsiteX36" fmla="*/ 10487892 w 12192000"/>
                <a:gd name="connsiteY36" fmla="*/ 434217 h 897199"/>
                <a:gd name="connsiteX37" fmla="*/ 10572525 w 12192000"/>
                <a:gd name="connsiteY37" fmla="*/ 434217 h 897199"/>
                <a:gd name="connsiteX38" fmla="*/ 10774209 w 12192000"/>
                <a:gd name="connsiteY38" fmla="*/ 285859 h 897199"/>
                <a:gd name="connsiteX39" fmla="*/ 10570226 w 12192000"/>
                <a:gd name="connsiteY39" fmla="*/ 145600 h 897199"/>
                <a:gd name="connsiteX40" fmla="*/ 10674529 w 12192000"/>
                <a:gd name="connsiteY40" fmla="*/ 472472 h 897199"/>
                <a:gd name="connsiteX41" fmla="*/ 10674529 w 12192000"/>
                <a:gd name="connsiteY41" fmla="*/ 474795 h 897199"/>
                <a:gd name="connsiteX42" fmla="*/ 10778855 w 12192000"/>
                <a:gd name="connsiteY42" fmla="*/ 572176 h 897199"/>
                <a:gd name="connsiteX43" fmla="*/ 10916799 w 12192000"/>
                <a:gd name="connsiteY43" fmla="*/ 885124 h 897199"/>
                <a:gd name="connsiteX44" fmla="*/ 10828671 w 12192000"/>
                <a:gd name="connsiteY44" fmla="*/ 885124 h 897199"/>
                <a:gd name="connsiteX45" fmla="*/ 10711598 w 12192000"/>
                <a:gd name="connsiteY45" fmla="*/ 611561 h 897199"/>
                <a:gd name="connsiteX46" fmla="*/ 10553987 w 12192000"/>
                <a:gd name="connsiteY46" fmla="*/ 503757 h 897199"/>
                <a:gd name="connsiteX47" fmla="*/ 10487892 w 12192000"/>
                <a:gd name="connsiteY47" fmla="*/ 503757 h 897199"/>
                <a:gd name="connsiteX48" fmla="*/ 10487892 w 12192000"/>
                <a:gd name="connsiteY48" fmla="*/ 885108 h 897199"/>
                <a:gd name="connsiteX49" fmla="*/ 10407928 w 12192000"/>
                <a:gd name="connsiteY49" fmla="*/ 885108 h 897199"/>
                <a:gd name="connsiteX50" fmla="*/ 10407928 w 12192000"/>
                <a:gd name="connsiteY50" fmla="*/ 76060 h 897199"/>
                <a:gd name="connsiteX51" fmla="*/ 10616581 w 12192000"/>
                <a:gd name="connsiteY51" fmla="*/ 76060 h 897199"/>
                <a:gd name="connsiteX52" fmla="*/ 10854188 w 12192000"/>
                <a:gd name="connsiteY52" fmla="*/ 285859 h 897199"/>
                <a:gd name="connsiteX53" fmla="*/ 10674529 w 12192000"/>
                <a:gd name="connsiteY53" fmla="*/ 472472 h 897199"/>
                <a:gd name="connsiteX54" fmla="*/ 9970977 w 12192000"/>
                <a:gd name="connsiteY54" fmla="*/ 77229 h 897199"/>
                <a:gd name="connsiteX55" fmla="*/ 9913053 w 12192000"/>
                <a:gd name="connsiteY55" fmla="*/ 64483 h 897199"/>
                <a:gd name="connsiteX56" fmla="*/ 9823773 w 12192000"/>
                <a:gd name="connsiteY56" fmla="*/ 242981 h 897199"/>
                <a:gd name="connsiteX57" fmla="*/ 9823773 w 12192000"/>
                <a:gd name="connsiteY57" fmla="*/ 293982 h 897199"/>
                <a:gd name="connsiteX58" fmla="*/ 9957061 w 12192000"/>
                <a:gd name="connsiteY58" fmla="*/ 293982 h 897199"/>
                <a:gd name="connsiteX59" fmla="*/ 9957061 w 12192000"/>
                <a:gd name="connsiteY59" fmla="*/ 356577 h 897199"/>
                <a:gd name="connsiteX60" fmla="*/ 9823773 w 12192000"/>
                <a:gd name="connsiteY60" fmla="*/ 356577 h 897199"/>
                <a:gd name="connsiteX61" fmla="*/ 9823773 w 12192000"/>
                <a:gd name="connsiteY61" fmla="*/ 885124 h 897199"/>
                <a:gd name="connsiteX62" fmla="*/ 9750755 w 12192000"/>
                <a:gd name="connsiteY62" fmla="*/ 885124 h 897199"/>
                <a:gd name="connsiteX63" fmla="*/ 9750755 w 12192000"/>
                <a:gd name="connsiteY63" fmla="*/ 356577 h 897199"/>
                <a:gd name="connsiteX64" fmla="*/ 9631383 w 12192000"/>
                <a:gd name="connsiteY64" fmla="*/ 356577 h 897199"/>
                <a:gd name="connsiteX65" fmla="*/ 9631383 w 12192000"/>
                <a:gd name="connsiteY65" fmla="*/ 293982 h 897199"/>
                <a:gd name="connsiteX66" fmla="*/ 9750755 w 12192000"/>
                <a:gd name="connsiteY66" fmla="*/ 293982 h 897199"/>
                <a:gd name="connsiteX67" fmla="*/ 9750755 w 12192000"/>
                <a:gd name="connsiteY67" fmla="*/ 251096 h 897199"/>
                <a:gd name="connsiteX68" fmla="*/ 9907229 w 12192000"/>
                <a:gd name="connsiteY68" fmla="*/ 1889 h 897199"/>
                <a:gd name="connsiteX69" fmla="*/ 9975624 w 12192000"/>
                <a:gd name="connsiteY69" fmla="*/ 13465 h 897199"/>
                <a:gd name="connsiteX70" fmla="*/ 9970977 w 12192000"/>
                <a:gd name="connsiteY70" fmla="*/ 77229 h 897199"/>
                <a:gd name="connsiteX71" fmla="*/ 9292942 w 12192000"/>
                <a:gd name="connsiteY71" fmla="*/ 342661 h 897199"/>
                <a:gd name="connsiteX72" fmla="*/ 9097060 w 12192000"/>
                <a:gd name="connsiteY72" fmla="*/ 589545 h 897199"/>
                <a:gd name="connsiteX73" fmla="*/ 9292942 w 12192000"/>
                <a:gd name="connsiteY73" fmla="*/ 836446 h 897199"/>
                <a:gd name="connsiteX74" fmla="*/ 9488825 w 12192000"/>
                <a:gd name="connsiteY74" fmla="*/ 589545 h 897199"/>
                <a:gd name="connsiteX75" fmla="*/ 9292942 w 12192000"/>
                <a:gd name="connsiteY75" fmla="*/ 342661 h 897199"/>
                <a:gd name="connsiteX76" fmla="*/ 9292942 w 12192000"/>
                <a:gd name="connsiteY76" fmla="*/ 899048 h 897199"/>
                <a:gd name="connsiteX77" fmla="*/ 9017048 w 12192000"/>
                <a:gd name="connsiteY77" fmla="*/ 589545 h 897199"/>
                <a:gd name="connsiteX78" fmla="*/ 9292942 w 12192000"/>
                <a:gd name="connsiteY78" fmla="*/ 280066 h 897199"/>
                <a:gd name="connsiteX79" fmla="*/ 9568813 w 12192000"/>
                <a:gd name="connsiteY79" fmla="*/ 589545 h 897199"/>
                <a:gd name="connsiteX80" fmla="*/ 9292942 w 12192000"/>
                <a:gd name="connsiteY80" fmla="*/ 899040 h 897199"/>
                <a:gd name="connsiteX81" fmla="*/ 8381940 w 12192000"/>
                <a:gd name="connsiteY81" fmla="*/ 342661 h 897199"/>
                <a:gd name="connsiteX82" fmla="*/ 8208089 w 12192000"/>
                <a:gd name="connsiteY82" fmla="*/ 547813 h 897199"/>
                <a:gd name="connsiteX83" fmla="*/ 8532661 w 12192000"/>
                <a:gd name="connsiteY83" fmla="*/ 547813 h 897199"/>
                <a:gd name="connsiteX84" fmla="*/ 8381956 w 12192000"/>
                <a:gd name="connsiteY84" fmla="*/ 342661 h 897199"/>
                <a:gd name="connsiteX85" fmla="*/ 8208089 w 12192000"/>
                <a:gd name="connsiteY85" fmla="*/ 610407 h 897199"/>
                <a:gd name="connsiteX86" fmla="*/ 8402826 w 12192000"/>
                <a:gd name="connsiteY86" fmla="*/ 836446 h 897199"/>
                <a:gd name="connsiteX87" fmla="*/ 8568569 w 12192000"/>
                <a:gd name="connsiteY87" fmla="*/ 792382 h 897199"/>
                <a:gd name="connsiteX88" fmla="*/ 8568569 w 12192000"/>
                <a:gd name="connsiteY88" fmla="*/ 866545 h 897199"/>
                <a:gd name="connsiteX89" fmla="*/ 8397025 w 12192000"/>
                <a:gd name="connsiteY89" fmla="*/ 899032 h 897199"/>
                <a:gd name="connsiteX90" fmla="*/ 8128125 w 12192000"/>
                <a:gd name="connsiteY90" fmla="*/ 589529 h 897199"/>
                <a:gd name="connsiteX91" fmla="*/ 8377333 w 12192000"/>
                <a:gd name="connsiteY91" fmla="*/ 280050 h 897199"/>
                <a:gd name="connsiteX92" fmla="*/ 8612624 w 12192000"/>
                <a:gd name="connsiteY92" fmla="*/ 573274 h 897199"/>
                <a:gd name="connsiteX93" fmla="*/ 8612624 w 12192000"/>
                <a:gd name="connsiteY93" fmla="*/ 610383 h 897199"/>
                <a:gd name="connsiteX94" fmla="*/ 7921843 w 12192000"/>
                <a:gd name="connsiteY94" fmla="*/ 342661 h 897199"/>
                <a:gd name="connsiteX95" fmla="*/ 7699274 w 12192000"/>
                <a:gd name="connsiteY95" fmla="*/ 589545 h 897199"/>
                <a:gd name="connsiteX96" fmla="*/ 7913720 w 12192000"/>
                <a:gd name="connsiteY96" fmla="*/ 836446 h 897199"/>
                <a:gd name="connsiteX97" fmla="*/ 8047008 w 12192000"/>
                <a:gd name="connsiteY97" fmla="*/ 809767 h 897199"/>
                <a:gd name="connsiteX98" fmla="*/ 8053978 w 12192000"/>
                <a:gd name="connsiteY98" fmla="*/ 878178 h 897199"/>
                <a:gd name="connsiteX99" fmla="*/ 7902127 w 12192000"/>
                <a:gd name="connsiteY99" fmla="*/ 899048 h 897199"/>
                <a:gd name="connsiteX100" fmla="*/ 7619319 w 12192000"/>
                <a:gd name="connsiteY100" fmla="*/ 589545 h 897199"/>
                <a:gd name="connsiteX101" fmla="*/ 7911428 w 12192000"/>
                <a:gd name="connsiteY101" fmla="*/ 280066 h 897199"/>
                <a:gd name="connsiteX102" fmla="*/ 8054034 w 12192000"/>
                <a:gd name="connsiteY102" fmla="*/ 303228 h 897199"/>
                <a:gd name="connsiteX103" fmla="*/ 8048242 w 12192000"/>
                <a:gd name="connsiteY103" fmla="*/ 372768 h 897199"/>
                <a:gd name="connsiteX104" fmla="*/ 7921899 w 12192000"/>
                <a:gd name="connsiteY104" fmla="*/ 342661 h 897199"/>
                <a:gd name="connsiteX105" fmla="*/ 7413005 w 12192000"/>
                <a:gd name="connsiteY105" fmla="*/ 885124 h 897199"/>
                <a:gd name="connsiteX106" fmla="*/ 7413005 w 12192000"/>
                <a:gd name="connsiteY106" fmla="*/ 525773 h 897199"/>
                <a:gd name="connsiteX107" fmla="*/ 7272746 w 12192000"/>
                <a:gd name="connsiteY107" fmla="*/ 342661 h 897199"/>
                <a:gd name="connsiteX108" fmla="*/ 7097726 w 12192000"/>
                <a:gd name="connsiteY108" fmla="*/ 558252 h 897199"/>
                <a:gd name="connsiteX109" fmla="*/ 7097726 w 12192000"/>
                <a:gd name="connsiteY109" fmla="*/ 885124 h 897199"/>
                <a:gd name="connsiteX110" fmla="*/ 7024708 w 12192000"/>
                <a:gd name="connsiteY110" fmla="*/ 885124 h 897199"/>
                <a:gd name="connsiteX111" fmla="*/ 7024708 w 12192000"/>
                <a:gd name="connsiteY111" fmla="*/ 433063 h 897199"/>
                <a:gd name="connsiteX112" fmla="*/ 7020062 w 12192000"/>
                <a:gd name="connsiteY112" fmla="*/ 293982 h 897199"/>
                <a:gd name="connsiteX113" fmla="*/ 7090756 w 12192000"/>
                <a:gd name="connsiteY113" fmla="*/ 293982 h 897199"/>
                <a:gd name="connsiteX114" fmla="*/ 7090756 w 12192000"/>
                <a:gd name="connsiteY114" fmla="*/ 399431 h 897199"/>
                <a:gd name="connsiteX115" fmla="*/ 7093103 w 12192000"/>
                <a:gd name="connsiteY115" fmla="*/ 399431 h 897199"/>
                <a:gd name="connsiteX116" fmla="*/ 7284363 w 12192000"/>
                <a:gd name="connsiteY116" fmla="*/ 280058 h 897199"/>
                <a:gd name="connsiteX117" fmla="*/ 7486046 w 12192000"/>
                <a:gd name="connsiteY117" fmla="*/ 507250 h 897199"/>
                <a:gd name="connsiteX118" fmla="*/ 7486046 w 12192000"/>
                <a:gd name="connsiteY118" fmla="*/ 885116 h 897199"/>
                <a:gd name="connsiteX119" fmla="*/ 6660783 w 12192000"/>
                <a:gd name="connsiteY119" fmla="*/ 342661 h 897199"/>
                <a:gd name="connsiteX120" fmla="*/ 6486932 w 12192000"/>
                <a:gd name="connsiteY120" fmla="*/ 547813 h 897199"/>
                <a:gd name="connsiteX121" fmla="*/ 6811464 w 12192000"/>
                <a:gd name="connsiteY121" fmla="*/ 547813 h 897199"/>
                <a:gd name="connsiteX122" fmla="*/ 6660807 w 12192000"/>
                <a:gd name="connsiteY122" fmla="*/ 342661 h 897199"/>
                <a:gd name="connsiteX123" fmla="*/ 6486932 w 12192000"/>
                <a:gd name="connsiteY123" fmla="*/ 610407 h 897199"/>
                <a:gd name="connsiteX124" fmla="*/ 6681669 w 12192000"/>
                <a:gd name="connsiteY124" fmla="*/ 836446 h 897199"/>
                <a:gd name="connsiteX125" fmla="*/ 6847412 w 12192000"/>
                <a:gd name="connsiteY125" fmla="*/ 792382 h 897199"/>
                <a:gd name="connsiteX126" fmla="*/ 6847412 w 12192000"/>
                <a:gd name="connsiteY126" fmla="*/ 866545 h 897199"/>
                <a:gd name="connsiteX127" fmla="*/ 6675869 w 12192000"/>
                <a:gd name="connsiteY127" fmla="*/ 899032 h 897199"/>
                <a:gd name="connsiteX128" fmla="*/ 6406969 w 12192000"/>
                <a:gd name="connsiteY128" fmla="*/ 589529 h 897199"/>
                <a:gd name="connsiteX129" fmla="*/ 6656128 w 12192000"/>
                <a:gd name="connsiteY129" fmla="*/ 280050 h 897199"/>
                <a:gd name="connsiteX130" fmla="*/ 6891436 w 12192000"/>
                <a:gd name="connsiteY130" fmla="*/ 573274 h 897199"/>
                <a:gd name="connsiteX131" fmla="*/ 6891436 w 12192000"/>
                <a:gd name="connsiteY131" fmla="*/ 610383 h 897199"/>
                <a:gd name="connsiteX132" fmla="*/ 6199429 w 12192000"/>
                <a:gd name="connsiteY132" fmla="*/ 38950 h 897199"/>
                <a:gd name="connsiteX133" fmla="*/ 6272494 w 12192000"/>
                <a:gd name="connsiteY133" fmla="*/ 38950 h 897199"/>
                <a:gd name="connsiteX134" fmla="*/ 6272494 w 12192000"/>
                <a:gd name="connsiteY134" fmla="*/ 136339 h 897199"/>
                <a:gd name="connsiteX135" fmla="*/ 6199429 w 12192000"/>
                <a:gd name="connsiteY135" fmla="*/ 136339 h 897199"/>
                <a:gd name="connsiteX136" fmla="*/ 6199429 w 12192000"/>
                <a:gd name="connsiteY136" fmla="*/ 38950 h 897199"/>
                <a:gd name="connsiteX137" fmla="*/ 6199429 w 12192000"/>
                <a:gd name="connsiteY137" fmla="*/ 885124 h 897199"/>
                <a:gd name="connsiteX138" fmla="*/ 6199429 w 12192000"/>
                <a:gd name="connsiteY138" fmla="*/ 293982 h 897199"/>
                <a:gd name="connsiteX139" fmla="*/ 6272494 w 12192000"/>
                <a:gd name="connsiteY139" fmla="*/ 293982 h 897199"/>
                <a:gd name="connsiteX140" fmla="*/ 6272494 w 12192000"/>
                <a:gd name="connsiteY140" fmla="*/ 885124 h 897199"/>
                <a:gd name="connsiteX141" fmla="*/ 5949116 w 12192000"/>
                <a:gd name="connsiteY141" fmla="*/ 342661 h 897199"/>
                <a:gd name="connsiteX142" fmla="*/ 5726570 w 12192000"/>
                <a:gd name="connsiteY142" fmla="*/ 589545 h 897199"/>
                <a:gd name="connsiteX143" fmla="*/ 5940992 w 12192000"/>
                <a:gd name="connsiteY143" fmla="*/ 836446 h 897199"/>
                <a:gd name="connsiteX144" fmla="*/ 6074280 w 12192000"/>
                <a:gd name="connsiteY144" fmla="*/ 809767 h 897199"/>
                <a:gd name="connsiteX145" fmla="*/ 6081250 w 12192000"/>
                <a:gd name="connsiteY145" fmla="*/ 878178 h 897199"/>
                <a:gd name="connsiteX146" fmla="*/ 5929399 w 12192000"/>
                <a:gd name="connsiteY146" fmla="*/ 899040 h 897199"/>
                <a:gd name="connsiteX147" fmla="*/ 5646591 w 12192000"/>
                <a:gd name="connsiteY147" fmla="*/ 589537 h 897199"/>
                <a:gd name="connsiteX148" fmla="*/ 5938701 w 12192000"/>
                <a:gd name="connsiteY148" fmla="*/ 280058 h 897199"/>
                <a:gd name="connsiteX149" fmla="*/ 6081306 w 12192000"/>
                <a:gd name="connsiteY149" fmla="*/ 303220 h 897199"/>
                <a:gd name="connsiteX150" fmla="*/ 6075514 w 12192000"/>
                <a:gd name="connsiteY150" fmla="*/ 372760 h 897199"/>
                <a:gd name="connsiteX151" fmla="*/ 5949172 w 12192000"/>
                <a:gd name="connsiteY151" fmla="*/ 342653 h 897199"/>
                <a:gd name="connsiteX152" fmla="*/ 5347551 w 12192000"/>
                <a:gd name="connsiteY152" fmla="*/ 131708 h 897199"/>
                <a:gd name="connsiteX153" fmla="*/ 5172555 w 12192000"/>
                <a:gd name="connsiteY153" fmla="*/ 270789 h 897199"/>
                <a:gd name="connsiteX154" fmla="*/ 5543434 w 12192000"/>
                <a:gd name="connsiteY154" fmla="*/ 670678 h 897199"/>
                <a:gd name="connsiteX155" fmla="*/ 5278003 w 12192000"/>
                <a:gd name="connsiteY155" fmla="*/ 899040 h 897199"/>
                <a:gd name="connsiteX156" fmla="*/ 5094890 w 12192000"/>
                <a:gd name="connsiteY156" fmla="*/ 864254 h 897199"/>
                <a:gd name="connsiteX157" fmla="*/ 5103006 w 12192000"/>
                <a:gd name="connsiteY157" fmla="*/ 781943 h 897199"/>
                <a:gd name="connsiteX158" fmla="*/ 5281504 w 12192000"/>
                <a:gd name="connsiteY158" fmla="*/ 829467 h 897199"/>
                <a:gd name="connsiteX159" fmla="*/ 5463463 w 12192000"/>
                <a:gd name="connsiteY159" fmla="*/ 663700 h 897199"/>
                <a:gd name="connsiteX160" fmla="*/ 5092567 w 12192000"/>
                <a:gd name="connsiteY160" fmla="*/ 273104 h 897199"/>
                <a:gd name="connsiteX161" fmla="*/ 5348721 w 12192000"/>
                <a:gd name="connsiteY161" fmla="*/ 62136 h 897199"/>
                <a:gd name="connsiteX162" fmla="*/ 5507494 w 12192000"/>
                <a:gd name="connsiteY162" fmla="*/ 88798 h 897199"/>
                <a:gd name="connsiteX163" fmla="*/ 5494756 w 12192000"/>
                <a:gd name="connsiteY163" fmla="*/ 161831 h 897199"/>
                <a:gd name="connsiteX164" fmla="*/ 5347551 w 12192000"/>
                <a:gd name="connsiteY164" fmla="*/ 131700 h 897199"/>
                <a:gd name="connsiteX165" fmla="*/ 4231388 w 12192000"/>
                <a:gd name="connsiteY165" fmla="*/ 482895 h 897199"/>
                <a:gd name="connsiteX166" fmla="*/ 4079561 w 12192000"/>
                <a:gd name="connsiteY166" fmla="*/ 669565 h 897199"/>
                <a:gd name="connsiteX167" fmla="*/ 4267320 w 12192000"/>
                <a:gd name="connsiteY167" fmla="*/ 836477 h 897199"/>
                <a:gd name="connsiteX168" fmla="*/ 4466680 w 12192000"/>
                <a:gd name="connsiteY168" fmla="*/ 742574 h 897199"/>
                <a:gd name="connsiteX169" fmla="*/ 4231388 w 12192000"/>
                <a:gd name="connsiteY169" fmla="*/ 482927 h 897199"/>
                <a:gd name="connsiteX170" fmla="*/ 4413379 w 12192000"/>
                <a:gd name="connsiteY170" fmla="*/ 241803 h 897199"/>
                <a:gd name="connsiteX171" fmla="*/ 4298605 w 12192000"/>
                <a:gd name="connsiteY171" fmla="*/ 124738 h 897199"/>
                <a:gd name="connsiteX172" fmla="*/ 4165316 w 12192000"/>
                <a:gd name="connsiteY172" fmla="*/ 242981 h 897199"/>
                <a:gd name="connsiteX173" fmla="*/ 4256881 w 12192000"/>
                <a:gd name="connsiteY173" fmla="*/ 407554 h 897199"/>
                <a:gd name="connsiteX174" fmla="*/ 4413379 w 12192000"/>
                <a:gd name="connsiteY174" fmla="*/ 241803 h 897199"/>
                <a:gd name="connsiteX175" fmla="*/ 4698518 w 12192000"/>
                <a:gd name="connsiteY175" fmla="*/ 882800 h 897199"/>
                <a:gd name="connsiteX176" fmla="*/ 4596539 w 12192000"/>
                <a:gd name="connsiteY176" fmla="*/ 882800 h 897199"/>
                <a:gd name="connsiteX177" fmla="*/ 4510751 w 12192000"/>
                <a:gd name="connsiteY177" fmla="*/ 792398 h 897199"/>
                <a:gd name="connsiteX178" fmla="*/ 4264996 w 12192000"/>
                <a:gd name="connsiteY178" fmla="*/ 899048 h 897199"/>
                <a:gd name="connsiteX179" fmla="*/ 3999573 w 12192000"/>
                <a:gd name="connsiteY179" fmla="*/ 673002 h 897199"/>
                <a:gd name="connsiteX180" fmla="*/ 4190833 w 12192000"/>
                <a:gd name="connsiteY180" fmla="*/ 437710 h 897199"/>
                <a:gd name="connsiteX181" fmla="*/ 4085353 w 12192000"/>
                <a:gd name="connsiteY181" fmla="*/ 238334 h 897199"/>
                <a:gd name="connsiteX182" fmla="*/ 4303268 w 12192000"/>
                <a:gd name="connsiteY182" fmla="*/ 62144 h 897199"/>
                <a:gd name="connsiteX183" fmla="*/ 4493334 w 12192000"/>
                <a:gd name="connsiteY183" fmla="*/ 229065 h 897199"/>
                <a:gd name="connsiteX184" fmla="*/ 4298597 w 12192000"/>
                <a:gd name="connsiteY184" fmla="*/ 449286 h 897199"/>
                <a:gd name="connsiteX185" fmla="*/ 4511897 w 12192000"/>
                <a:gd name="connsiteY185" fmla="*/ 686902 h 897199"/>
                <a:gd name="connsiteX186" fmla="*/ 4581437 w 12192000"/>
                <a:gd name="connsiteY186" fmla="*/ 441163 h 897199"/>
                <a:gd name="connsiteX187" fmla="*/ 4650986 w 12192000"/>
                <a:gd name="connsiteY187" fmla="*/ 441163 h 897199"/>
                <a:gd name="connsiteX188" fmla="*/ 4560575 w 12192000"/>
                <a:gd name="connsiteY188" fmla="*/ 733249 h 897199"/>
                <a:gd name="connsiteX189" fmla="*/ 4698510 w 12192000"/>
                <a:gd name="connsiteY189" fmla="*/ 882800 h 897199"/>
                <a:gd name="connsiteX190" fmla="*/ 3535960 w 12192000"/>
                <a:gd name="connsiteY190" fmla="*/ 836446 h 897199"/>
                <a:gd name="connsiteX191" fmla="*/ 3603201 w 12192000"/>
                <a:gd name="connsiteY191" fmla="*/ 822529 h 897199"/>
                <a:gd name="connsiteX192" fmla="*/ 3607824 w 12192000"/>
                <a:gd name="connsiteY192" fmla="*/ 882800 h 897199"/>
                <a:gd name="connsiteX193" fmla="*/ 3518591 w 12192000"/>
                <a:gd name="connsiteY193" fmla="*/ 899048 h 897199"/>
                <a:gd name="connsiteX194" fmla="*/ 3384109 w 12192000"/>
                <a:gd name="connsiteY194" fmla="*/ 701963 h 897199"/>
                <a:gd name="connsiteX195" fmla="*/ 3384109 w 12192000"/>
                <a:gd name="connsiteY195" fmla="*/ 356577 h 897199"/>
                <a:gd name="connsiteX196" fmla="*/ 3268213 w 12192000"/>
                <a:gd name="connsiteY196" fmla="*/ 356577 h 897199"/>
                <a:gd name="connsiteX197" fmla="*/ 3268213 w 12192000"/>
                <a:gd name="connsiteY197" fmla="*/ 293982 h 897199"/>
                <a:gd name="connsiteX198" fmla="*/ 3384109 w 12192000"/>
                <a:gd name="connsiteY198" fmla="*/ 293982 h 897199"/>
                <a:gd name="connsiteX199" fmla="*/ 3384109 w 12192000"/>
                <a:gd name="connsiteY199" fmla="*/ 151376 h 897199"/>
                <a:gd name="connsiteX200" fmla="*/ 3457150 w 12192000"/>
                <a:gd name="connsiteY200" fmla="*/ 125884 h 897199"/>
                <a:gd name="connsiteX201" fmla="*/ 3457150 w 12192000"/>
                <a:gd name="connsiteY201" fmla="*/ 293958 h 897199"/>
                <a:gd name="connsiteX202" fmla="*/ 3591584 w 12192000"/>
                <a:gd name="connsiteY202" fmla="*/ 293958 h 897199"/>
                <a:gd name="connsiteX203" fmla="*/ 3591584 w 12192000"/>
                <a:gd name="connsiteY203" fmla="*/ 356553 h 897199"/>
                <a:gd name="connsiteX204" fmla="*/ 3457150 w 12192000"/>
                <a:gd name="connsiteY204" fmla="*/ 356553 h 897199"/>
                <a:gd name="connsiteX205" fmla="*/ 3457150 w 12192000"/>
                <a:gd name="connsiteY205" fmla="*/ 739049 h 897199"/>
                <a:gd name="connsiteX206" fmla="*/ 3535960 w 12192000"/>
                <a:gd name="connsiteY206" fmla="*/ 836421 h 897199"/>
                <a:gd name="connsiteX207" fmla="*/ 3176673 w 12192000"/>
                <a:gd name="connsiteY207" fmla="*/ 356553 h 897199"/>
                <a:gd name="connsiteX208" fmla="*/ 3029469 w 12192000"/>
                <a:gd name="connsiteY208" fmla="*/ 593014 h 897199"/>
                <a:gd name="connsiteX209" fmla="*/ 3029469 w 12192000"/>
                <a:gd name="connsiteY209" fmla="*/ 885100 h 897199"/>
                <a:gd name="connsiteX210" fmla="*/ 2956451 w 12192000"/>
                <a:gd name="connsiteY210" fmla="*/ 885100 h 897199"/>
                <a:gd name="connsiteX211" fmla="*/ 2956451 w 12192000"/>
                <a:gd name="connsiteY211" fmla="*/ 426117 h 897199"/>
                <a:gd name="connsiteX212" fmla="*/ 2951789 w 12192000"/>
                <a:gd name="connsiteY212" fmla="*/ 293982 h 897199"/>
                <a:gd name="connsiteX213" fmla="*/ 3024822 w 12192000"/>
                <a:gd name="connsiteY213" fmla="*/ 293982 h 897199"/>
                <a:gd name="connsiteX214" fmla="*/ 3024822 w 12192000"/>
                <a:gd name="connsiteY214" fmla="*/ 407554 h 897199"/>
                <a:gd name="connsiteX215" fmla="*/ 3027169 w 12192000"/>
                <a:gd name="connsiteY215" fmla="*/ 407554 h 897199"/>
                <a:gd name="connsiteX216" fmla="*/ 3178997 w 12192000"/>
                <a:gd name="connsiteY216" fmla="*/ 280066 h 897199"/>
                <a:gd name="connsiteX217" fmla="*/ 3229974 w 12192000"/>
                <a:gd name="connsiteY217" fmla="*/ 287036 h 897199"/>
                <a:gd name="connsiteX218" fmla="*/ 3229974 w 12192000"/>
                <a:gd name="connsiteY218" fmla="*/ 363523 h 897199"/>
                <a:gd name="connsiteX219" fmla="*/ 3176673 w 12192000"/>
                <a:gd name="connsiteY219" fmla="*/ 356577 h 897199"/>
                <a:gd name="connsiteX220" fmla="*/ 2483569 w 12192000"/>
                <a:gd name="connsiteY220" fmla="*/ 152546 h 897199"/>
                <a:gd name="connsiteX221" fmla="*/ 2307402 w 12192000"/>
                <a:gd name="connsiteY221" fmla="*/ 598790 h 897199"/>
                <a:gd name="connsiteX222" fmla="*/ 2658589 w 12192000"/>
                <a:gd name="connsiteY222" fmla="*/ 598790 h 897199"/>
                <a:gd name="connsiteX223" fmla="*/ 2483569 w 12192000"/>
                <a:gd name="connsiteY223" fmla="*/ 152546 h 897199"/>
                <a:gd name="connsiteX224" fmla="*/ 2772185 w 12192000"/>
                <a:gd name="connsiteY224" fmla="*/ 885100 h 897199"/>
                <a:gd name="connsiteX225" fmla="*/ 2685252 w 12192000"/>
                <a:gd name="connsiteY225" fmla="*/ 668355 h 897199"/>
                <a:gd name="connsiteX226" fmla="*/ 2277247 w 12192000"/>
                <a:gd name="connsiteY226" fmla="*/ 668355 h 897199"/>
                <a:gd name="connsiteX227" fmla="*/ 2190297 w 12192000"/>
                <a:gd name="connsiteY227" fmla="*/ 885100 h 897199"/>
                <a:gd name="connsiteX228" fmla="*/ 2112665 w 12192000"/>
                <a:gd name="connsiteY228" fmla="*/ 885100 h 897199"/>
                <a:gd name="connsiteX229" fmla="*/ 2444168 w 12192000"/>
                <a:gd name="connsiteY229" fmla="*/ 76036 h 897199"/>
                <a:gd name="connsiteX230" fmla="*/ 2534570 w 12192000"/>
                <a:gd name="connsiteY230" fmla="*/ 76036 h 897199"/>
                <a:gd name="connsiteX231" fmla="*/ 2855650 w 12192000"/>
                <a:gd name="connsiteY231" fmla="*/ 885100 h 897199"/>
                <a:gd name="connsiteX232" fmla="*/ 1508762 w 12192000"/>
                <a:gd name="connsiteY232" fmla="*/ 342637 h 897199"/>
                <a:gd name="connsiteX233" fmla="*/ 1334911 w 12192000"/>
                <a:gd name="connsiteY233" fmla="*/ 547789 h 897199"/>
                <a:gd name="connsiteX234" fmla="*/ 1659451 w 12192000"/>
                <a:gd name="connsiteY234" fmla="*/ 547789 h 897199"/>
                <a:gd name="connsiteX235" fmla="*/ 1508778 w 12192000"/>
                <a:gd name="connsiteY235" fmla="*/ 342637 h 897199"/>
                <a:gd name="connsiteX236" fmla="*/ 1334911 w 12192000"/>
                <a:gd name="connsiteY236" fmla="*/ 610383 h 897199"/>
                <a:gd name="connsiteX237" fmla="*/ 1529640 w 12192000"/>
                <a:gd name="connsiteY237" fmla="*/ 836421 h 897199"/>
                <a:gd name="connsiteX238" fmla="*/ 1695391 w 12192000"/>
                <a:gd name="connsiteY238" fmla="*/ 792358 h 897199"/>
                <a:gd name="connsiteX239" fmla="*/ 1695391 w 12192000"/>
                <a:gd name="connsiteY239" fmla="*/ 866521 h 897199"/>
                <a:gd name="connsiteX240" fmla="*/ 1523847 w 12192000"/>
                <a:gd name="connsiteY240" fmla="*/ 899008 h 897199"/>
                <a:gd name="connsiteX241" fmla="*/ 1254915 w 12192000"/>
                <a:gd name="connsiteY241" fmla="*/ 589505 h 897199"/>
                <a:gd name="connsiteX242" fmla="*/ 1504147 w 12192000"/>
                <a:gd name="connsiteY242" fmla="*/ 280026 h 897199"/>
                <a:gd name="connsiteX243" fmla="*/ 1739447 w 12192000"/>
                <a:gd name="connsiteY243" fmla="*/ 573249 h 897199"/>
                <a:gd name="connsiteX244" fmla="*/ 1739447 w 12192000"/>
                <a:gd name="connsiteY244" fmla="*/ 610359 h 897199"/>
                <a:gd name="connsiteX245" fmla="*/ 1048633 w 12192000"/>
                <a:gd name="connsiteY245" fmla="*/ 885100 h 897199"/>
                <a:gd name="connsiteX246" fmla="*/ 1048633 w 12192000"/>
                <a:gd name="connsiteY246" fmla="*/ 532743 h 897199"/>
                <a:gd name="connsiteX247" fmla="*/ 908375 w 12192000"/>
                <a:gd name="connsiteY247" fmla="*/ 342661 h 897199"/>
                <a:gd name="connsiteX248" fmla="*/ 733346 w 12192000"/>
                <a:gd name="connsiteY248" fmla="*/ 568675 h 897199"/>
                <a:gd name="connsiteX249" fmla="*/ 733346 w 12192000"/>
                <a:gd name="connsiteY249" fmla="*/ 885132 h 897199"/>
                <a:gd name="connsiteX250" fmla="*/ 660393 w 12192000"/>
                <a:gd name="connsiteY250" fmla="*/ 885132 h 897199"/>
                <a:gd name="connsiteX251" fmla="*/ 660393 w 12192000"/>
                <a:gd name="connsiteY251" fmla="*/ 15789 h 897199"/>
                <a:gd name="connsiteX252" fmla="*/ 733402 w 12192000"/>
                <a:gd name="connsiteY252" fmla="*/ 15789 h 897199"/>
                <a:gd name="connsiteX253" fmla="*/ 733402 w 12192000"/>
                <a:gd name="connsiteY253" fmla="*/ 393638 h 897199"/>
                <a:gd name="connsiteX254" fmla="*/ 735734 w 12192000"/>
                <a:gd name="connsiteY254" fmla="*/ 393638 h 897199"/>
                <a:gd name="connsiteX255" fmla="*/ 920039 w 12192000"/>
                <a:gd name="connsiteY255" fmla="*/ 280066 h 897199"/>
                <a:gd name="connsiteX256" fmla="*/ 1121731 w 12192000"/>
                <a:gd name="connsiteY256" fmla="*/ 531573 h 897199"/>
                <a:gd name="connsiteX257" fmla="*/ 1121731 w 12192000"/>
                <a:gd name="connsiteY257" fmla="*/ 885124 h 897199"/>
                <a:gd name="connsiteX258" fmla="*/ 325373 w 12192000"/>
                <a:gd name="connsiteY258" fmla="*/ 145576 h 897199"/>
                <a:gd name="connsiteX259" fmla="*/ 325373 w 12192000"/>
                <a:gd name="connsiteY259" fmla="*/ 885100 h 897199"/>
                <a:gd name="connsiteX260" fmla="*/ 245410 w 12192000"/>
                <a:gd name="connsiteY260" fmla="*/ 885100 h 897199"/>
                <a:gd name="connsiteX261" fmla="*/ 245410 w 12192000"/>
                <a:gd name="connsiteY261" fmla="*/ 145600 h 897199"/>
                <a:gd name="connsiteX262" fmla="*/ 6649 w 12192000"/>
                <a:gd name="connsiteY262" fmla="*/ 145600 h 897199"/>
                <a:gd name="connsiteX263" fmla="*/ 6649 w 12192000"/>
                <a:gd name="connsiteY263" fmla="*/ 76060 h 897199"/>
                <a:gd name="connsiteX264" fmla="*/ 564190 w 12192000"/>
                <a:gd name="connsiteY264" fmla="*/ 76060 h 897199"/>
                <a:gd name="connsiteX265" fmla="*/ 564190 w 12192000"/>
                <a:gd name="connsiteY265" fmla="*/ 145600 h 89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2192000" h="897199">
                  <a:moveTo>
                    <a:pt x="12198649" y="885124"/>
                  </a:moveTo>
                  <a:lnTo>
                    <a:pt x="12097839" y="885124"/>
                  </a:lnTo>
                  <a:lnTo>
                    <a:pt x="11805730" y="581421"/>
                  </a:lnTo>
                  <a:lnTo>
                    <a:pt x="11805730" y="885124"/>
                  </a:lnTo>
                  <a:lnTo>
                    <a:pt x="11732688" y="885124"/>
                  </a:lnTo>
                  <a:lnTo>
                    <a:pt x="11732688" y="15789"/>
                  </a:lnTo>
                  <a:lnTo>
                    <a:pt x="11805730" y="15789"/>
                  </a:lnTo>
                  <a:lnTo>
                    <a:pt x="11805730" y="536236"/>
                  </a:lnTo>
                  <a:lnTo>
                    <a:pt x="12070007" y="293982"/>
                  </a:lnTo>
                  <a:lnTo>
                    <a:pt x="12163887" y="293982"/>
                  </a:lnTo>
                  <a:lnTo>
                    <a:pt x="11875270" y="555961"/>
                  </a:lnTo>
                  <a:lnTo>
                    <a:pt x="12198649" y="885124"/>
                  </a:lnTo>
                  <a:close/>
                  <a:moveTo>
                    <a:pt x="11444120" y="342661"/>
                  </a:moveTo>
                  <a:cubicBezTo>
                    <a:pt x="11368811" y="342661"/>
                    <a:pt x="11316608" y="365822"/>
                    <a:pt x="11316608" y="441203"/>
                  </a:cubicBezTo>
                  <a:cubicBezTo>
                    <a:pt x="11316608" y="551346"/>
                    <a:pt x="11607548" y="537430"/>
                    <a:pt x="11607548" y="730989"/>
                  </a:cubicBezTo>
                  <a:cubicBezTo>
                    <a:pt x="11607548" y="856178"/>
                    <a:pt x="11490475" y="899088"/>
                    <a:pt x="11401218" y="899088"/>
                  </a:cubicBezTo>
                  <a:cubicBezTo>
                    <a:pt x="11344424" y="899088"/>
                    <a:pt x="11287622" y="892118"/>
                    <a:pt x="11235475" y="871248"/>
                  </a:cubicBezTo>
                  <a:lnTo>
                    <a:pt x="11242445" y="799384"/>
                  </a:lnTo>
                  <a:cubicBezTo>
                    <a:pt x="11286468" y="821424"/>
                    <a:pt x="11339793" y="836485"/>
                    <a:pt x="11396595" y="836485"/>
                  </a:cubicBezTo>
                  <a:cubicBezTo>
                    <a:pt x="11466136" y="836485"/>
                    <a:pt x="11527584" y="798214"/>
                    <a:pt x="11527584" y="730989"/>
                  </a:cubicBezTo>
                  <a:cubicBezTo>
                    <a:pt x="11527584" y="590731"/>
                    <a:pt x="11243590" y="612770"/>
                    <a:pt x="11243590" y="441203"/>
                  </a:cubicBezTo>
                  <a:cubicBezTo>
                    <a:pt x="11243590" y="324130"/>
                    <a:pt x="11338647" y="280106"/>
                    <a:pt x="11436004" y="280106"/>
                  </a:cubicBezTo>
                  <a:cubicBezTo>
                    <a:pt x="11467289" y="280106"/>
                    <a:pt x="11529884" y="287076"/>
                    <a:pt x="11582055" y="306761"/>
                  </a:cubicBezTo>
                  <a:lnTo>
                    <a:pt x="11575085" y="370533"/>
                  </a:lnTo>
                  <a:cubicBezTo>
                    <a:pt x="11536830" y="353116"/>
                    <a:pt x="11484682" y="342701"/>
                    <a:pt x="11444120" y="342701"/>
                  </a:cubicBezTo>
                  <a:close/>
                  <a:moveTo>
                    <a:pt x="11036115" y="38950"/>
                  </a:moveTo>
                  <a:lnTo>
                    <a:pt x="11109148" y="38950"/>
                  </a:lnTo>
                  <a:lnTo>
                    <a:pt x="11109148" y="136339"/>
                  </a:lnTo>
                  <a:lnTo>
                    <a:pt x="11036115" y="136339"/>
                  </a:lnTo>
                  <a:lnTo>
                    <a:pt x="11036115" y="38950"/>
                  </a:lnTo>
                  <a:close/>
                  <a:moveTo>
                    <a:pt x="11036115" y="885124"/>
                  </a:moveTo>
                  <a:lnTo>
                    <a:pt x="11036115" y="293982"/>
                  </a:lnTo>
                  <a:lnTo>
                    <a:pt x="11109148" y="293982"/>
                  </a:lnTo>
                  <a:lnTo>
                    <a:pt x="11109148" y="885124"/>
                  </a:lnTo>
                  <a:close/>
                  <a:moveTo>
                    <a:pt x="10570226" y="145600"/>
                  </a:moveTo>
                  <a:lnTo>
                    <a:pt x="10487892" y="145600"/>
                  </a:lnTo>
                  <a:lnTo>
                    <a:pt x="10487892" y="434217"/>
                  </a:lnTo>
                  <a:lnTo>
                    <a:pt x="10572525" y="434217"/>
                  </a:lnTo>
                  <a:cubicBezTo>
                    <a:pt x="10666405" y="434217"/>
                    <a:pt x="10774209" y="398309"/>
                    <a:pt x="10774209" y="285859"/>
                  </a:cubicBezTo>
                  <a:cubicBezTo>
                    <a:pt x="10774209" y="153724"/>
                    <a:pt x="10680321" y="145600"/>
                    <a:pt x="10570226" y="145600"/>
                  </a:cubicBezTo>
                  <a:close/>
                  <a:moveTo>
                    <a:pt x="10674529" y="472472"/>
                  </a:moveTo>
                  <a:lnTo>
                    <a:pt x="10674529" y="474795"/>
                  </a:lnTo>
                  <a:cubicBezTo>
                    <a:pt x="10739423" y="482895"/>
                    <a:pt x="10753339" y="517673"/>
                    <a:pt x="10778855" y="572176"/>
                  </a:cubicBezTo>
                  <a:lnTo>
                    <a:pt x="10916799" y="885124"/>
                  </a:lnTo>
                  <a:lnTo>
                    <a:pt x="10828671" y="885124"/>
                  </a:lnTo>
                  <a:lnTo>
                    <a:pt x="10711598" y="611561"/>
                  </a:lnTo>
                  <a:cubicBezTo>
                    <a:pt x="10665235" y="507274"/>
                    <a:pt x="10630473" y="503757"/>
                    <a:pt x="10553987" y="503757"/>
                  </a:cubicBezTo>
                  <a:lnTo>
                    <a:pt x="10487892" y="503757"/>
                  </a:lnTo>
                  <a:lnTo>
                    <a:pt x="10487892" y="885108"/>
                  </a:lnTo>
                  <a:lnTo>
                    <a:pt x="10407928" y="885108"/>
                  </a:lnTo>
                  <a:lnTo>
                    <a:pt x="10407928" y="76060"/>
                  </a:lnTo>
                  <a:lnTo>
                    <a:pt x="10616581" y="76060"/>
                  </a:lnTo>
                  <a:cubicBezTo>
                    <a:pt x="10760285" y="76060"/>
                    <a:pt x="10854188" y="137484"/>
                    <a:pt x="10854188" y="285859"/>
                  </a:cubicBezTo>
                  <a:cubicBezTo>
                    <a:pt x="10854188" y="390185"/>
                    <a:pt x="10774209" y="459710"/>
                    <a:pt x="10674529" y="472472"/>
                  </a:cubicBezTo>
                  <a:close/>
                  <a:moveTo>
                    <a:pt x="9970977" y="77229"/>
                  </a:moveTo>
                  <a:cubicBezTo>
                    <a:pt x="9955908" y="69114"/>
                    <a:pt x="9933916" y="64483"/>
                    <a:pt x="9913053" y="64483"/>
                  </a:cubicBezTo>
                  <a:cubicBezTo>
                    <a:pt x="9813350" y="64483"/>
                    <a:pt x="9823773" y="172263"/>
                    <a:pt x="9823773" y="242981"/>
                  </a:cubicBezTo>
                  <a:lnTo>
                    <a:pt x="9823773" y="293982"/>
                  </a:lnTo>
                  <a:lnTo>
                    <a:pt x="9957061" y="293982"/>
                  </a:lnTo>
                  <a:lnTo>
                    <a:pt x="9957061" y="356577"/>
                  </a:lnTo>
                  <a:lnTo>
                    <a:pt x="9823773" y="356577"/>
                  </a:lnTo>
                  <a:lnTo>
                    <a:pt x="9823773" y="885124"/>
                  </a:lnTo>
                  <a:lnTo>
                    <a:pt x="9750755" y="885124"/>
                  </a:lnTo>
                  <a:lnTo>
                    <a:pt x="9750755" y="356577"/>
                  </a:lnTo>
                  <a:lnTo>
                    <a:pt x="9631383" y="356577"/>
                  </a:lnTo>
                  <a:lnTo>
                    <a:pt x="9631383" y="293982"/>
                  </a:lnTo>
                  <a:lnTo>
                    <a:pt x="9750755" y="293982"/>
                  </a:lnTo>
                  <a:lnTo>
                    <a:pt x="9750755" y="251096"/>
                  </a:lnTo>
                  <a:cubicBezTo>
                    <a:pt x="9750755" y="127061"/>
                    <a:pt x="9755378" y="1889"/>
                    <a:pt x="9907229" y="1889"/>
                  </a:cubicBezTo>
                  <a:cubicBezTo>
                    <a:pt x="9930463" y="1889"/>
                    <a:pt x="9961708" y="5342"/>
                    <a:pt x="9975624" y="13465"/>
                  </a:cubicBezTo>
                  <a:lnTo>
                    <a:pt x="9970977" y="77229"/>
                  </a:lnTo>
                  <a:close/>
                  <a:moveTo>
                    <a:pt x="9292942" y="342661"/>
                  </a:moveTo>
                  <a:cubicBezTo>
                    <a:pt x="9165430" y="342661"/>
                    <a:pt x="9097060" y="452780"/>
                    <a:pt x="9097060" y="589545"/>
                  </a:cubicBezTo>
                  <a:cubicBezTo>
                    <a:pt x="9097060" y="726310"/>
                    <a:pt x="9165430" y="836446"/>
                    <a:pt x="9292942" y="836446"/>
                  </a:cubicBezTo>
                  <a:cubicBezTo>
                    <a:pt x="9420454" y="836446"/>
                    <a:pt x="9488825" y="726302"/>
                    <a:pt x="9488825" y="589545"/>
                  </a:cubicBezTo>
                  <a:cubicBezTo>
                    <a:pt x="9488825" y="452788"/>
                    <a:pt x="9420431" y="342661"/>
                    <a:pt x="9292942" y="342661"/>
                  </a:cubicBezTo>
                  <a:close/>
                  <a:moveTo>
                    <a:pt x="9292942" y="899048"/>
                  </a:moveTo>
                  <a:cubicBezTo>
                    <a:pt x="9101682" y="899048"/>
                    <a:pt x="9017048" y="750666"/>
                    <a:pt x="9017048" y="589545"/>
                  </a:cubicBezTo>
                  <a:cubicBezTo>
                    <a:pt x="9017048" y="428424"/>
                    <a:pt x="9101682" y="280066"/>
                    <a:pt x="9292942" y="280066"/>
                  </a:cubicBezTo>
                  <a:cubicBezTo>
                    <a:pt x="9484202" y="280066"/>
                    <a:pt x="9568813" y="428416"/>
                    <a:pt x="9568813" y="589545"/>
                  </a:cubicBezTo>
                  <a:cubicBezTo>
                    <a:pt x="9568813" y="750674"/>
                    <a:pt x="9484179" y="899040"/>
                    <a:pt x="9292942" y="899040"/>
                  </a:cubicBezTo>
                  <a:close/>
                  <a:moveTo>
                    <a:pt x="8381940" y="342661"/>
                  </a:moveTo>
                  <a:cubicBezTo>
                    <a:pt x="8274144" y="342661"/>
                    <a:pt x="8208089" y="450432"/>
                    <a:pt x="8208089" y="547813"/>
                  </a:cubicBezTo>
                  <a:lnTo>
                    <a:pt x="8532661" y="547813"/>
                  </a:lnTo>
                  <a:cubicBezTo>
                    <a:pt x="8532661" y="444656"/>
                    <a:pt x="8490929" y="342661"/>
                    <a:pt x="8381956" y="342661"/>
                  </a:cubicBezTo>
                  <a:close/>
                  <a:moveTo>
                    <a:pt x="8208089" y="610407"/>
                  </a:moveTo>
                  <a:cubicBezTo>
                    <a:pt x="8208089" y="735596"/>
                    <a:pt x="8275306" y="836446"/>
                    <a:pt x="8402826" y="836446"/>
                  </a:cubicBezTo>
                  <a:cubicBezTo>
                    <a:pt x="8456143" y="836446"/>
                    <a:pt x="8533791" y="814414"/>
                    <a:pt x="8568569" y="792382"/>
                  </a:cubicBezTo>
                  <a:lnTo>
                    <a:pt x="8568569" y="866545"/>
                  </a:lnTo>
                  <a:cubicBezTo>
                    <a:pt x="8517591" y="887415"/>
                    <a:pt x="8451496" y="899032"/>
                    <a:pt x="8397025" y="899032"/>
                  </a:cubicBezTo>
                  <a:cubicBezTo>
                    <a:pt x="8201119" y="899032"/>
                    <a:pt x="8128125" y="766889"/>
                    <a:pt x="8128125" y="589529"/>
                  </a:cubicBezTo>
                  <a:cubicBezTo>
                    <a:pt x="8128125" y="408708"/>
                    <a:pt x="8227781" y="280050"/>
                    <a:pt x="8377333" y="280050"/>
                  </a:cubicBezTo>
                  <a:cubicBezTo>
                    <a:pt x="8544230" y="280050"/>
                    <a:pt x="8612624" y="414484"/>
                    <a:pt x="8612624" y="573274"/>
                  </a:cubicBezTo>
                  <a:lnTo>
                    <a:pt x="8612624" y="610383"/>
                  </a:lnTo>
                  <a:close/>
                  <a:moveTo>
                    <a:pt x="7921843" y="342661"/>
                  </a:moveTo>
                  <a:cubicBezTo>
                    <a:pt x="7779237" y="342661"/>
                    <a:pt x="7699274" y="445810"/>
                    <a:pt x="7699274" y="589545"/>
                  </a:cubicBezTo>
                  <a:cubicBezTo>
                    <a:pt x="7699274" y="724003"/>
                    <a:pt x="7780415" y="836446"/>
                    <a:pt x="7913720" y="836446"/>
                  </a:cubicBezTo>
                  <a:cubicBezTo>
                    <a:pt x="7960075" y="836446"/>
                    <a:pt x="8002960" y="826030"/>
                    <a:pt x="8047008" y="809767"/>
                  </a:cubicBezTo>
                  <a:lnTo>
                    <a:pt x="8053978" y="878178"/>
                  </a:lnTo>
                  <a:cubicBezTo>
                    <a:pt x="8004130" y="895547"/>
                    <a:pt x="7957775" y="899048"/>
                    <a:pt x="7902127" y="899048"/>
                  </a:cubicBezTo>
                  <a:cubicBezTo>
                    <a:pt x="7712045" y="899048"/>
                    <a:pt x="7619319" y="754119"/>
                    <a:pt x="7619319" y="589545"/>
                  </a:cubicBezTo>
                  <a:cubicBezTo>
                    <a:pt x="7619319" y="407554"/>
                    <a:pt x="7736392" y="280066"/>
                    <a:pt x="7911428" y="280066"/>
                  </a:cubicBezTo>
                  <a:cubicBezTo>
                    <a:pt x="7982122" y="280066"/>
                    <a:pt x="8033148" y="296282"/>
                    <a:pt x="8054034" y="303228"/>
                  </a:cubicBezTo>
                  <a:lnTo>
                    <a:pt x="8048242" y="372768"/>
                  </a:lnTo>
                  <a:cubicBezTo>
                    <a:pt x="8008809" y="355399"/>
                    <a:pt x="7961284" y="342661"/>
                    <a:pt x="7921899" y="342661"/>
                  </a:cubicBezTo>
                  <a:close/>
                  <a:moveTo>
                    <a:pt x="7413005" y="885124"/>
                  </a:moveTo>
                  <a:lnTo>
                    <a:pt x="7413005" y="525773"/>
                  </a:lnTo>
                  <a:cubicBezTo>
                    <a:pt x="7413005" y="414500"/>
                    <a:pt x="7373596" y="342661"/>
                    <a:pt x="7272746" y="342661"/>
                  </a:cubicBezTo>
                  <a:cubicBezTo>
                    <a:pt x="7139458" y="342661"/>
                    <a:pt x="7097726" y="459726"/>
                    <a:pt x="7097726" y="558252"/>
                  </a:cubicBezTo>
                  <a:lnTo>
                    <a:pt x="7097726" y="885124"/>
                  </a:lnTo>
                  <a:lnTo>
                    <a:pt x="7024708" y="885124"/>
                  </a:lnTo>
                  <a:lnTo>
                    <a:pt x="7024708" y="433063"/>
                  </a:lnTo>
                  <a:cubicBezTo>
                    <a:pt x="7024708" y="387862"/>
                    <a:pt x="7024708" y="341507"/>
                    <a:pt x="7020062" y="293982"/>
                  </a:cubicBezTo>
                  <a:lnTo>
                    <a:pt x="7090756" y="293982"/>
                  </a:lnTo>
                  <a:lnTo>
                    <a:pt x="7090756" y="399431"/>
                  </a:lnTo>
                  <a:lnTo>
                    <a:pt x="7093103" y="399431"/>
                  </a:lnTo>
                  <a:cubicBezTo>
                    <a:pt x="7117418" y="346130"/>
                    <a:pt x="7161474" y="280058"/>
                    <a:pt x="7284363" y="280058"/>
                  </a:cubicBezTo>
                  <a:cubicBezTo>
                    <a:pt x="7430422" y="280058"/>
                    <a:pt x="7486046" y="377431"/>
                    <a:pt x="7486046" y="507250"/>
                  </a:cubicBezTo>
                  <a:lnTo>
                    <a:pt x="7486046" y="885116"/>
                  </a:lnTo>
                  <a:close/>
                  <a:moveTo>
                    <a:pt x="6660783" y="342661"/>
                  </a:moveTo>
                  <a:cubicBezTo>
                    <a:pt x="6552979" y="342661"/>
                    <a:pt x="6486932" y="450432"/>
                    <a:pt x="6486932" y="547813"/>
                  </a:cubicBezTo>
                  <a:lnTo>
                    <a:pt x="6811464" y="547813"/>
                  </a:lnTo>
                  <a:cubicBezTo>
                    <a:pt x="6811464" y="444656"/>
                    <a:pt x="6769732" y="342661"/>
                    <a:pt x="6660807" y="342661"/>
                  </a:cubicBezTo>
                  <a:close/>
                  <a:moveTo>
                    <a:pt x="6486932" y="610407"/>
                  </a:moveTo>
                  <a:cubicBezTo>
                    <a:pt x="6486932" y="735596"/>
                    <a:pt x="6554157" y="836446"/>
                    <a:pt x="6681669" y="836446"/>
                  </a:cubicBezTo>
                  <a:cubicBezTo>
                    <a:pt x="6734970" y="836446"/>
                    <a:pt x="6812634" y="814414"/>
                    <a:pt x="6847412" y="792382"/>
                  </a:cubicBezTo>
                  <a:lnTo>
                    <a:pt x="6847412" y="866545"/>
                  </a:lnTo>
                  <a:cubicBezTo>
                    <a:pt x="6796419" y="887415"/>
                    <a:pt x="6730347" y="899032"/>
                    <a:pt x="6675869" y="899032"/>
                  </a:cubicBezTo>
                  <a:cubicBezTo>
                    <a:pt x="6479970" y="899032"/>
                    <a:pt x="6406969" y="766889"/>
                    <a:pt x="6406969" y="589529"/>
                  </a:cubicBezTo>
                  <a:cubicBezTo>
                    <a:pt x="6406969" y="408708"/>
                    <a:pt x="6506624" y="280050"/>
                    <a:pt x="6656128" y="280050"/>
                  </a:cubicBezTo>
                  <a:cubicBezTo>
                    <a:pt x="6823041" y="280050"/>
                    <a:pt x="6891436" y="414484"/>
                    <a:pt x="6891436" y="573274"/>
                  </a:cubicBezTo>
                  <a:lnTo>
                    <a:pt x="6891436" y="610383"/>
                  </a:lnTo>
                  <a:close/>
                  <a:moveTo>
                    <a:pt x="6199429" y="38950"/>
                  </a:moveTo>
                  <a:lnTo>
                    <a:pt x="6272494" y="38950"/>
                  </a:lnTo>
                  <a:lnTo>
                    <a:pt x="6272494" y="136339"/>
                  </a:lnTo>
                  <a:lnTo>
                    <a:pt x="6199429" y="136339"/>
                  </a:lnTo>
                  <a:lnTo>
                    <a:pt x="6199429" y="38950"/>
                  </a:lnTo>
                  <a:close/>
                  <a:moveTo>
                    <a:pt x="6199429" y="885124"/>
                  </a:moveTo>
                  <a:lnTo>
                    <a:pt x="6199429" y="293982"/>
                  </a:lnTo>
                  <a:lnTo>
                    <a:pt x="6272494" y="293982"/>
                  </a:lnTo>
                  <a:lnTo>
                    <a:pt x="6272494" y="885124"/>
                  </a:lnTo>
                  <a:close/>
                  <a:moveTo>
                    <a:pt x="5949116" y="342661"/>
                  </a:moveTo>
                  <a:cubicBezTo>
                    <a:pt x="5806510" y="342661"/>
                    <a:pt x="5726570" y="445810"/>
                    <a:pt x="5726570" y="589545"/>
                  </a:cubicBezTo>
                  <a:cubicBezTo>
                    <a:pt x="5726570" y="724003"/>
                    <a:pt x="5807687" y="836446"/>
                    <a:pt x="5940992" y="836446"/>
                  </a:cubicBezTo>
                  <a:cubicBezTo>
                    <a:pt x="5987347" y="836446"/>
                    <a:pt x="6030233" y="826030"/>
                    <a:pt x="6074280" y="809767"/>
                  </a:cubicBezTo>
                  <a:lnTo>
                    <a:pt x="6081250" y="878178"/>
                  </a:lnTo>
                  <a:cubicBezTo>
                    <a:pt x="6031402" y="895547"/>
                    <a:pt x="5985048" y="899040"/>
                    <a:pt x="5929399" y="899040"/>
                  </a:cubicBezTo>
                  <a:cubicBezTo>
                    <a:pt x="5739317" y="899040"/>
                    <a:pt x="5646591" y="754111"/>
                    <a:pt x="5646591" y="589537"/>
                  </a:cubicBezTo>
                  <a:cubicBezTo>
                    <a:pt x="5646591" y="407546"/>
                    <a:pt x="5763688" y="280058"/>
                    <a:pt x="5938701" y="280058"/>
                  </a:cubicBezTo>
                  <a:cubicBezTo>
                    <a:pt x="6009419" y="280058"/>
                    <a:pt x="6060420" y="296274"/>
                    <a:pt x="6081306" y="303220"/>
                  </a:cubicBezTo>
                  <a:lnTo>
                    <a:pt x="6075514" y="372760"/>
                  </a:lnTo>
                  <a:cubicBezTo>
                    <a:pt x="6036081" y="355391"/>
                    <a:pt x="5988581" y="342653"/>
                    <a:pt x="5949172" y="342653"/>
                  </a:cubicBezTo>
                  <a:close/>
                  <a:moveTo>
                    <a:pt x="5347551" y="131708"/>
                  </a:moveTo>
                  <a:cubicBezTo>
                    <a:pt x="5264087" y="131708"/>
                    <a:pt x="5172555" y="166470"/>
                    <a:pt x="5172555" y="270789"/>
                  </a:cubicBezTo>
                  <a:cubicBezTo>
                    <a:pt x="5172555" y="433063"/>
                    <a:pt x="5543434" y="434225"/>
                    <a:pt x="5543434" y="670678"/>
                  </a:cubicBezTo>
                  <a:cubicBezTo>
                    <a:pt x="5543442" y="834146"/>
                    <a:pt x="5403192" y="899040"/>
                    <a:pt x="5278003" y="899040"/>
                  </a:cubicBezTo>
                  <a:cubicBezTo>
                    <a:pt x="5199193" y="899040"/>
                    <a:pt x="5137800" y="882792"/>
                    <a:pt x="5094890" y="864254"/>
                  </a:cubicBezTo>
                  <a:lnTo>
                    <a:pt x="5103006" y="781943"/>
                  </a:lnTo>
                  <a:cubicBezTo>
                    <a:pt x="5150515" y="812082"/>
                    <a:pt x="5206163" y="829467"/>
                    <a:pt x="5281504" y="829467"/>
                  </a:cubicBezTo>
                  <a:cubicBezTo>
                    <a:pt x="5381176" y="829467"/>
                    <a:pt x="5463463" y="778474"/>
                    <a:pt x="5463463" y="663700"/>
                  </a:cubicBezTo>
                  <a:cubicBezTo>
                    <a:pt x="5463463" y="504927"/>
                    <a:pt x="5092567" y="485210"/>
                    <a:pt x="5092567" y="273104"/>
                  </a:cubicBezTo>
                  <a:cubicBezTo>
                    <a:pt x="5092567" y="143269"/>
                    <a:pt x="5206163" y="62136"/>
                    <a:pt x="5348721" y="62136"/>
                  </a:cubicBezTo>
                  <a:cubicBezTo>
                    <a:pt x="5388146" y="62136"/>
                    <a:pt x="5451870" y="67928"/>
                    <a:pt x="5507494" y="88798"/>
                  </a:cubicBezTo>
                  <a:lnTo>
                    <a:pt x="5494756" y="161831"/>
                  </a:lnTo>
                  <a:cubicBezTo>
                    <a:pt x="5458824" y="142099"/>
                    <a:pt x="5402046" y="131700"/>
                    <a:pt x="5347551" y="131700"/>
                  </a:cubicBezTo>
                  <a:close/>
                  <a:moveTo>
                    <a:pt x="4231388" y="482895"/>
                  </a:moveTo>
                  <a:cubicBezTo>
                    <a:pt x="4154901" y="513027"/>
                    <a:pt x="4079561" y="580252"/>
                    <a:pt x="4079561" y="669565"/>
                  </a:cubicBezTo>
                  <a:cubicBezTo>
                    <a:pt x="4079561" y="779684"/>
                    <a:pt x="4169963" y="836477"/>
                    <a:pt x="4267320" y="836477"/>
                  </a:cubicBezTo>
                  <a:cubicBezTo>
                    <a:pt x="4340337" y="836477"/>
                    <a:pt x="4420341" y="799376"/>
                    <a:pt x="4466680" y="742574"/>
                  </a:cubicBezTo>
                  <a:lnTo>
                    <a:pt x="4231388" y="482927"/>
                  </a:lnTo>
                  <a:close/>
                  <a:moveTo>
                    <a:pt x="4413379" y="241803"/>
                  </a:moveTo>
                  <a:cubicBezTo>
                    <a:pt x="4413379" y="165293"/>
                    <a:pt x="4367024" y="124738"/>
                    <a:pt x="4298605" y="124738"/>
                  </a:cubicBezTo>
                  <a:cubicBezTo>
                    <a:pt x="4230186" y="124738"/>
                    <a:pt x="4165316" y="164147"/>
                    <a:pt x="4165316" y="242981"/>
                  </a:cubicBezTo>
                  <a:cubicBezTo>
                    <a:pt x="4165316" y="306721"/>
                    <a:pt x="4212873" y="358876"/>
                    <a:pt x="4256881" y="407554"/>
                  </a:cubicBezTo>
                  <a:cubicBezTo>
                    <a:pt x="4327591" y="373906"/>
                    <a:pt x="4413379" y="336836"/>
                    <a:pt x="4413379" y="241803"/>
                  </a:cubicBezTo>
                  <a:close/>
                  <a:moveTo>
                    <a:pt x="4698518" y="882800"/>
                  </a:moveTo>
                  <a:lnTo>
                    <a:pt x="4596539" y="882800"/>
                  </a:lnTo>
                  <a:lnTo>
                    <a:pt x="4510751" y="792398"/>
                  </a:lnTo>
                  <a:cubicBezTo>
                    <a:pt x="4444664" y="866561"/>
                    <a:pt x="4360078" y="899048"/>
                    <a:pt x="4264996" y="899048"/>
                  </a:cubicBezTo>
                  <a:cubicBezTo>
                    <a:pt x="4128239" y="899048"/>
                    <a:pt x="3999573" y="829475"/>
                    <a:pt x="3999573" y="673002"/>
                  </a:cubicBezTo>
                  <a:cubicBezTo>
                    <a:pt x="3999573" y="548982"/>
                    <a:pt x="4083014" y="479418"/>
                    <a:pt x="4190833" y="437710"/>
                  </a:cubicBezTo>
                  <a:cubicBezTo>
                    <a:pt x="4140977" y="380892"/>
                    <a:pt x="4085353" y="319467"/>
                    <a:pt x="4085353" y="238334"/>
                  </a:cubicBezTo>
                  <a:cubicBezTo>
                    <a:pt x="4085353" y="122415"/>
                    <a:pt x="4196626" y="62144"/>
                    <a:pt x="4303268" y="62144"/>
                  </a:cubicBezTo>
                  <a:cubicBezTo>
                    <a:pt x="4399455" y="62144"/>
                    <a:pt x="4493334" y="115469"/>
                    <a:pt x="4493334" y="229065"/>
                  </a:cubicBezTo>
                  <a:cubicBezTo>
                    <a:pt x="4493334" y="355399"/>
                    <a:pt x="4395978" y="400608"/>
                    <a:pt x="4298597" y="449286"/>
                  </a:cubicBezTo>
                  <a:lnTo>
                    <a:pt x="4511897" y="686902"/>
                  </a:lnTo>
                  <a:cubicBezTo>
                    <a:pt x="4562874" y="613900"/>
                    <a:pt x="4581437" y="528120"/>
                    <a:pt x="4581437" y="441163"/>
                  </a:cubicBezTo>
                  <a:lnTo>
                    <a:pt x="4650986" y="441163"/>
                  </a:lnTo>
                  <a:cubicBezTo>
                    <a:pt x="4650986" y="545489"/>
                    <a:pt x="4620846" y="652139"/>
                    <a:pt x="4560575" y="733249"/>
                  </a:cubicBezTo>
                  <a:lnTo>
                    <a:pt x="4698510" y="882800"/>
                  </a:lnTo>
                  <a:close/>
                  <a:moveTo>
                    <a:pt x="3535960" y="836446"/>
                  </a:moveTo>
                  <a:cubicBezTo>
                    <a:pt x="3563776" y="836446"/>
                    <a:pt x="3582339" y="830653"/>
                    <a:pt x="3603201" y="822529"/>
                  </a:cubicBezTo>
                  <a:lnTo>
                    <a:pt x="3607824" y="882800"/>
                  </a:lnTo>
                  <a:cubicBezTo>
                    <a:pt x="3590455" y="889754"/>
                    <a:pt x="3554523" y="899048"/>
                    <a:pt x="3518591" y="899048"/>
                  </a:cubicBezTo>
                  <a:cubicBezTo>
                    <a:pt x="3388804" y="899048"/>
                    <a:pt x="3384109" y="809767"/>
                    <a:pt x="3384109" y="701963"/>
                  </a:cubicBezTo>
                  <a:lnTo>
                    <a:pt x="3384109" y="356577"/>
                  </a:lnTo>
                  <a:lnTo>
                    <a:pt x="3268213" y="356577"/>
                  </a:lnTo>
                  <a:lnTo>
                    <a:pt x="3268213" y="293982"/>
                  </a:lnTo>
                  <a:lnTo>
                    <a:pt x="3384109" y="293982"/>
                  </a:lnTo>
                  <a:lnTo>
                    <a:pt x="3384109" y="151376"/>
                  </a:lnTo>
                  <a:lnTo>
                    <a:pt x="3457150" y="125884"/>
                  </a:lnTo>
                  <a:lnTo>
                    <a:pt x="3457150" y="293958"/>
                  </a:lnTo>
                  <a:lnTo>
                    <a:pt x="3591584" y="293958"/>
                  </a:lnTo>
                  <a:lnTo>
                    <a:pt x="3591584" y="356553"/>
                  </a:lnTo>
                  <a:lnTo>
                    <a:pt x="3457150" y="356553"/>
                  </a:lnTo>
                  <a:lnTo>
                    <a:pt x="3457150" y="739049"/>
                  </a:lnTo>
                  <a:cubicBezTo>
                    <a:pt x="3457150" y="792374"/>
                    <a:pt x="3476859" y="836421"/>
                    <a:pt x="3535960" y="836421"/>
                  </a:cubicBezTo>
                  <a:close/>
                  <a:moveTo>
                    <a:pt x="3176673" y="356553"/>
                  </a:moveTo>
                  <a:cubicBezTo>
                    <a:pt x="3060778" y="356553"/>
                    <a:pt x="3029469" y="486340"/>
                    <a:pt x="3029469" y="593014"/>
                  </a:cubicBezTo>
                  <a:lnTo>
                    <a:pt x="3029469" y="885100"/>
                  </a:lnTo>
                  <a:lnTo>
                    <a:pt x="2956451" y="885100"/>
                  </a:lnTo>
                  <a:lnTo>
                    <a:pt x="2956451" y="426117"/>
                  </a:lnTo>
                  <a:cubicBezTo>
                    <a:pt x="2956451" y="361223"/>
                    <a:pt x="2956451" y="336836"/>
                    <a:pt x="2951789" y="293982"/>
                  </a:cubicBezTo>
                  <a:lnTo>
                    <a:pt x="3024822" y="293982"/>
                  </a:lnTo>
                  <a:lnTo>
                    <a:pt x="3024822" y="407554"/>
                  </a:lnTo>
                  <a:lnTo>
                    <a:pt x="3027169" y="407554"/>
                  </a:lnTo>
                  <a:cubicBezTo>
                    <a:pt x="3053808" y="341507"/>
                    <a:pt x="3103656" y="280066"/>
                    <a:pt x="3178997" y="280066"/>
                  </a:cubicBezTo>
                  <a:cubicBezTo>
                    <a:pt x="3196366" y="280066"/>
                    <a:pt x="3217236" y="283535"/>
                    <a:pt x="3229974" y="287036"/>
                  </a:cubicBezTo>
                  <a:lnTo>
                    <a:pt x="3229974" y="363523"/>
                  </a:lnTo>
                  <a:cubicBezTo>
                    <a:pt x="3214929" y="358876"/>
                    <a:pt x="3195220" y="356577"/>
                    <a:pt x="3176673" y="356577"/>
                  </a:cubicBezTo>
                  <a:close/>
                  <a:moveTo>
                    <a:pt x="2483569" y="152546"/>
                  </a:moveTo>
                  <a:lnTo>
                    <a:pt x="2307402" y="598790"/>
                  </a:lnTo>
                  <a:lnTo>
                    <a:pt x="2658589" y="598790"/>
                  </a:lnTo>
                  <a:lnTo>
                    <a:pt x="2483569" y="152546"/>
                  </a:lnTo>
                  <a:close/>
                  <a:moveTo>
                    <a:pt x="2772185" y="885100"/>
                  </a:moveTo>
                  <a:lnTo>
                    <a:pt x="2685252" y="668355"/>
                  </a:lnTo>
                  <a:lnTo>
                    <a:pt x="2277247" y="668355"/>
                  </a:lnTo>
                  <a:lnTo>
                    <a:pt x="2190297" y="885100"/>
                  </a:lnTo>
                  <a:lnTo>
                    <a:pt x="2112665" y="885100"/>
                  </a:lnTo>
                  <a:lnTo>
                    <a:pt x="2444168" y="76036"/>
                  </a:lnTo>
                  <a:lnTo>
                    <a:pt x="2534570" y="76036"/>
                  </a:lnTo>
                  <a:lnTo>
                    <a:pt x="2855650" y="885100"/>
                  </a:lnTo>
                  <a:close/>
                  <a:moveTo>
                    <a:pt x="1508762" y="342637"/>
                  </a:moveTo>
                  <a:cubicBezTo>
                    <a:pt x="1400950" y="342637"/>
                    <a:pt x="1334911" y="450408"/>
                    <a:pt x="1334911" y="547789"/>
                  </a:cubicBezTo>
                  <a:lnTo>
                    <a:pt x="1659451" y="547789"/>
                  </a:lnTo>
                  <a:cubicBezTo>
                    <a:pt x="1659451" y="444632"/>
                    <a:pt x="1617727" y="342637"/>
                    <a:pt x="1508778" y="342637"/>
                  </a:cubicBezTo>
                  <a:close/>
                  <a:moveTo>
                    <a:pt x="1334911" y="610383"/>
                  </a:moveTo>
                  <a:cubicBezTo>
                    <a:pt x="1334911" y="735572"/>
                    <a:pt x="1402128" y="836421"/>
                    <a:pt x="1529640" y="836421"/>
                  </a:cubicBezTo>
                  <a:cubicBezTo>
                    <a:pt x="1582948" y="836421"/>
                    <a:pt x="1660613" y="814390"/>
                    <a:pt x="1695391" y="792358"/>
                  </a:cubicBezTo>
                  <a:lnTo>
                    <a:pt x="1695391" y="866521"/>
                  </a:lnTo>
                  <a:cubicBezTo>
                    <a:pt x="1644381" y="887391"/>
                    <a:pt x="1578318" y="899008"/>
                    <a:pt x="1523847" y="899008"/>
                  </a:cubicBezTo>
                  <a:cubicBezTo>
                    <a:pt x="1327956" y="899008"/>
                    <a:pt x="1254915" y="766865"/>
                    <a:pt x="1254915" y="589505"/>
                  </a:cubicBezTo>
                  <a:cubicBezTo>
                    <a:pt x="1254915" y="408684"/>
                    <a:pt x="1354611" y="280026"/>
                    <a:pt x="1504147" y="280026"/>
                  </a:cubicBezTo>
                  <a:cubicBezTo>
                    <a:pt x="1671060" y="280026"/>
                    <a:pt x="1739447" y="414460"/>
                    <a:pt x="1739447" y="573249"/>
                  </a:cubicBezTo>
                  <a:lnTo>
                    <a:pt x="1739447" y="610359"/>
                  </a:lnTo>
                  <a:close/>
                  <a:moveTo>
                    <a:pt x="1048633" y="885100"/>
                  </a:moveTo>
                  <a:lnTo>
                    <a:pt x="1048633" y="532743"/>
                  </a:lnTo>
                  <a:cubicBezTo>
                    <a:pt x="1048633" y="430740"/>
                    <a:pt x="1028933" y="342661"/>
                    <a:pt x="908375" y="342661"/>
                  </a:cubicBezTo>
                  <a:cubicBezTo>
                    <a:pt x="778587" y="342661"/>
                    <a:pt x="733346" y="465526"/>
                    <a:pt x="733346" y="568675"/>
                  </a:cubicBezTo>
                  <a:lnTo>
                    <a:pt x="733346" y="885132"/>
                  </a:lnTo>
                  <a:lnTo>
                    <a:pt x="660393" y="885132"/>
                  </a:lnTo>
                  <a:lnTo>
                    <a:pt x="660393" y="15789"/>
                  </a:lnTo>
                  <a:lnTo>
                    <a:pt x="733402" y="15789"/>
                  </a:lnTo>
                  <a:lnTo>
                    <a:pt x="733402" y="393638"/>
                  </a:lnTo>
                  <a:lnTo>
                    <a:pt x="735734" y="393638"/>
                  </a:lnTo>
                  <a:cubicBezTo>
                    <a:pt x="767043" y="328745"/>
                    <a:pt x="833098" y="280066"/>
                    <a:pt x="920039" y="280066"/>
                  </a:cubicBezTo>
                  <a:cubicBezTo>
                    <a:pt x="1078837" y="280066"/>
                    <a:pt x="1121731" y="385539"/>
                    <a:pt x="1121731" y="531573"/>
                  </a:cubicBezTo>
                  <a:lnTo>
                    <a:pt x="1121731" y="885124"/>
                  </a:lnTo>
                  <a:close/>
                  <a:moveTo>
                    <a:pt x="325373" y="145576"/>
                  </a:moveTo>
                  <a:lnTo>
                    <a:pt x="325373" y="885100"/>
                  </a:lnTo>
                  <a:lnTo>
                    <a:pt x="245410" y="885100"/>
                  </a:lnTo>
                  <a:lnTo>
                    <a:pt x="245410" y="145600"/>
                  </a:lnTo>
                  <a:lnTo>
                    <a:pt x="6649" y="145600"/>
                  </a:lnTo>
                  <a:lnTo>
                    <a:pt x="6649" y="76060"/>
                  </a:lnTo>
                  <a:lnTo>
                    <a:pt x="564190" y="76060"/>
                  </a:lnTo>
                  <a:lnTo>
                    <a:pt x="564190" y="145600"/>
                  </a:lnTo>
                  <a:close/>
                </a:path>
              </a:pathLst>
            </a:custGeom>
            <a:grpFill/>
            <a:ln w="801" cap="flat">
              <a:noFill/>
              <a:prstDash val="solid"/>
              <a:miter/>
            </a:ln>
          </p:spPr>
          <p:txBody>
            <a:bodyPr rtlCol="0" anchor="ctr"/>
            <a:lstStyle/>
            <a:p>
              <a:endParaRPr lang="fr-BE"/>
            </a:p>
          </p:txBody>
        </p:sp>
        <p:sp>
          <p:nvSpPr>
            <p:cNvPr id="7" name="Forme libre : forme 24">
              <a:extLst>
                <a:ext uri="{FF2B5EF4-FFF2-40B4-BE49-F238E27FC236}">
                  <a16:creationId xmlns:a16="http://schemas.microsoft.com/office/drawing/2014/main" id="{97546D95-3040-429A-8252-7B1A28ACC9A3}"/>
                </a:ext>
              </a:extLst>
            </p:cNvPr>
            <p:cNvSpPr/>
            <p:nvPr/>
          </p:nvSpPr>
          <p:spPr>
            <a:xfrm>
              <a:off x="-786557" y="8253511"/>
              <a:ext cx="12106540" cy="2183968"/>
            </a:xfrm>
            <a:custGeom>
              <a:avLst/>
              <a:gdLst>
                <a:gd name="connsiteX0" fmla="*/ 1817527 w 12106540"/>
                <a:gd name="connsiteY0" fmla="*/ 17639 h 2183968"/>
                <a:gd name="connsiteX1" fmla="*/ 2709919 w 12106540"/>
                <a:gd name="connsiteY1" fmla="*/ 219996 h 2183968"/>
                <a:gd name="connsiteX2" fmla="*/ 2399495 w 12106540"/>
                <a:gd name="connsiteY2" fmla="*/ 553709 h 2183968"/>
                <a:gd name="connsiteX3" fmla="*/ 1554275 w 12106540"/>
                <a:gd name="connsiteY3" fmla="*/ 421102 h 2183968"/>
                <a:gd name="connsiteX4" fmla="*/ 1093835 w 12106540"/>
                <a:gd name="connsiteY4" fmla="*/ 615663 h 2183968"/>
                <a:gd name="connsiteX5" fmla="*/ 2590034 w 12106540"/>
                <a:gd name="connsiteY5" fmla="*/ 1477163 h 2183968"/>
                <a:gd name="connsiteX6" fmla="*/ 1357920 w 12106540"/>
                <a:gd name="connsiteY6" fmla="*/ 2178888 h 2183968"/>
                <a:gd name="connsiteX7" fmla="*/ 6649 w 12106540"/>
                <a:gd name="connsiteY7" fmla="*/ 1870266 h 2183968"/>
                <a:gd name="connsiteX8" fmla="*/ 177127 w 12106540"/>
                <a:gd name="connsiteY8" fmla="*/ 1601366 h 2183968"/>
                <a:gd name="connsiteX9" fmla="*/ 315383 w 12106540"/>
                <a:gd name="connsiteY9" fmla="*/ 1540622 h 2183968"/>
                <a:gd name="connsiteX10" fmla="*/ 1266003 w 12106540"/>
                <a:gd name="connsiteY10" fmla="*/ 1757896 h 2183968"/>
                <a:gd name="connsiteX11" fmla="*/ 1878047 w 12106540"/>
                <a:gd name="connsiteY11" fmla="*/ 1547704 h 2183968"/>
                <a:gd name="connsiteX12" fmla="*/ 435781 w 12106540"/>
                <a:gd name="connsiteY12" fmla="*/ 659750 h 2183968"/>
                <a:gd name="connsiteX13" fmla="*/ 1817559 w 12106540"/>
                <a:gd name="connsiteY13" fmla="*/ 17639 h 2183968"/>
                <a:gd name="connsiteX14" fmla="*/ 5541880 w 12106540"/>
                <a:gd name="connsiteY14" fmla="*/ 339584 h 2183968"/>
                <a:gd name="connsiteX15" fmla="*/ 5124069 w 12106540"/>
                <a:gd name="connsiteY15" fmla="*/ 641084 h 2183968"/>
                <a:gd name="connsiteX16" fmla="*/ 4293630 w 12106540"/>
                <a:gd name="connsiteY16" fmla="*/ 471959 h 2183968"/>
                <a:gd name="connsiteX17" fmla="*/ 3500028 w 12106540"/>
                <a:gd name="connsiteY17" fmla="*/ 1112949 h 2183968"/>
                <a:gd name="connsiteX18" fmla="*/ 4294295 w 12106540"/>
                <a:gd name="connsiteY18" fmla="*/ 1709266 h 2183968"/>
                <a:gd name="connsiteX19" fmla="*/ 6285970 w 12106540"/>
                <a:gd name="connsiteY19" fmla="*/ 463467 h 2183968"/>
                <a:gd name="connsiteX20" fmla="*/ 7656116 w 12106540"/>
                <a:gd name="connsiteY20" fmla="*/ 1889 h 2183968"/>
                <a:gd name="connsiteX21" fmla="*/ 9088663 w 12106540"/>
                <a:gd name="connsiteY21" fmla="*/ 1112925 h 2183968"/>
                <a:gd name="connsiteX22" fmla="*/ 7660522 w 12106540"/>
                <a:gd name="connsiteY22" fmla="*/ 2185858 h 2183968"/>
                <a:gd name="connsiteX23" fmla="*/ 6096064 w 12106540"/>
                <a:gd name="connsiteY23" fmla="*/ 1561236 h 2183968"/>
                <a:gd name="connsiteX24" fmla="*/ 6461199 w 12106540"/>
                <a:gd name="connsiteY24" fmla="*/ 1232329 h 2183968"/>
                <a:gd name="connsiteX25" fmla="*/ 7621963 w 12106540"/>
                <a:gd name="connsiteY25" fmla="*/ 1709266 h 2183968"/>
                <a:gd name="connsiteX26" fmla="*/ 8449349 w 12106540"/>
                <a:gd name="connsiteY26" fmla="*/ 1112949 h 2183968"/>
                <a:gd name="connsiteX27" fmla="*/ 7656436 w 12106540"/>
                <a:gd name="connsiteY27" fmla="*/ 471959 h 2183968"/>
                <a:gd name="connsiteX28" fmla="*/ 4297451 w 12106540"/>
                <a:gd name="connsiteY28" fmla="*/ 2178872 h 2183968"/>
                <a:gd name="connsiteX29" fmla="*/ 2858141 w 12106540"/>
                <a:gd name="connsiteY29" fmla="*/ 1209152 h 2183968"/>
                <a:gd name="connsiteX30" fmla="*/ 2858141 w 12106540"/>
                <a:gd name="connsiteY30" fmla="*/ 1027145 h 2183968"/>
                <a:gd name="connsiteX31" fmla="*/ 4317048 w 12106540"/>
                <a:gd name="connsiteY31" fmla="*/ 1913 h 2183968"/>
                <a:gd name="connsiteX32" fmla="*/ 5541912 w 12106540"/>
                <a:gd name="connsiteY32" fmla="*/ 339584 h 2183968"/>
                <a:gd name="connsiteX33" fmla="*/ 11334842 w 12106540"/>
                <a:gd name="connsiteY33" fmla="*/ 2127766 h 2183968"/>
                <a:gd name="connsiteX34" fmla="*/ 11045520 w 12106540"/>
                <a:gd name="connsiteY34" fmla="*/ 1920675 h 2183968"/>
                <a:gd name="connsiteX35" fmla="*/ 10375930 w 12106540"/>
                <a:gd name="connsiteY35" fmla="*/ 1108086 h 2183968"/>
                <a:gd name="connsiteX36" fmla="*/ 11480516 w 12106540"/>
                <a:gd name="connsiteY36" fmla="*/ 670702 h 2183968"/>
                <a:gd name="connsiteX37" fmla="*/ 10929641 w 12106540"/>
                <a:gd name="connsiteY37" fmla="*/ 419059 h 2183968"/>
                <a:gd name="connsiteX38" fmla="*/ 10098626 w 12106540"/>
                <a:gd name="connsiteY38" fmla="*/ 1123011 h 2183968"/>
                <a:gd name="connsiteX39" fmla="*/ 9779148 w 12106540"/>
                <a:gd name="connsiteY39" fmla="*/ 2142018 h 2183968"/>
                <a:gd name="connsiteX40" fmla="*/ 9150385 w 12106540"/>
                <a:gd name="connsiteY40" fmla="*/ 2142018 h 2183968"/>
                <a:gd name="connsiteX41" fmla="*/ 9474348 w 12106540"/>
                <a:gd name="connsiteY41" fmla="*/ 1112380 h 2183968"/>
                <a:gd name="connsiteX42" fmla="*/ 10977422 w 12106540"/>
                <a:gd name="connsiteY42" fmla="*/ 1913 h 2183968"/>
                <a:gd name="connsiteX43" fmla="*/ 12113190 w 12106540"/>
                <a:gd name="connsiteY43" fmla="*/ 602988 h 2183968"/>
                <a:gd name="connsiteX44" fmla="*/ 11137950 w 12106540"/>
                <a:gd name="connsiteY44" fmla="*/ 1304105 h 2183968"/>
                <a:gd name="connsiteX45" fmla="*/ 11974357 w 12106540"/>
                <a:gd name="connsiteY45" fmla="*/ 2142018 h 2183968"/>
                <a:gd name="connsiteX46" fmla="*/ 11447725 w 12106540"/>
                <a:gd name="connsiteY46" fmla="*/ 2142018 h 2183968"/>
                <a:gd name="connsiteX47" fmla="*/ 11334842 w 12106540"/>
                <a:gd name="connsiteY47" fmla="*/ 2127774 h 218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106540" h="2183968">
                  <a:moveTo>
                    <a:pt x="1817527" y="17639"/>
                  </a:moveTo>
                  <a:cubicBezTo>
                    <a:pt x="2181084" y="56095"/>
                    <a:pt x="2662459" y="205110"/>
                    <a:pt x="2709919" y="219996"/>
                  </a:cubicBezTo>
                  <a:cubicBezTo>
                    <a:pt x="2630797" y="359493"/>
                    <a:pt x="2565463" y="553709"/>
                    <a:pt x="2399495" y="553709"/>
                  </a:cubicBezTo>
                  <a:cubicBezTo>
                    <a:pt x="2276846" y="553709"/>
                    <a:pt x="1935209" y="421102"/>
                    <a:pt x="1554275" y="421102"/>
                  </a:cubicBezTo>
                  <a:cubicBezTo>
                    <a:pt x="1397593" y="421102"/>
                    <a:pt x="1093835" y="445185"/>
                    <a:pt x="1093835" y="615663"/>
                  </a:cubicBezTo>
                  <a:cubicBezTo>
                    <a:pt x="1093153" y="909687"/>
                    <a:pt x="2652981" y="818476"/>
                    <a:pt x="2590034" y="1477163"/>
                  </a:cubicBezTo>
                  <a:cubicBezTo>
                    <a:pt x="2552701" y="1872982"/>
                    <a:pt x="2043541" y="2178888"/>
                    <a:pt x="1357920" y="2178888"/>
                  </a:cubicBezTo>
                  <a:cubicBezTo>
                    <a:pt x="782273" y="2178888"/>
                    <a:pt x="216808" y="1980601"/>
                    <a:pt x="6649" y="1870266"/>
                  </a:cubicBezTo>
                  <a:cubicBezTo>
                    <a:pt x="66680" y="1775153"/>
                    <a:pt x="88832" y="1742081"/>
                    <a:pt x="177127" y="1601366"/>
                  </a:cubicBezTo>
                  <a:cubicBezTo>
                    <a:pt x="203237" y="1558905"/>
                    <a:pt x="252748" y="1534069"/>
                    <a:pt x="315383" y="1540622"/>
                  </a:cubicBezTo>
                  <a:cubicBezTo>
                    <a:pt x="402549" y="1549435"/>
                    <a:pt x="885373" y="1747497"/>
                    <a:pt x="1266003" y="1757896"/>
                  </a:cubicBezTo>
                  <a:cubicBezTo>
                    <a:pt x="1501703" y="1764601"/>
                    <a:pt x="1853403" y="1759178"/>
                    <a:pt x="1878047" y="1547704"/>
                  </a:cubicBezTo>
                  <a:cubicBezTo>
                    <a:pt x="1915805" y="1221377"/>
                    <a:pt x="435781" y="1302430"/>
                    <a:pt x="435781" y="659750"/>
                  </a:cubicBezTo>
                  <a:cubicBezTo>
                    <a:pt x="435781" y="328296"/>
                    <a:pt x="862533" y="-83651"/>
                    <a:pt x="1817559" y="17639"/>
                  </a:cubicBezTo>
                  <a:close/>
                  <a:moveTo>
                    <a:pt x="5541880" y="339584"/>
                  </a:moveTo>
                  <a:cubicBezTo>
                    <a:pt x="5376842" y="528144"/>
                    <a:pt x="5312413" y="641084"/>
                    <a:pt x="5124069" y="641084"/>
                  </a:cubicBezTo>
                  <a:cubicBezTo>
                    <a:pt x="4930870" y="641084"/>
                    <a:pt x="4776775" y="471959"/>
                    <a:pt x="4293630" y="471959"/>
                  </a:cubicBezTo>
                  <a:cubicBezTo>
                    <a:pt x="3804003" y="471959"/>
                    <a:pt x="3500028" y="757972"/>
                    <a:pt x="3500028" y="1112949"/>
                  </a:cubicBezTo>
                  <a:cubicBezTo>
                    <a:pt x="3500028" y="1600525"/>
                    <a:pt x="4056904" y="1709266"/>
                    <a:pt x="4294295" y="1709266"/>
                  </a:cubicBezTo>
                  <a:cubicBezTo>
                    <a:pt x="5033762" y="1709266"/>
                    <a:pt x="5737923" y="837335"/>
                    <a:pt x="6285970" y="463467"/>
                  </a:cubicBezTo>
                  <a:cubicBezTo>
                    <a:pt x="6654975" y="201753"/>
                    <a:pt x="7039105" y="1889"/>
                    <a:pt x="7656116" y="1889"/>
                  </a:cubicBezTo>
                  <a:cubicBezTo>
                    <a:pt x="8550110" y="1889"/>
                    <a:pt x="9088663" y="511841"/>
                    <a:pt x="9088663" y="1112925"/>
                  </a:cubicBezTo>
                  <a:cubicBezTo>
                    <a:pt x="9088663" y="1697336"/>
                    <a:pt x="8519922" y="2185858"/>
                    <a:pt x="7660522" y="2185858"/>
                  </a:cubicBezTo>
                  <a:cubicBezTo>
                    <a:pt x="6960760" y="2185858"/>
                    <a:pt x="6536043" y="1989158"/>
                    <a:pt x="6096064" y="1561236"/>
                  </a:cubicBezTo>
                  <a:lnTo>
                    <a:pt x="6461199" y="1232329"/>
                  </a:lnTo>
                  <a:cubicBezTo>
                    <a:pt x="6648669" y="1436151"/>
                    <a:pt x="7079091" y="1709266"/>
                    <a:pt x="7621963" y="1709266"/>
                  </a:cubicBezTo>
                  <a:cubicBezTo>
                    <a:pt x="8032667" y="1709266"/>
                    <a:pt x="8449349" y="1472997"/>
                    <a:pt x="8449349" y="1112949"/>
                  </a:cubicBezTo>
                  <a:cubicBezTo>
                    <a:pt x="8449349" y="746019"/>
                    <a:pt x="8141865" y="471959"/>
                    <a:pt x="7656436" y="471959"/>
                  </a:cubicBezTo>
                  <a:cubicBezTo>
                    <a:pt x="6427054" y="471959"/>
                    <a:pt x="5839413" y="2178872"/>
                    <a:pt x="4297451" y="2178872"/>
                  </a:cubicBezTo>
                  <a:cubicBezTo>
                    <a:pt x="3724865" y="2178872"/>
                    <a:pt x="2942239" y="1957520"/>
                    <a:pt x="2858141" y="1209152"/>
                  </a:cubicBezTo>
                  <a:cubicBezTo>
                    <a:pt x="2858141" y="1200443"/>
                    <a:pt x="2857228" y="1046132"/>
                    <a:pt x="2858141" y="1027145"/>
                  </a:cubicBezTo>
                  <a:cubicBezTo>
                    <a:pt x="2903231" y="432174"/>
                    <a:pt x="3572148" y="1913"/>
                    <a:pt x="4317048" y="1913"/>
                  </a:cubicBezTo>
                  <a:cubicBezTo>
                    <a:pt x="4766985" y="1913"/>
                    <a:pt x="5233987" y="181772"/>
                    <a:pt x="5541912" y="339584"/>
                  </a:cubicBezTo>
                  <a:close/>
                  <a:moveTo>
                    <a:pt x="11334842" y="2127766"/>
                  </a:moveTo>
                  <a:cubicBezTo>
                    <a:pt x="11226157" y="2098836"/>
                    <a:pt x="11134137" y="2026940"/>
                    <a:pt x="11045520" y="1920675"/>
                  </a:cubicBezTo>
                  <a:cubicBezTo>
                    <a:pt x="10795912" y="1620185"/>
                    <a:pt x="10464217" y="1219102"/>
                    <a:pt x="10375930" y="1108086"/>
                  </a:cubicBezTo>
                  <a:cubicBezTo>
                    <a:pt x="10657937" y="1064335"/>
                    <a:pt x="11480516" y="1037880"/>
                    <a:pt x="11480516" y="670702"/>
                  </a:cubicBezTo>
                  <a:cubicBezTo>
                    <a:pt x="11480516" y="462017"/>
                    <a:pt x="11163915" y="419059"/>
                    <a:pt x="10929641" y="419059"/>
                  </a:cubicBezTo>
                  <a:cubicBezTo>
                    <a:pt x="10276450" y="419059"/>
                    <a:pt x="10188259" y="864238"/>
                    <a:pt x="10098626" y="1123011"/>
                  </a:cubicBezTo>
                  <a:cubicBezTo>
                    <a:pt x="10098626" y="1123011"/>
                    <a:pt x="9826408" y="1990760"/>
                    <a:pt x="9779148" y="2142018"/>
                  </a:cubicBezTo>
                  <a:lnTo>
                    <a:pt x="9150385" y="2142018"/>
                  </a:lnTo>
                  <a:lnTo>
                    <a:pt x="9474348" y="1112380"/>
                  </a:lnTo>
                  <a:cubicBezTo>
                    <a:pt x="9670143" y="436132"/>
                    <a:pt x="10036087" y="1913"/>
                    <a:pt x="10977422" y="1913"/>
                  </a:cubicBezTo>
                  <a:cubicBezTo>
                    <a:pt x="11551114" y="1913"/>
                    <a:pt x="12113190" y="181772"/>
                    <a:pt x="12113190" y="602988"/>
                  </a:cubicBezTo>
                  <a:cubicBezTo>
                    <a:pt x="12113190" y="1094514"/>
                    <a:pt x="11492462" y="1260017"/>
                    <a:pt x="11137950" y="1304105"/>
                  </a:cubicBezTo>
                  <a:lnTo>
                    <a:pt x="11974357" y="2142018"/>
                  </a:lnTo>
                  <a:lnTo>
                    <a:pt x="11447725" y="2142018"/>
                  </a:lnTo>
                  <a:cubicBezTo>
                    <a:pt x="11407947" y="2142018"/>
                    <a:pt x="11370421" y="2137268"/>
                    <a:pt x="11334842" y="2127774"/>
                  </a:cubicBezTo>
                </a:path>
              </a:pathLst>
            </a:custGeom>
            <a:grpFill/>
            <a:ln w="801" cap="flat">
              <a:noFill/>
              <a:prstDash val="solid"/>
              <a:miter/>
            </a:ln>
          </p:spPr>
          <p:txBody>
            <a:bodyPr rtlCol="0" anchor="ctr"/>
            <a:lstStyle/>
            <a:p>
              <a:endParaRPr lang="fr-BE"/>
            </a:p>
          </p:txBody>
        </p:sp>
      </p:grpSp>
      <p:grpSp>
        <p:nvGrpSpPr>
          <p:cNvPr id="14" name="Groupe 13">
            <a:extLst>
              <a:ext uri="{FF2B5EF4-FFF2-40B4-BE49-F238E27FC236}">
                <a16:creationId xmlns:a16="http://schemas.microsoft.com/office/drawing/2014/main" id="{8A3A5D8B-B2A9-4F9C-98D7-A9810E1ADC87}"/>
              </a:ext>
            </a:extLst>
          </p:cNvPr>
          <p:cNvGrpSpPr/>
          <p:nvPr userDrawn="1"/>
        </p:nvGrpSpPr>
        <p:grpSpPr>
          <a:xfrm>
            <a:off x="12360696" y="-13072"/>
            <a:ext cx="1885826" cy="1528108"/>
            <a:chOff x="4867566" y="1651754"/>
            <a:chExt cx="1885826" cy="1528108"/>
          </a:xfrm>
        </p:grpSpPr>
        <p:sp>
          <p:nvSpPr>
            <p:cNvPr id="15" name="Freeform 5">
              <a:extLst>
                <a:ext uri="{FF2B5EF4-FFF2-40B4-BE49-F238E27FC236}">
                  <a16:creationId xmlns:a16="http://schemas.microsoft.com/office/drawing/2014/main" id="{C692760E-AE80-483A-96E3-5CA831E0365F}"/>
                </a:ext>
              </a:extLst>
            </p:cNvPr>
            <p:cNvSpPr>
              <a:spLocks noEditPoints="1"/>
            </p:cNvSpPr>
            <p:nvPr/>
          </p:nvSpPr>
          <p:spPr bwMode="auto">
            <a:xfrm>
              <a:off x="5597754" y="1651754"/>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16" name="Rectangle 15">
              <a:extLst>
                <a:ext uri="{FF2B5EF4-FFF2-40B4-BE49-F238E27FC236}">
                  <a16:creationId xmlns:a16="http://schemas.microsoft.com/office/drawing/2014/main" id="{3C2C79E5-E3C5-472D-BFF9-174A5F56D6A1}"/>
                </a:ext>
              </a:extLst>
            </p:cNvPr>
            <p:cNvSpPr/>
            <p:nvPr/>
          </p:nvSpPr>
          <p:spPr>
            <a:xfrm>
              <a:off x="4867566" y="2010311"/>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lvl="0"/>
              <a:r>
                <a:rPr lang="fr-FR" sz="1000" b="1">
                  <a:solidFill>
                    <a:schemeClr val="accent1"/>
                  </a:solidFill>
                  <a:latin typeface="+mj-lt"/>
                </a:rPr>
                <a:t>To change the </a:t>
              </a:r>
              <a:r>
                <a:rPr lang="fr-FR" sz="1000" b="1" err="1">
                  <a:solidFill>
                    <a:schemeClr val="accent1"/>
                  </a:solidFill>
                  <a:latin typeface="+mj-lt"/>
                </a:rPr>
                <a:t>visual</a:t>
              </a:r>
              <a:r>
                <a:rPr lang="fr-FR" sz="1000" b="1">
                  <a:solidFill>
                    <a:schemeClr val="accent1"/>
                  </a:solidFill>
                  <a:latin typeface="+mj-lt"/>
                </a:rPr>
                <a:t>:</a:t>
              </a:r>
            </a:p>
            <a:p>
              <a:pPr marL="171450" lvl="0" indent="-171450">
                <a:buFont typeface="Arial" panose="020B0604020202020204" pitchFamily="34" charset="0"/>
                <a:buChar char="•"/>
              </a:pPr>
              <a:r>
                <a:rPr lang="en-US" sz="1000">
                  <a:solidFill>
                    <a:schemeClr val="tx1"/>
                  </a:solidFill>
                </a:rPr>
                <a:t>Right click on the slide</a:t>
              </a:r>
            </a:p>
            <a:p>
              <a:pPr marL="171450" lvl="0" indent="-171450">
                <a:buFont typeface="Arial" panose="020B0604020202020204" pitchFamily="34" charset="0"/>
                <a:buChar char="•"/>
              </a:pPr>
              <a:r>
                <a:rPr lang="en-US" sz="1000">
                  <a:solidFill>
                    <a:schemeClr val="tx1"/>
                  </a:solidFill>
                </a:rPr>
                <a:t>Click on “Format Background”</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 (1920x1080px)</a:t>
              </a:r>
            </a:p>
          </p:txBody>
        </p:sp>
      </p:grpSp>
    </p:spTree>
    <p:extLst>
      <p:ext uri="{BB962C8B-B14F-4D97-AF65-F5344CB8AC3E}">
        <p14:creationId xmlns:p14="http://schemas.microsoft.com/office/powerpoint/2010/main" val="12844357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ios - 3">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4820328"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8498375"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2" name="Text Placeholder 3">
            <a:extLst>
              <a:ext uri="{FF2B5EF4-FFF2-40B4-BE49-F238E27FC236}">
                <a16:creationId xmlns:a16="http://schemas.microsoft.com/office/drawing/2014/main" id="{B786918E-9384-51E7-4003-A6574EBE2F7D}"/>
              </a:ext>
            </a:extLst>
          </p:cNvPr>
          <p:cNvSpPr>
            <a:spLocks noGrp="1"/>
          </p:cNvSpPr>
          <p:nvPr>
            <p:ph type="body" sz="quarter" idx="14"/>
          </p:nvPr>
        </p:nvSpPr>
        <p:spPr>
          <a:xfrm>
            <a:off x="1142702" y="2423552"/>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36E9BB5D-540D-16E8-FA33-38B830D35007}"/>
              </a:ext>
            </a:extLst>
          </p:cNvPr>
          <p:cNvSpPr>
            <a:spLocks noGrp="1"/>
          </p:cNvSpPr>
          <p:nvPr>
            <p:ph type="body" sz="quarter" idx="16"/>
          </p:nvPr>
        </p:nvSpPr>
        <p:spPr>
          <a:xfrm>
            <a:off x="4820539" y="2423787"/>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3">
            <a:extLst>
              <a:ext uri="{FF2B5EF4-FFF2-40B4-BE49-F238E27FC236}">
                <a16:creationId xmlns:a16="http://schemas.microsoft.com/office/drawing/2014/main" id="{05F665E4-9755-07C0-BB1F-7544C15DDF06}"/>
              </a:ext>
            </a:extLst>
          </p:cNvPr>
          <p:cNvSpPr>
            <a:spLocks noGrp="1"/>
          </p:cNvSpPr>
          <p:nvPr>
            <p:ph type="body" sz="quarter" idx="17"/>
          </p:nvPr>
        </p:nvSpPr>
        <p:spPr>
          <a:xfrm>
            <a:off x="8498375" y="2423787"/>
            <a:ext cx="3311138"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Subtitle 2">
            <a:extLst>
              <a:ext uri="{FF2B5EF4-FFF2-40B4-BE49-F238E27FC236}">
                <a16:creationId xmlns:a16="http://schemas.microsoft.com/office/drawing/2014/main" id="{6F92B3CC-3CA5-EC1A-1025-6D1D5187C089}"/>
              </a:ext>
            </a:extLst>
          </p:cNvPr>
          <p:cNvSpPr>
            <a:spLocks noGrp="1"/>
          </p:cNvSpPr>
          <p:nvPr>
            <p:ph type="subTitle" idx="18"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3228267259"/>
      </p:ext>
    </p:extLst>
  </p:cSld>
  <p:clrMapOvr>
    <a:masterClrMapping/>
  </p:clrMapOvr>
  <p:hf hdr="0" dt="0"/>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os - 4">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3894515"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6646327"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2" name="Picture Placeholder 5">
            <a:extLst>
              <a:ext uri="{FF2B5EF4-FFF2-40B4-BE49-F238E27FC236}">
                <a16:creationId xmlns:a16="http://schemas.microsoft.com/office/drawing/2014/main" id="{09036974-AC10-5484-8D48-A9EE08C28D26}"/>
              </a:ext>
            </a:extLst>
          </p:cNvPr>
          <p:cNvSpPr>
            <a:spLocks noGrp="1" noChangeAspect="1"/>
          </p:cNvSpPr>
          <p:nvPr>
            <p:ph type="pic" sz="quarter" idx="17"/>
          </p:nvPr>
        </p:nvSpPr>
        <p:spPr>
          <a:xfrm>
            <a:off x="939814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2" name="Text Placeholder 3">
            <a:extLst>
              <a:ext uri="{FF2B5EF4-FFF2-40B4-BE49-F238E27FC236}">
                <a16:creationId xmlns:a16="http://schemas.microsoft.com/office/drawing/2014/main" id="{398BBD36-17DB-1F10-F908-D52684810E23}"/>
              </a:ext>
            </a:extLst>
          </p:cNvPr>
          <p:cNvSpPr>
            <a:spLocks noGrp="1"/>
          </p:cNvSpPr>
          <p:nvPr>
            <p:ph type="body" sz="quarter" idx="14"/>
          </p:nvPr>
        </p:nvSpPr>
        <p:spPr>
          <a:xfrm>
            <a:off x="1142702" y="2423552"/>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E137474-019B-52BA-08C6-611EFC5CCFAF}"/>
              </a:ext>
            </a:extLst>
          </p:cNvPr>
          <p:cNvSpPr>
            <a:spLocks noGrp="1"/>
          </p:cNvSpPr>
          <p:nvPr>
            <p:ph type="body" sz="quarter" idx="16"/>
          </p:nvPr>
        </p:nvSpPr>
        <p:spPr>
          <a:xfrm>
            <a:off x="3894515"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7A6A129-0BA2-2F25-95FE-860D9841821F}"/>
              </a:ext>
            </a:extLst>
          </p:cNvPr>
          <p:cNvSpPr>
            <a:spLocks noGrp="1"/>
          </p:cNvSpPr>
          <p:nvPr>
            <p:ph type="body" sz="quarter" idx="18"/>
          </p:nvPr>
        </p:nvSpPr>
        <p:spPr>
          <a:xfrm>
            <a:off x="6646327"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254604AA-9B65-F7CB-494F-C0ED4D267D8C}"/>
              </a:ext>
            </a:extLst>
          </p:cNvPr>
          <p:cNvSpPr>
            <a:spLocks noGrp="1"/>
          </p:cNvSpPr>
          <p:nvPr>
            <p:ph type="body" sz="quarter" idx="19"/>
          </p:nvPr>
        </p:nvSpPr>
        <p:spPr>
          <a:xfrm>
            <a:off x="9398141" y="2423787"/>
            <a:ext cx="2411372"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Subtitle 2">
            <a:extLst>
              <a:ext uri="{FF2B5EF4-FFF2-40B4-BE49-F238E27FC236}">
                <a16:creationId xmlns:a16="http://schemas.microsoft.com/office/drawing/2014/main" id="{6A17834A-225E-13D6-7652-C3C0B2730D11}"/>
              </a:ext>
            </a:extLst>
          </p:cNvPr>
          <p:cNvSpPr>
            <a:spLocks noGrp="1"/>
          </p:cNvSpPr>
          <p:nvPr>
            <p:ph type="subTitle" idx="20"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1327336552"/>
      </p:ext>
    </p:extLst>
  </p:cSld>
  <p:clrMapOvr>
    <a:masterClrMapping/>
  </p:clrMapOvr>
  <p:hf hd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os - 5">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6" name="Picture Placeholder 5">
            <a:extLst>
              <a:ext uri="{FF2B5EF4-FFF2-40B4-BE49-F238E27FC236}">
                <a16:creationId xmlns:a16="http://schemas.microsoft.com/office/drawing/2014/main" id="{B2785B46-7815-F3F7-B937-B81D3C80057C}"/>
              </a:ext>
            </a:extLst>
          </p:cNvPr>
          <p:cNvSpPr>
            <a:spLocks noGrp="1" noChangeAspect="1"/>
          </p:cNvSpPr>
          <p:nvPr>
            <p:ph type="pic" sz="quarter" idx="11"/>
          </p:nvPr>
        </p:nvSpPr>
        <p:spPr>
          <a:xfrm>
            <a:off x="1142280"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8" name="Picture Placeholder 5">
            <a:extLst>
              <a:ext uri="{FF2B5EF4-FFF2-40B4-BE49-F238E27FC236}">
                <a16:creationId xmlns:a16="http://schemas.microsoft.com/office/drawing/2014/main" id="{F3C82D4E-E201-E960-49B9-FE48331C4A2E}"/>
              </a:ext>
            </a:extLst>
          </p:cNvPr>
          <p:cNvSpPr>
            <a:spLocks noGrp="1" noChangeAspect="1"/>
          </p:cNvSpPr>
          <p:nvPr>
            <p:ph type="pic" sz="quarter" idx="13"/>
          </p:nvPr>
        </p:nvSpPr>
        <p:spPr>
          <a:xfrm>
            <a:off x="3339397"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0" name="Picture Placeholder 5">
            <a:extLst>
              <a:ext uri="{FF2B5EF4-FFF2-40B4-BE49-F238E27FC236}">
                <a16:creationId xmlns:a16="http://schemas.microsoft.com/office/drawing/2014/main" id="{E9BD2C8A-D0EC-EED5-3509-07733E4B7694}"/>
              </a:ext>
            </a:extLst>
          </p:cNvPr>
          <p:cNvSpPr>
            <a:spLocks noGrp="1" noChangeAspect="1"/>
          </p:cNvSpPr>
          <p:nvPr>
            <p:ph type="pic" sz="quarter" idx="15"/>
          </p:nvPr>
        </p:nvSpPr>
        <p:spPr>
          <a:xfrm>
            <a:off x="5536513"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2" name="Picture Placeholder 5">
            <a:extLst>
              <a:ext uri="{FF2B5EF4-FFF2-40B4-BE49-F238E27FC236}">
                <a16:creationId xmlns:a16="http://schemas.microsoft.com/office/drawing/2014/main" id="{09036974-AC10-5484-8D48-A9EE08C28D26}"/>
              </a:ext>
            </a:extLst>
          </p:cNvPr>
          <p:cNvSpPr>
            <a:spLocks noGrp="1" noChangeAspect="1"/>
          </p:cNvSpPr>
          <p:nvPr>
            <p:ph type="pic" sz="quarter" idx="17"/>
          </p:nvPr>
        </p:nvSpPr>
        <p:spPr>
          <a:xfrm>
            <a:off x="7733629"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4" name="Picture Placeholder 5">
            <a:extLst>
              <a:ext uri="{FF2B5EF4-FFF2-40B4-BE49-F238E27FC236}">
                <a16:creationId xmlns:a16="http://schemas.microsoft.com/office/drawing/2014/main" id="{221FDD87-D3B1-4AE7-FAFD-CE73692402D4}"/>
              </a:ext>
            </a:extLst>
          </p:cNvPr>
          <p:cNvSpPr>
            <a:spLocks noGrp="1" noChangeAspect="1"/>
          </p:cNvSpPr>
          <p:nvPr>
            <p:ph type="pic" sz="quarter" idx="19"/>
          </p:nvPr>
        </p:nvSpPr>
        <p:spPr>
          <a:xfrm>
            <a:off x="9904991" y="1562101"/>
            <a:ext cx="761256" cy="761207"/>
          </a:xfrm>
          <a:solidFill>
            <a:schemeClr val="accent5"/>
          </a:solidFill>
          <a:ln>
            <a:noFill/>
          </a:ln>
        </p:spPr>
        <p:txBody>
          <a:bodyPr anchor="ctr"/>
          <a:lstStyle>
            <a:lvl1pPr algn="ctr">
              <a:defRPr sz="600"/>
            </a:lvl1pPr>
          </a:lstStyle>
          <a:p>
            <a:r>
              <a:rPr lang="en-US"/>
              <a:t>Click icon to add picture</a:t>
            </a:r>
          </a:p>
        </p:txBody>
      </p:sp>
      <p:sp>
        <p:nvSpPr>
          <p:cNvPr id="13" name="Text Placeholder 3">
            <a:extLst>
              <a:ext uri="{FF2B5EF4-FFF2-40B4-BE49-F238E27FC236}">
                <a16:creationId xmlns:a16="http://schemas.microsoft.com/office/drawing/2014/main" id="{2D9EA4C6-A942-A0DC-B65F-62ED4C979036}"/>
              </a:ext>
            </a:extLst>
          </p:cNvPr>
          <p:cNvSpPr>
            <a:spLocks noGrp="1"/>
          </p:cNvSpPr>
          <p:nvPr>
            <p:ph type="body" sz="quarter" idx="14"/>
          </p:nvPr>
        </p:nvSpPr>
        <p:spPr>
          <a:xfrm>
            <a:off x="1142703" y="2423552"/>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B8630C02-042B-8DA7-9F89-1C878CEDF95B}"/>
              </a:ext>
            </a:extLst>
          </p:cNvPr>
          <p:cNvSpPr>
            <a:spLocks noGrp="1"/>
          </p:cNvSpPr>
          <p:nvPr>
            <p:ph type="body" sz="quarter" idx="16"/>
          </p:nvPr>
        </p:nvSpPr>
        <p:spPr>
          <a:xfrm>
            <a:off x="3333429"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3">
            <a:extLst>
              <a:ext uri="{FF2B5EF4-FFF2-40B4-BE49-F238E27FC236}">
                <a16:creationId xmlns:a16="http://schemas.microsoft.com/office/drawing/2014/main" id="{72780109-DD9D-AC25-C5FB-40031B90D980}"/>
              </a:ext>
            </a:extLst>
          </p:cNvPr>
          <p:cNvSpPr>
            <a:spLocks noGrp="1"/>
          </p:cNvSpPr>
          <p:nvPr>
            <p:ph type="body" sz="quarter" idx="18"/>
          </p:nvPr>
        </p:nvSpPr>
        <p:spPr>
          <a:xfrm>
            <a:off x="5524156"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6" name="Text Placeholder 3">
            <a:extLst>
              <a:ext uri="{FF2B5EF4-FFF2-40B4-BE49-F238E27FC236}">
                <a16:creationId xmlns:a16="http://schemas.microsoft.com/office/drawing/2014/main" id="{DCF6F2D2-CE7F-33F0-7A5C-00E79840A9BC}"/>
              </a:ext>
            </a:extLst>
          </p:cNvPr>
          <p:cNvSpPr>
            <a:spLocks noGrp="1"/>
          </p:cNvSpPr>
          <p:nvPr>
            <p:ph type="body" sz="quarter" idx="20"/>
          </p:nvPr>
        </p:nvSpPr>
        <p:spPr>
          <a:xfrm>
            <a:off x="7714882"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3">
            <a:extLst>
              <a:ext uri="{FF2B5EF4-FFF2-40B4-BE49-F238E27FC236}">
                <a16:creationId xmlns:a16="http://schemas.microsoft.com/office/drawing/2014/main" id="{59C16E91-8693-1F62-E125-FE5154E70290}"/>
              </a:ext>
            </a:extLst>
          </p:cNvPr>
          <p:cNvSpPr>
            <a:spLocks noGrp="1"/>
          </p:cNvSpPr>
          <p:nvPr>
            <p:ph type="body" sz="quarter" idx="21"/>
          </p:nvPr>
        </p:nvSpPr>
        <p:spPr>
          <a:xfrm>
            <a:off x="9905609" y="2423787"/>
            <a:ext cx="1903904" cy="3693022"/>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8" name="Subtitle 2">
            <a:extLst>
              <a:ext uri="{FF2B5EF4-FFF2-40B4-BE49-F238E27FC236}">
                <a16:creationId xmlns:a16="http://schemas.microsoft.com/office/drawing/2014/main" id="{C60BA26E-8F3B-7E57-50E1-FF9B212D6866}"/>
              </a:ext>
            </a:extLst>
          </p:cNvPr>
          <p:cNvSpPr>
            <a:spLocks noGrp="1"/>
          </p:cNvSpPr>
          <p:nvPr>
            <p:ph type="subTitle" idx="22"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2920523472"/>
      </p:ext>
    </p:extLst>
  </p:cSld>
  <p:clrMapOvr>
    <a:masterClrMapping/>
  </p:clrMapOvr>
  <p:hf hdr="0" dt="0"/>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os - 4 without image">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A3461B2-75BA-9241-8F86-93C9471093BF}"/>
              </a:ext>
            </a:extLst>
          </p:cNvPr>
          <p:cNvSpPr>
            <a:spLocks noGrp="1"/>
          </p:cNvSpPr>
          <p:nvPr>
            <p:ph type="title" hasCustomPrompt="1"/>
          </p:nvPr>
        </p:nvSpPr>
        <p:spPr/>
        <p:txBody>
          <a:bodyPr/>
          <a:lstStyle/>
          <a:p>
            <a:r>
              <a:rPr lang="en-US"/>
              <a:t>Graphs/infographics/tables – click to add title</a:t>
            </a:r>
          </a:p>
        </p:txBody>
      </p:sp>
      <p:sp>
        <p:nvSpPr>
          <p:cNvPr id="2" name="Text Placeholder 3">
            <a:extLst>
              <a:ext uri="{FF2B5EF4-FFF2-40B4-BE49-F238E27FC236}">
                <a16:creationId xmlns:a16="http://schemas.microsoft.com/office/drawing/2014/main" id="{398BBD36-17DB-1F10-F908-D52684810E23}"/>
              </a:ext>
            </a:extLst>
          </p:cNvPr>
          <p:cNvSpPr>
            <a:spLocks noGrp="1"/>
          </p:cNvSpPr>
          <p:nvPr>
            <p:ph type="body" sz="quarter" idx="14"/>
          </p:nvPr>
        </p:nvSpPr>
        <p:spPr>
          <a:xfrm>
            <a:off x="1142702" y="1571027"/>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E137474-019B-52BA-08C6-611EFC5CCFAF}"/>
              </a:ext>
            </a:extLst>
          </p:cNvPr>
          <p:cNvSpPr>
            <a:spLocks noGrp="1"/>
          </p:cNvSpPr>
          <p:nvPr>
            <p:ph type="body" sz="quarter" idx="16"/>
          </p:nvPr>
        </p:nvSpPr>
        <p:spPr>
          <a:xfrm>
            <a:off x="3894515"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3">
            <a:extLst>
              <a:ext uri="{FF2B5EF4-FFF2-40B4-BE49-F238E27FC236}">
                <a16:creationId xmlns:a16="http://schemas.microsoft.com/office/drawing/2014/main" id="{17A6A129-0BA2-2F25-95FE-860D9841821F}"/>
              </a:ext>
            </a:extLst>
          </p:cNvPr>
          <p:cNvSpPr>
            <a:spLocks noGrp="1"/>
          </p:cNvSpPr>
          <p:nvPr>
            <p:ph type="body" sz="quarter" idx="18"/>
          </p:nvPr>
        </p:nvSpPr>
        <p:spPr>
          <a:xfrm>
            <a:off x="6646327"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3">
            <a:extLst>
              <a:ext uri="{FF2B5EF4-FFF2-40B4-BE49-F238E27FC236}">
                <a16:creationId xmlns:a16="http://schemas.microsoft.com/office/drawing/2014/main" id="{254604AA-9B65-F7CB-494F-C0ED4D267D8C}"/>
              </a:ext>
            </a:extLst>
          </p:cNvPr>
          <p:cNvSpPr>
            <a:spLocks noGrp="1"/>
          </p:cNvSpPr>
          <p:nvPr>
            <p:ph type="body" sz="quarter" idx="19"/>
          </p:nvPr>
        </p:nvSpPr>
        <p:spPr>
          <a:xfrm>
            <a:off x="9398141" y="1571261"/>
            <a:ext cx="2411372" cy="3577397"/>
          </a:xfrm>
        </p:spPr>
        <p:txBody>
          <a:bodyPr/>
          <a:lstStyle>
            <a:lvl1pPr>
              <a:spcBef>
                <a:spcPts val="0"/>
              </a:spcBef>
              <a:spcAft>
                <a:spcPts val="300"/>
              </a:spcAft>
              <a:defRPr sz="1200"/>
            </a:lvl1pPr>
            <a:lvl2pPr>
              <a:defRPr sz="1200">
                <a:solidFill>
                  <a:schemeClr val="accent2"/>
                </a:solidFill>
              </a:defRPr>
            </a:lvl2pPr>
            <a:lvl3pPr marL="0" indent="0">
              <a:buFontTx/>
              <a:buNone/>
              <a:defRPr sz="1000">
                <a:solidFill>
                  <a:schemeClr val="tx2"/>
                </a:solidFill>
              </a:defRPr>
            </a:lvl3pPr>
            <a:lvl4pPr marL="0" indent="0">
              <a:buSzPct val="100000"/>
              <a:buFontTx/>
              <a:buNone/>
              <a:defRPr sz="1000"/>
            </a:lvl4pPr>
            <a:lvl5pPr marL="180921" indent="-180921">
              <a:buFont typeface="Wingdings 2" panose="05020102010507070707" pitchFamily="18" charset="2"/>
              <a:buChar cha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3" name="Subtitle 2">
            <a:extLst>
              <a:ext uri="{FF2B5EF4-FFF2-40B4-BE49-F238E27FC236}">
                <a16:creationId xmlns:a16="http://schemas.microsoft.com/office/drawing/2014/main" id="{0088E454-02C9-879D-7BA8-7C705C30986E}"/>
              </a:ext>
            </a:extLst>
          </p:cNvPr>
          <p:cNvSpPr>
            <a:spLocks noGrp="1"/>
          </p:cNvSpPr>
          <p:nvPr>
            <p:ph type="subTitle" idx="13" hasCustomPrompt="1"/>
          </p:nvPr>
        </p:nvSpPr>
        <p:spPr>
          <a:xfrm>
            <a:off x="1148623" y="843284"/>
            <a:ext cx="10678419"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p>
        </p:txBody>
      </p:sp>
    </p:spTree>
    <p:extLst>
      <p:ext uri="{BB962C8B-B14F-4D97-AF65-F5344CB8AC3E}">
        <p14:creationId xmlns:p14="http://schemas.microsoft.com/office/powerpoint/2010/main" val="3067695248"/>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ontent_video">
    <p:bg>
      <p:bgPr>
        <a:solidFill>
          <a:srgbClr val="262836"/>
        </a:solidFill>
        <a:effectLst/>
      </p:bgPr>
    </p:bg>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78AE1F3-A300-D249-985E-B8178B030478}"/>
              </a:ext>
            </a:extLst>
          </p:cNvPr>
          <p:cNvSpPr>
            <a:spLocks noGrp="1"/>
          </p:cNvSpPr>
          <p:nvPr>
            <p:ph type="media" sz="quarter" idx="10"/>
          </p:nvPr>
        </p:nvSpPr>
        <p:spPr>
          <a:xfrm>
            <a:off x="0" y="0"/>
            <a:ext cx="12192000" cy="6858000"/>
          </a:xfrm>
          <a:solidFill>
            <a:srgbClr val="262836"/>
          </a:solidFill>
        </p:spPr>
        <p:txBody>
          <a:bodyPr tIns="5486400"/>
          <a:lstStyle>
            <a:lvl1pPr algn="ctr">
              <a:defRPr>
                <a:solidFill>
                  <a:schemeClr val="bg1"/>
                </a:solidFill>
              </a:defRPr>
            </a:lvl1pPr>
          </a:lstStyle>
          <a:p>
            <a:r>
              <a:rPr lang="en-US"/>
              <a:t>Click icon to add media</a:t>
            </a:r>
            <a:endParaRPr lang="en-GB"/>
          </a:p>
        </p:txBody>
      </p:sp>
    </p:spTree>
    <p:extLst>
      <p:ext uri="{BB962C8B-B14F-4D97-AF65-F5344CB8AC3E}">
        <p14:creationId xmlns:p14="http://schemas.microsoft.com/office/powerpoint/2010/main" val="207576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hank you/Questions">
    <p:bg>
      <p:bgPr>
        <a:solidFill>
          <a:srgbClr val="262836"/>
        </a:solidFill>
        <a:effectLst/>
      </p:bgPr>
    </p:bg>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13CAF65-B379-374D-A4D7-0FDEC13CB190}"/>
              </a:ext>
            </a:extLst>
          </p:cNvPr>
          <p:cNvSpPr>
            <a:spLocks noGrp="1"/>
          </p:cNvSpPr>
          <p:nvPr>
            <p:ph type="title" hasCustomPrompt="1"/>
          </p:nvPr>
        </p:nvSpPr>
        <p:spPr>
          <a:xfrm>
            <a:off x="1126303" y="1487624"/>
            <a:ext cx="5299629" cy="692498"/>
          </a:xfrm>
        </p:spPr>
        <p:txBody>
          <a:bodyPr/>
          <a:lstStyle>
            <a:lvl1pPr>
              <a:defRPr sz="4500">
                <a:solidFill>
                  <a:schemeClr val="bg1"/>
                </a:solidFill>
              </a:defRPr>
            </a:lvl1pPr>
          </a:lstStyle>
          <a:p>
            <a:r>
              <a:rPr lang="en-GB"/>
              <a:t>Click add title</a:t>
            </a:r>
          </a:p>
        </p:txBody>
      </p:sp>
      <p:sp>
        <p:nvSpPr>
          <p:cNvPr id="5" name="TextBox 4">
            <a:extLst>
              <a:ext uri="{FF2B5EF4-FFF2-40B4-BE49-F238E27FC236}">
                <a16:creationId xmlns:a16="http://schemas.microsoft.com/office/drawing/2014/main" id="{39CF0722-0906-4646-B158-F4E8039A39E0}"/>
              </a:ext>
            </a:extLst>
          </p:cNvPr>
          <p:cNvSpPr txBox="1"/>
          <p:nvPr userDrawn="1"/>
        </p:nvSpPr>
        <p:spPr>
          <a:xfrm>
            <a:off x="11465671" y="6380032"/>
            <a:ext cx="344510" cy="123082"/>
          </a:xfrm>
          <a:prstGeom prst="rect">
            <a:avLst/>
          </a:prstGeom>
          <a:noFill/>
        </p:spPr>
        <p:txBody>
          <a:bodyPr wrap="square" lIns="0" tIns="0" rIns="0" bIns="0" rtlCol="0" anchor="b" anchorCtr="0">
            <a:sp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bg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bg1"/>
              </a:solidFill>
              <a:latin typeface="Helvetica Now Text" panose="020B0504030202020204" pitchFamily="34" charset="0"/>
            </a:endParaRPr>
          </a:p>
        </p:txBody>
      </p:sp>
      <p:sp>
        <p:nvSpPr>
          <p:cNvPr id="7" name="TextBox 6">
            <a:extLst>
              <a:ext uri="{FF2B5EF4-FFF2-40B4-BE49-F238E27FC236}">
                <a16:creationId xmlns:a16="http://schemas.microsoft.com/office/drawing/2014/main" id="{FAF369F9-27BE-4C09-A286-BC31D746C350}"/>
              </a:ext>
            </a:extLst>
          </p:cNvPr>
          <p:cNvSpPr txBox="1"/>
          <p:nvPr userDrawn="1"/>
        </p:nvSpPr>
        <p:spPr>
          <a:xfrm>
            <a:off x="9836589" y="6366346"/>
            <a:ext cx="1591774" cy="138147"/>
          </a:xfrm>
          <a:prstGeom prst="rect">
            <a:avLst/>
          </a:prstGeom>
          <a:noFill/>
        </p:spPr>
        <p:txBody>
          <a:bodyPr wrap="square" lIns="0" tIns="0" rIns="0" bIns="0" rtlCol="0" anchor="b">
            <a:spAutoFit/>
          </a:bodyPr>
          <a:lstStyle/>
          <a:p>
            <a:pPr marL="0" algn="r">
              <a:lnSpc>
                <a:spcPct val="117000"/>
              </a:lnSpc>
              <a:spcAft>
                <a:spcPts val="500"/>
              </a:spcAft>
            </a:pPr>
            <a:r>
              <a:rPr lang="en-GB" sz="800">
                <a:solidFill>
                  <a:schemeClr val="bg1"/>
                </a:solidFill>
                <a:latin typeface="Helvetica Now Text" panose="020B0504030202020204" pitchFamily="34" charset="0"/>
              </a:rPr>
              <a:t>Proprietary &amp; Confidential</a:t>
            </a:r>
          </a:p>
        </p:txBody>
      </p:sp>
    </p:spTree>
    <p:extLst>
      <p:ext uri="{BB962C8B-B14F-4D97-AF65-F5344CB8AC3E}">
        <p14:creationId xmlns:p14="http://schemas.microsoft.com/office/powerpoint/2010/main" val="260014019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ack page">
    <p:bg>
      <p:bgPr>
        <a:solidFill>
          <a:schemeClr val="bg1"/>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3F2908C-DBCB-713A-7142-AA06B5020C5E}"/>
              </a:ext>
            </a:extLst>
          </p:cNvPr>
          <p:cNvGraphicFramePr>
            <a:graphicFrameLocks noChangeAspect="1"/>
          </p:cNvGraphicFramePr>
          <p:nvPr userDrawn="1">
            <p:custDataLst>
              <p:tags r:id="rId1"/>
            </p:custData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3" imgW="415" imgH="416" progId="TCLayout.ActiveDocument.1">
                  <p:embed/>
                </p:oleObj>
              </mc:Choice>
              <mc:Fallback>
                <p:oleObj name="think-cell Slide" r:id="rId3" imgW="415" imgH="416" progId="TCLayout.ActiveDocument.1">
                  <p:embed/>
                  <p:pic>
                    <p:nvPicPr>
                      <p:cNvPr id="6" name="think-cell data - do not delete" hidden="1">
                        <a:extLst>
                          <a:ext uri="{FF2B5EF4-FFF2-40B4-BE49-F238E27FC236}">
                            <a16:creationId xmlns:a16="http://schemas.microsoft.com/office/drawing/2014/main" id="{E3F2908C-DBCB-713A-7142-AA06B5020C5E}"/>
                          </a:ext>
                        </a:extLst>
                      </p:cNvPr>
                      <p:cNvPicPr/>
                      <p:nvPr/>
                    </p:nvPicPr>
                    <p:blipFill>
                      <a:blip r:embed="rId4"/>
                      <a:stretch>
                        <a:fillRect/>
                      </a:stretch>
                    </p:blipFill>
                    <p:spPr>
                      <a:xfrm>
                        <a:off x="1587" y="1587"/>
                        <a:ext cx="1588" cy="1588"/>
                      </a:xfrm>
                      <a:prstGeom prst="rect">
                        <a:avLst/>
                      </a:prstGeom>
                    </p:spPr>
                  </p:pic>
                </p:oleObj>
              </mc:Fallback>
            </mc:AlternateContent>
          </a:graphicData>
        </a:graphic>
      </p:graphicFrame>
      <p:sp>
        <p:nvSpPr>
          <p:cNvPr id="2" name="Rectangle 10">
            <a:extLst>
              <a:ext uri="{FF2B5EF4-FFF2-40B4-BE49-F238E27FC236}">
                <a16:creationId xmlns:a16="http://schemas.microsoft.com/office/drawing/2014/main" id="{F1CC2C8F-E8B6-85CE-DD92-72F28555662E}"/>
              </a:ext>
            </a:extLst>
          </p:cNvPr>
          <p:cNvSpPr>
            <a:spLocks noChangeArrowheads="1"/>
          </p:cNvSpPr>
          <p:nvPr userDrawn="1"/>
        </p:nvSpPr>
        <p:spPr bwMode="auto">
          <a:xfrm>
            <a:off x="1148631" y="5341747"/>
            <a:ext cx="1341083" cy="1107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lvl="0" algn="l" defTabSz="875871" rtl="0" eaLnBrk="1" latinLnBrk="0" hangingPunct="1">
              <a:spcAft>
                <a:spcPts val="0"/>
              </a:spcAft>
            </a:pPr>
            <a:r>
              <a:rPr lang="en-US" altLang="en-US" sz="800" kern="1200">
                <a:solidFill>
                  <a:schemeClr val="tx2"/>
                </a:solidFill>
                <a:latin typeface="+mj-lt"/>
                <a:ea typeface="+mn-ea"/>
                <a:cs typeface="+mn-cs"/>
              </a:rPr>
              <a:t>Aon CEE</a:t>
            </a:r>
          </a:p>
          <a:p>
            <a:pPr marL="0" lvl="0" algn="l" defTabSz="875871" rtl="0" eaLnBrk="1" latinLnBrk="0" hangingPunct="1">
              <a:spcAft>
                <a:spcPts val="0"/>
              </a:spcAft>
            </a:pPr>
            <a:r>
              <a:rPr lang="en-US" altLang="en-US" sz="800" kern="1200">
                <a:solidFill>
                  <a:schemeClr val="tx2"/>
                </a:solidFill>
                <a:latin typeface="+mj-lt"/>
                <a:ea typeface="+mn-ea"/>
                <a:cs typeface="+mn-cs"/>
              </a:rPr>
              <a:t>Reinsurance Solutions</a:t>
            </a:r>
          </a:p>
          <a:p>
            <a:pPr marL="0" lvl="0" algn="l" defTabSz="875871" rtl="0" eaLnBrk="1" latinLnBrk="0" hangingPunct="1">
              <a:spcAft>
                <a:spcPts val="0"/>
              </a:spcAft>
            </a:pPr>
            <a:r>
              <a:rPr lang="en-US" altLang="en-US" sz="800" kern="1200">
                <a:solidFill>
                  <a:schemeClr val="tx2"/>
                </a:solidFill>
                <a:latin typeface="+mj-lt"/>
                <a:ea typeface="+mn-ea"/>
                <a:cs typeface="+mn-cs"/>
              </a:rPr>
              <a:t>Vaclavske namesti 832/19</a:t>
            </a:r>
          </a:p>
          <a:p>
            <a:pPr marL="0" lvl="0" algn="l" defTabSz="875871" rtl="0" eaLnBrk="1" latinLnBrk="0" hangingPunct="1">
              <a:spcAft>
                <a:spcPts val="0"/>
              </a:spcAft>
            </a:pPr>
            <a:r>
              <a:rPr lang="en-US" altLang="en-US" sz="800" kern="1200">
                <a:solidFill>
                  <a:schemeClr val="tx2"/>
                </a:solidFill>
                <a:latin typeface="+mj-lt"/>
                <a:ea typeface="+mn-ea"/>
                <a:cs typeface="+mn-cs"/>
              </a:rPr>
              <a:t>110 00 Prague 1</a:t>
            </a:r>
          </a:p>
          <a:p>
            <a:pPr marL="0" lvl="0" algn="l" defTabSz="875871" rtl="0" eaLnBrk="1" latinLnBrk="0" hangingPunct="1">
              <a:spcAft>
                <a:spcPts val="0"/>
              </a:spcAft>
            </a:pPr>
            <a:r>
              <a:rPr lang="en-US" altLang="en-US" sz="800" kern="1200">
                <a:solidFill>
                  <a:schemeClr val="tx2"/>
                </a:solidFill>
                <a:latin typeface="+mj-lt"/>
                <a:ea typeface="+mn-ea"/>
                <a:cs typeface="+mn-cs"/>
              </a:rPr>
              <a:t>Czech Republic</a:t>
            </a:r>
          </a:p>
          <a:p>
            <a:pPr marL="0" lvl="0" algn="l" defTabSz="875871" rtl="0" eaLnBrk="1" latinLnBrk="0" hangingPunct="1">
              <a:spcAft>
                <a:spcPts val="0"/>
              </a:spcAft>
            </a:pPr>
            <a:endParaRPr lang="en-US" altLang="en-US" sz="800" kern="1200">
              <a:solidFill>
                <a:schemeClr val="tx2"/>
              </a:solidFill>
              <a:latin typeface="+mj-lt"/>
              <a:ea typeface="+mn-ea"/>
              <a:cs typeface="+mn-cs"/>
            </a:endParaRPr>
          </a:p>
          <a:p>
            <a:pPr marL="0" lvl="0" algn="l" defTabSz="875871" rtl="0" eaLnBrk="1" latinLnBrk="0" hangingPunct="1">
              <a:spcAft>
                <a:spcPts val="0"/>
              </a:spcAft>
            </a:pPr>
            <a:r>
              <a:rPr lang="en-US" altLang="en-US" sz="800" kern="1200">
                <a:solidFill>
                  <a:schemeClr val="tx2"/>
                </a:solidFill>
                <a:latin typeface="+mj-lt"/>
                <a:ea typeface="+mn-ea"/>
                <a:cs typeface="+mn-cs"/>
              </a:rPr>
              <a:t>+420 234 618 357</a:t>
            </a:r>
          </a:p>
          <a:p>
            <a:pPr marL="0" lvl="0" algn="l" defTabSz="875871" rtl="0" eaLnBrk="1" latinLnBrk="0" hangingPunct="1">
              <a:spcAft>
                <a:spcPts val="0"/>
              </a:spcAft>
            </a:pPr>
            <a:endParaRPr lang="en-US" altLang="en-US" sz="800" kern="1200">
              <a:solidFill>
                <a:schemeClr val="tx2"/>
              </a:solidFill>
              <a:latin typeface="+mj-lt"/>
              <a:ea typeface="+mn-ea"/>
              <a:cs typeface="+mn-cs"/>
            </a:endParaRPr>
          </a:p>
          <a:p>
            <a:pPr marL="0" lvl="0" algn="l" defTabSz="875871" rtl="0" eaLnBrk="1" latinLnBrk="0" hangingPunct="1">
              <a:spcAft>
                <a:spcPts val="0"/>
              </a:spcAft>
            </a:pPr>
            <a:r>
              <a:rPr lang="en-US" altLang="en-US" sz="800" kern="1200">
                <a:solidFill>
                  <a:schemeClr val="tx2"/>
                </a:solidFill>
                <a:latin typeface="+mj-lt"/>
                <a:ea typeface="+mn-ea"/>
                <a:cs typeface="+mn-cs"/>
              </a:rPr>
              <a:t>aon.com</a:t>
            </a:r>
          </a:p>
        </p:txBody>
      </p:sp>
      <p:sp>
        <p:nvSpPr>
          <p:cNvPr id="4" name="Rectangle 9">
            <a:extLst>
              <a:ext uri="{FF2B5EF4-FFF2-40B4-BE49-F238E27FC236}">
                <a16:creationId xmlns:a16="http://schemas.microsoft.com/office/drawing/2014/main" id="{EB527E14-C9A1-95A4-A100-9D90FED8EBB0}"/>
              </a:ext>
            </a:extLst>
          </p:cNvPr>
          <p:cNvSpPr>
            <a:spLocks noChangeArrowheads="1"/>
          </p:cNvSpPr>
          <p:nvPr userDrawn="1"/>
        </p:nvSpPr>
        <p:spPr bwMode="auto">
          <a:xfrm>
            <a:off x="3047404" y="5341747"/>
            <a:ext cx="5592944" cy="123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lvl="0"/>
            <a:r>
              <a:rPr lang="en-GB" altLang="en-US" sz="800" baseline="30000">
                <a:solidFill>
                  <a:schemeClr val="tx2"/>
                </a:solidFill>
                <a:latin typeface="+mj-lt"/>
              </a:rPr>
              <a:t>©</a:t>
            </a:r>
            <a:r>
              <a:rPr lang="en-GB" altLang="en-US" sz="800">
                <a:solidFill>
                  <a:schemeClr val="tx2"/>
                </a:solidFill>
                <a:latin typeface="+mj-lt"/>
              </a:rPr>
              <a:t>Copyright</a:t>
            </a:r>
            <a:r>
              <a:rPr lang="en-US" altLang="en-US" sz="800">
                <a:solidFill>
                  <a:schemeClr val="tx2"/>
                </a:solidFill>
                <a:latin typeface="+mj-lt"/>
              </a:rPr>
              <a:t> Aon plc 2025. All rights reserved.</a:t>
            </a:r>
          </a:p>
          <a:p>
            <a:pPr lvl="0"/>
            <a:endParaRPr lang="en-US" altLang="en-US" sz="800">
              <a:solidFill>
                <a:schemeClr val="tx2"/>
              </a:solidFill>
              <a:latin typeface="+mj-lt"/>
            </a:endParaRPr>
          </a:p>
          <a:p>
            <a:pPr lvl="0"/>
            <a:r>
              <a:rPr lang="en-US" altLang="en-US" sz="800">
                <a:solidFill>
                  <a:schemeClr val="tx2"/>
                </a:solidFill>
                <a:latin typeface="+mj-lt"/>
              </a:rPr>
              <a:t>This document is intended for general information purposes only and should not be construed as advice or opinions on any specific facts or circumstances. The comments in this summary are based upon Aon’s preliminary analysis of publicly available information. The content of this document is made available on an “as is” basis, without warranty of any kind. Aon disclaims any legal liability to any person or organization for loss or damage caused by or resulting from any reliance placed on that content. Aon reserves all rights to the content of this document. </a:t>
            </a:r>
          </a:p>
          <a:p>
            <a:pPr marL="0" marR="0" lvl="0" indent="0" algn="l" defTabSz="875871" rtl="0" eaLnBrk="1" fontAlgn="auto" latinLnBrk="0" hangingPunct="1">
              <a:lnSpc>
                <a:spcPct val="100000"/>
              </a:lnSpc>
              <a:spcBef>
                <a:spcPts val="0"/>
              </a:spcBef>
              <a:spcAft>
                <a:spcPts val="0"/>
              </a:spcAft>
              <a:buClrTx/>
              <a:buSzTx/>
              <a:buFontTx/>
              <a:buNone/>
              <a:tabLst/>
              <a:defRPr/>
            </a:pPr>
            <a:r>
              <a:rPr lang="en-GB" altLang="en-US" sz="800">
                <a:solidFill>
                  <a:schemeClr val="tx2"/>
                </a:solidFill>
                <a:latin typeface="+mj-lt"/>
              </a:rPr>
              <a:t>No part of this publication may be reproduced, stored in a retrieval system, or transmitted in any way or by any means, including photocopying or recording, without the written permission of the copyright holder, application for which should be addressed to the copyright holder.</a:t>
            </a:r>
            <a:endParaRPr lang="en-US" altLang="en-US" sz="800">
              <a:solidFill>
                <a:schemeClr val="tx2"/>
              </a:solidFill>
              <a:latin typeface="+mj-lt"/>
            </a:endParaRPr>
          </a:p>
        </p:txBody>
      </p:sp>
      <p:pic>
        <p:nvPicPr>
          <p:cNvPr id="14" name="Picture 13" descr="Logo&#10;&#10;Description automatically generated">
            <a:extLst>
              <a:ext uri="{FF2B5EF4-FFF2-40B4-BE49-F238E27FC236}">
                <a16:creationId xmlns:a16="http://schemas.microsoft.com/office/drawing/2014/main" id="{98FE10A9-5704-4F3C-8B3C-7574F19FA768}"/>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266718" y="234521"/>
            <a:ext cx="1023822" cy="617964"/>
          </a:xfrm>
          <a:prstGeom prst="rect">
            <a:avLst/>
          </a:prstGeom>
        </p:spPr>
      </p:pic>
      <p:sp>
        <p:nvSpPr>
          <p:cNvPr id="3" name="Text Placeholder 2">
            <a:extLst>
              <a:ext uri="{FF2B5EF4-FFF2-40B4-BE49-F238E27FC236}">
                <a16:creationId xmlns:a16="http://schemas.microsoft.com/office/drawing/2014/main" id="{6490C022-61DF-4A46-B4EE-EBDEBFAD17CF}"/>
              </a:ext>
            </a:extLst>
          </p:cNvPr>
          <p:cNvSpPr>
            <a:spLocks noGrp="1"/>
          </p:cNvSpPr>
          <p:nvPr>
            <p:ph type="body" sz="quarter" idx="10" hasCustomPrompt="1"/>
          </p:nvPr>
        </p:nvSpPr>
        <p:spPr>
          <a:xfrm>
            <a:off x="1148631" y="876301"/>
            <a:ext cx="6089252" cy="618332"/>
          </a:xfrm>
        </p:spPr>
        <p:txBody>
          <a:bodyPr/>
          <a:lstStyle>
            <a:lvl1pPr>
              <a:defRPr/>
            </a:lvl1pPr>
          </a:lstStyle>
          <a:p>
            <a:pPr lvl="0"/>
            <a:r>
              <a:rPr lang="en-GB"/>
              <a:t>Type Contacts here Click to edit Master text styles</a:t>
            </a:r>
          </a:p>
          <a:p>
            <a:pPr lvl="1"/>
            <a:endParaRPr lang="en-GB"/>
          </a:p>
        </p:txBody>
      </p:sp>
      <p:sp>
        <p:nvSpPr>
          <p:cNvPr id="5" name="Text Placeholder 4">
            <a:extLst>
              <a:ext uri="{FF2B5EF4-FFF2-40B4-BE49-F238E27FC236}">
                <a16:creationId xmlns:a16="http://schemas.microsoft.com/office/drawing/2014/main" id="{9C953F46-6112-4E15-A99B-7F05982CDB37}"/>
              </a:ext>
            </a:extLst>
          </p:cNvPr>
          <p:cNvSpPr>
            <a:spLocks noGrp="1"/>
          </p:cNvSpPr>
          <p:nvPr>
            <p:ph type="body" sz="quarter" idx="11"/>
          </p:nvPr>
        </p:nvSpPr>
        <p:spPr>
          <a:xfrm>
            <a:off x="1148631" y="173355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1" name="Text Placeholder 4">
            <a:extLst>
              <a:ext uri="{FF2B5EF4-FFF2-40B4-BE49-F238E27FC236}">
                <a16:creationId xmlns:a16="http://schemas.microsoft.com/office/drawing/2014/main" id="{5FDFF431-FEA8-488C-8AE1-F6A43D747270}"/>
              </a:ext>
            </a:extLst>
          </p:cNvPr>
          <p:cNvSpPr>
            <a:spLocks noGrp="1"/>
          </p:cNvSpPr>
          <p:nvPr>
            <p:ph type="body" sz="quarter" idx="12"/>
          </p:nvPr>
        </p:nvSpPr>
        <p:spPr>
          <a:xfrm>
            <a:off x="4577855" y="173355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55FBD153-1B2F-4111-865C-F75DAA3DFBC1}"/>
              </a:ext>
            </a:extLst>
          </p:cNvPr>
          <p:cNvSpPr>
            <a:spLocks noGrp="1"/>
          </p:cNvSpPr>
          <p:nvPr>
            <p:ph type="body" sz="quarter" idx="13"/>
          </p:nvPr>
        </p:nvSpPr>
        <p:spPr>
          <a:xfrm>
            <a:off x="1148631" y="274320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99CC2B5D-4E46-4CC2-9A8B-122076B719B5}"/>
              </a:ext>
            </a:extLst>
          </p:cNvPr>
          <p:cNvSpPr>
            <a:spLocks noGrp="1"/>
          </p:cNvSpPr>
          <p:nvPr>
            <p:ph type="body" sz="quarter" idx="14"/>
          </p:nvPr>
        </p:nvSpPr>
        <p:spPr>
          <a:xfrm>
            <a:off x="4577855" y="2743200"/>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FA1C8FD5-1780-4961-B1F6-8EEAB8F96913}"/>
              </a:ext>
            </a:extLst>
          </p:cNvPr>
          <p:cNvSpPr>
            <a:spLocks noGrp="1"/>
          </p:cNvSpPr>
          <p:nvPr>
            <p:ph type="body" sz="quarter" idx="15"/>
          </p:nvPr>
        </p:nvSpPr>
        <p:spPr>
          <a:xfrm>
            <a:off x="1148631" y="3756827"/>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E4A63BB1-42F5-4BED-A1EC-90323C3B2CF1}"/>
              </a:ext>
            </a:extLst>
          </p:cNvPr>
          <p:cNvSpPr>
            <a:spLocks noGrp="1"/>
          </p:cNvSpPr>
          <p:nvPr>
            <p:ph type="body" sz="quarter" idx="16"/>
          </p:nvPr>
        </p:nvSpPr>
        <p:spPr>
          <a:xfrm>
            <a:off x="4577855" y="3756827"/>
            <a:ext cx="2660029" cy="685800"/>
          </a:xfrm>
        </p:spPr>
        <p:txBody>
          <a:bodyPr/>
          <a:lstStyle>
            <a:lvl1pPr>
              <a:defRPr sz="1000"/>
            </a:lvl1pPr>
            <a:lvl2pPr>
              <a:defRPr sz="900"/>
            </a:lvl2pPr>
            <a:lvl3pPr>
              <a:defRPr sz="1000"/>
            </a:lvl3pPr>
            <a:lvl4pPr>
              <a:defRPr sz="1000"/>
            </a:lvl4pPr>
            <a:lvl5pPr>
              <a:defRPr sz="10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80172327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ack page_Dark">
    <p:bg>
      <p:bgPr>
        <a:solidFill>
          <a:srgbClr val="262836"/>
        </a:solidFill>
        <a:effectLst/>
      </p:bgPr>
    </p:bg>
    <p:spTree>
      <p:nvGrpSpPr>
        <p:cNvPr id="1" name=""/>
        <p:cNvGrpSpPr/>
        <p:nvPr/>
      </p:nvGrpSpPr>
      <p:grpSpPr>
        <a:xfrm>
          <a:off x="0" y="0"/>
          <a:ext cx="0" cy="0"/>
          <a:chOff x="0" y="0"/>
          <a:chExt cx="0" cy="0"/>
        </a:xfrm>
      </p:grpSpPr>
      <p:pic>
        <p:nvPicPr>
          <p:cNvPr id="14" name="Picture 13" descr="Logo&#10;&#10;Description automatically generated">
            <a:extLst>
              <a:ext uri="{FF2B5EF4-FFF2-40B4-BE49-F238E27FC236}">
                <a16:creationId xmlns:a16="http://schemas.microsoft.com/office/drawing/2014/main" id="{98FE10A9-5704-4F3C-8B3C-7574F19FA76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66718" y="234521"/>
            <a:ext cx="1023822" cy="617964"/>
          </a:xfrm>
          <a:prstGeom prst="rect">
            <a:avLst/>
          </a:prstGeom>
        </p:spPr>
      </p:pic>
      <p:sp>
        <p:nvSpPr>
          <p:cNvPr id="3" name="Text Placeholder 2">
            <a:extLst>
              <a:ext uri="{FF2B5EF4-FFF2-40B4-BE49-F238E27FC236}">
                <a16:creationId xmlns:a16="http://schemas.microsoft.com/office/drawing/2014/main" id="{6490C022-61DF-4A46-B4EE-EBDEBFAD17CF}"/>
              </a:ext>
            </a:extLst>
          </p:cNvPr>
          <p:cNvSpPr>
            <a:spLocks noGrp="1"/>
          </p:cNvSpPr>
          <p:nvPr>
            <p:ph type="body" sz="quarter" idx="10" hasCustomPrompt="1"/>
          </p:nvPr>
        </p:nvSpPr>
        <p:spPr>
          <a:xfrm>
            <a:off x="1148631" y="876301"/>
            <a:ext cx="6089252" cy="618332"/>
          </a:xfrm>
        </p:spPr>
        <p:txBody>
          <a:bodyPr/>
          <a:lstStyle>
            <a:lvl1pPr>
              <a:defRPr>
                <a:solidFill>
                  <a:schemeClr val="bg1"/>
                </a:solidFill>
              </a:defRPr>
            </a:lvl1pPr>
            <a:lvl2pPr>
              <a:defRPr>
                <a:solidFill>
                  <a:schemeClr val="bg1"/>
                </a:solidFill>
              </a:defRPr>
            </a:lvl2pPr>
          </a:lstStyle>
          <a:p>
            <a:pPr lvl="0"/>
            <a:r>
              <a:rPr lang="en-GB"/>
              <a:t>Type Contacts here Click to edit Master text styles</a:t>
            </a:r>
          </a:p>
          <a:p>
            <a:pPr lvl="1"/>
            <a:endParaRPr lang="en-GB"/>
          </a:p>
        </p:txBody>
      </p:sp>
      <p:sp>
        <p:nvSpPr>
          <p:cNvPr id="5" name="Text Placeholder 4">
            <a:extLst>
              <a:ext uri="{FF2B5EF4-FFF2-40B4-BE49-F238E27FC236}">
                <a16:creationId xmlns:a16="http://schemas.microsoft.com/office/drawing/2014/main" id="{9C953F46-6112-4E15-A99B-7F05982CDB37}"/>
              </a:ext>
            </a:extLst>
          </p:cNvPr>
          <p:cNvSpPr>
            <a:spLocks noGrp="1"/>
          </p:cNvSpPr>
          <p:nvPr>
            <p:ph type="body" sz="quarter" idx="11"/>
          </p:nvPr>
        </p:nvSpPr>
        <p:spPr>
          <a:xfrm>
            <a:off x="1148631" y="173355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1" name="Text Placeholder 4">
            <a:extLst>
              <a:ext uri="{FF2B5EF4-FFF2-40B4-BE49-F238E27FC236}">
                <a16:creationId xmlns:a16="http://schemas.microsoft.com/office/drawing/2014/main" id="{5FDFF431-FEA8-488C-8AE1-F6A43D747270}"/>
              </a:ext>
            </a:extLst>
          </p:cNvPr>
          <p:cNvSpPr>
            <a:spLocks noGrp="1"/>
          </p:cNvSpPr>
          <p:nvPr>
            <p:ph type="body" sz="quarter" idx="12"/>
          </p:nvPr>
        </p:nvSpPr>
        <p:spPr>
          <a:xfrm>
            <a:off x="4577855" y="173355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2" name="Text Placeholder 4">
            <a:extLst>
              <a:ext uri="{FF2B5EF4-FFF2-40B4-BE49-F238E27FC236}">
                <a16:creationId xmlns:a16="http://schemas.microsoft.com/office/drawing/2014/main" id="{55FBD153-1B2F-4111-865C-F75DAA3DFBC1}"/>
              </a:ext>
            </a:extLst>
          </p:cNvPr>
          <p:cNvSpPr>
            <a:spLocks noGrp="1"/>
          </p:cNvSpPr>
          <p:nvPr>
            <p:ph type="body" sz="quarter" idx="13"/>
          </p:nvPr>
        </p:nvSpPr>
        <p:spPr>
          <a:xfrm>
            <a:off x="1148631" y="274320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3" name="Text Placeholder 4">
            <a:extLst>
              <a:ext uri="{FF2B5EF4-FFF2-40B4-BE49-F238E27FC236}">
                <a16:creationId xmlns:a16="http://schemas.microsoft.com/office/drawing/2014/main" id="{99CC2B5D-4E46-4CC2-9A8B-122076B719B5}"/>
              </a:ext>
            </a:extLst>
          </p:cNvPr>
          <p:cNvSpPr>
            <a:spLocks noGrp="1"/>
          </p:cNvSpPr>
          <p:nvPr>
            <p:ph type="body" sz="quarter" idx="14"/>
          </p:nvPr>
        </p:nvSpPr>
        <p:spPr>
          <a:xfrm>
            <a:off x="4577855" y="2743200"/>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4" name="Text Placeholder 4">
            <a:extLst>
              <a:ext uri="{FF2B5EF4-FFF2-40B4-BE49-F238E27FC236}">
                <a16:creationId xmlns:a16="http://schemas.microsoft.com/office/drawing/2014/main" id="{FA1C8FD5-1780-4961-B1F6-8EEAB8F96913}"/>
              </a:ext>
            </a:extLst>
          </p:cNvPr>
          <p:cNvSpPr>
            <a:spLocks noGrp="1"/>
          </p:cNvSpPr>
          <p:nvPr>
            <p:ph type="body" sz="quarter" idx="15"/>
          </p:nvPr>
        </p:nvSpPr>
        <p:spPr>
          <a:xfrm>
            <a:off x="1148631" y="3756827"/>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5" name="Text Placeholder 4">
            <a:extLst>
              <a:ext uri="{FF2B5EF4-FFF2-40B4-BE49-F238E27FC236}">
                <a16:creationId xmlns:a16="http://schemas.microsoft.com/office/drawing/2014/main" id="{E4A63BB1-42F5-4BED-A1EC-90323C3B2CF1}"/>
              </a:ext>
            </a:extLst>
          </p:cNvPr>
          <p:cNvSpPr>
            <a:spLocks noGrp="1"/>
          </p:cNvSpPr>
          <p:nvPr>
            <p:ph type="body" sz="quarter" idx="16"/>
          </p:nvPr>
        </p:nvSpPr>
        <p:spPr>
          <a:xfrm>
            <a:off x="4577855" y="3756827"/>
            <a:ext cx="2660029" cy="685800"/>
          </a:xfrm>
        </p:spPr>
        <p:txBody>
          <a:bodyPr/>
          <a:lstStyle>
            <a:lvl1pPr>
              <a:defRPr sz="1000">
                <a:solidFill>
                  <a:schemeClr val="bg1"/>
                </a:solidFill>
              </a:defRPr>
            </a:lvl1pPr>
            <a:lvl2pPr>
              <a:defRPr sz="900">
                <a:solidFill>
                  <a:schemeClr val="bg1"/>
                </a:solidFill>
              </a:defRPr>
            </a:lvl2pPr>
            <a:lvl3pPr>
              <a:defRPr sz="1000"/>
            </a:lvl3pPr>
            <a:lvl4pPr>
              <a:defRPr sz="1000"/>
            </a:lvl4pPr>
            <a:lvl5pPr>
              <a:defRPr sz="1000"/>
            </a:lvl5pPr>
          </a:lstStyle>
          <a:p>
            <a:pPr lvl="0"/>
            <a:r>
              <a:rPr lang="en-US"/>
              <a:t>Click to edit Master text styles</a:t>
            </a:r>
          </a:p>
          <a:p>
            <a:pPr lvl="1"/>
            <a:r>
              <a:rPr lang="en-US"/>
              <a:t>Second level</a:t>
            </a:r>
          </a:p>
        </p:txBody>
      </p:sp>
      <p:sp>
        <p:nvSpPr>
          <p:cNvPr id="2" name="Rectangle 10">
            <a:extLst>
              <a:ext uri="{FF2B5EF4-FFF2-40B4-BE49-F238E27FC236}">
                <a16:creationId xmlns:a16="http://schemas.microsoft.com/office/drawing/2014/main" id="{A03835E2-0D5E-EDB3-C309-AAC947DAC068}"/>
              </a:ext>
            </a:extLst>
          </p:cNvPr>
          <p:cNvSpPr>
            <a:spLocks noChangeArrowheads="1"/>
          </p:cNvSpPr>
          <p:nvPr userDrawn="1"/>
        </p:nvSpPr>
        <p:spPr bwMode="auto">
          <a:xfrm>
            <a:off x="1148631" y="5341747"/>
            <a:ext cx="1341083" cy="11077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marL="0" lvl="0" algn="l" defTabSz="875871" rtl="0" eaLnBrk="1" latinLnBrk="0" hangingPunct="1">
              <a:spcAft>
                <a:spcPts val="0"/>
              </a:spcAft>
            </a:pPr>
            <a:r>
              <a:rPr lang="en-US" altLang="en-US" sz="800" kern="1200">
                <a:solidFill>
                  <a:schemeClr val="bg1"/>
                </a:solidFill>
                <a:latin typeface="+mj-lt"/>
                <a:ea typeface="+mn-ea"/>
                <a:cs typeface="+mn-cs"/>
              </a:rPr>
              <a:t>Aon CEE</a:t>
            </a:r>
          </a:p>
          <a:p>
            <a:pPr marL="0" lvl="0" algn="l" defTabSz="875871" rtl="0" eaLnBrk="1" latinLnBrk="0" hangingPunct="1">
              <a:spcAft>
                <a:spcPts val="0"/>
              </a:spcAft>
            </a:pPr>
            <a:r>
              <a:rPr lang="en-US" altLang="en-US" sz="800" kern="1200">
                <a:solidFill>
                  <a:schemeClr val="bg1"/>
                </a:solidFill>
                <a:latin typeface="+mj-lt"/>
                <a:ea typeface="+mn-ea"/>
                <a:cs typeface="+mn-cs"/>
              </a:rPr>
              <a:t>Reinsurance Solutions</a:t>
            </a:r>
          </a:p>
          <a:p>
            <a:pPr marL="0" lvl="0" algn="l" defTabSz="875871" rtl="0" eaLnBrk="1" latinLnBrk="0" hangingPunct="1">
              <a:spcAft>
                <a:spcPts val="0"/>
              </a:spcAft>
            </a:pPr>
            <a:r>
              <a:rPr lang="en-US" altLang="en-US" sz="800" kern="1200">
                <a:solidFill>
                  <a:schemeClr val="bg1"/>
                </a:solidFill>
                <a:latin typeface="+mj-lt"/>
                <a:ea typeface="+mn-ea"/>
                <a:cs typeface="+mn-cs"/>
              </a:rPr>
              <a:t>Vaclavske namesti 832/19</a:t>
            </a:r>
          </a:p>
          <a:p>
            <a:pPr marL="0" lvl="0" algn="l" defTabSz="875871" rtl="0" eaLnBrk="1" latinLnBrk="0" hangingPunct="1">
              <a:spcAft>
                <a:spcPts val="0"/>
              </a:spcAft>
            </a:pPr>
            <a:r>
              <a:rPr lang="en-US" altLang="en-US" sz="800" kern="1200">
                <a:solidFill>
                  <a:schemeClr val="bg1"/>
                </a:solidFill>
                <a:latin typeface="+mj-lt"/>
                <a:ea typeface="+mn-ea"/>
                <a:cs typeface="+mn-cs"/>
              </a:rPr>
              <a:t>110 00 Prague 1</a:t>
            </a:r>
          </a:p>
          <a:p>
            <a:pPr marL="0" lvl="0" algn="l" defTabSz="875871" rtl="0" eaLnBrk="1" latinLnBrk="0" hangingPunct="1">
              <a:spcAft>
                <a:spcPts val="0"/>
              </a:spcAft>
            </a:pPr>
            <a:r>
              <a:rPr lang="en-US" altLang="en-US" sz="800" kern="1200">
                <a:solidFill>
                  <a:schemeClr val="bg1"/>
                </a:solidFill>
                <a:latin typeface="+mj-lt"/>
                <a:ea typeface="+mn-ea"/>
                <a:cs typeface="+mn-cs"/>
              </a:rPr>
              <a:t>Czech Republic</a:t>
            </a:r>
          </a:p>
          <a:p>
            <a:pPr marL="0" lvl="0" algn="l" defTabSz="875871" rtl="0" eaLnBrk="1" latinLnBrk="0" hangingPunct="1">
              <a:spcAft>
                <a:spcPts val="0"/>
              </a:spcAft>
            </a:pPr>
            <a:endParaRPr lang="en-US" altLang="en-US" sz="800" kern="1200">
              <a:solidFill>
                <a:schemeClr val="bg1"/>
              </a:solidFill>
              <a:latin typeface="+mj-lt"/>
              <a:ea typeface="+mn-ea"/>
              <a:cs typeface="+mn-cs"/>
            </a:endParaRPr>
          </a:p>
          <a:p>
            <a:pPr marL="0" lvl="0" algn="l" defTabSz="875871" rtl="0" eaLnBrk="1" latinLnBrk="0" hangingPunct="1">
              <a:spcAft>
                <a:spcPts val="0"/>
              </a:spcAft>
            </a:pPr>
            <a:r>
              <a:rPr lang="en-US" altLang="en-US" sz="800" kern="1200">
                <a:solidFill>
                  <a:schemeClr val="bg1"/>
                </a:solidFill>
                <a:latin typeface="+mj-lt"/>
                <a:ea typeface="+mn-ea"/>
                <a:cs typeface="+mn-cs"/>
              </a:rPr>
              <a:t>+420 234 618 357</a:t>
            </a:r>
          </a:p>
          <a:p>
            <a:pPr marL="0" lvl="0" algn="l" defTabSz="875871" rtl="0" eaLnBrk="1" latinLnBrk="0" hangingPunct="1">
              <a:spcAft>
                <a:spcPts val="0"/>
              </a:spcAft>
            </a:pPr>
            <a:endParaRPr lang="en-US" altLang="en-US" sz="800" kern="1200">
              <a:solidFill>
                <a:schemeClr val="bg1"/>
              </a:solidFill>
              <a:latin typeface="+mj-lt"/>
              <a:ea typeface="+mn-ea"/>
              <a:cs typeface="+mn-cs"/>
            </a:endParaRPr>
          </a:p>
          <a:p>
            <a:pPr marL="0" lvl="0" algn="l" defTabSz="875871" rtl="0" eaLnBrk="1" latinLnBrk="0" hangingPunct="1">
              <a:spcAft>
                <a:spcPts val="0"/>
              </a:spcAft>
            </a:pPr>
            <a:r>
              <a:rPr lang="en-US" altLang="en-US" sz="800" kern="1200">
                <a:solidFill>
                  <a:schemeClr val="bg1"/>
                </a:solidFill>
                <a:latin typeface="+mj-lt"/>
                <a:ea typeface="+mn-ea"/>
                <a:cs typeface="+mn-cs"/>
              </a:rPr>
              <a:t>aon.com</a:t>
            </a:r>
          </a:p>
        </p:txBody>
      </p:sp>
      <p:sp>
        <p:nvSpPr>
          <p:cNvPr id="4" name="Rectangle 9">
            <a:extLst>
              <a:ext uri="{FF2B5EF4-FFF2-40B4-BE49-F238E27FC236}">
                <a16:creationId xmlns:a16="http://schemas.microsoft.com/office/drawing/2014/main" id="{A6BB0B3B-F9E8-5A49-6626-3662AE79DB0D}"/>
              </a:ext>
            </a:extLst>
          </p:cNvPr>
          <p:cNvSpPr>
            <a:spLocks noChangeArrowheads="1"/>
          </p:cNvSpPr>
          <p:nvPr userDrawn="1"/>
        </p:nvSpPr>
        <p:spPr bwMode="auto">
          <a:xfrm>
            <a:off x="3047404" y="5341747"/>
            <a:ext cx="5592944" cy="1230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p>
            <a:pPr lvl="0"/>
            <a:r>
              <a:rPr lang="en-GB" altLang="en-US" sz="800" baseline="30000">
                <a:solidFill>
                  <a:schemeClr val="bg1"/>
                </a:solidFill>
                <a:latin typeface="+mj-lt"/>
              </a:rPr>
              <a:t>©</a:t>
            </a:r>
            <a:r>
              <a:rPr lang="en-GB" altLang="en-US" sz="800">
                <a:solidFill>
                  <a:schemeClr val="bg1"/>
                </a:solidFill>
                <a:latin typeface="+mj-lt"/>
              </a:rPr>
              <a:t>Copyright</a:t>
            </a:r>
            <a:r>
              <a:rPr lang="en-US" altLang="en-US" sz="800">
                <a:solidFill>
                  <a:schemeClr val="bg1"/>
                </a:solidFill>
                <a:latin typeface="+mj-lt"/>
              </a:rPr>
              <a:t> Aon plc 2025. All rights reserved.</a:t>
            </a:r>
          </a:p>
          <a:p>
            <a:pPr lvl="0"/>
            <a:endParaRPr lang="en-US" altLang="en-US" sz="800">
              <a:solidFill>
                <a:schemeClr val="bg1"/>
              </a:solidFill>
              <a:latin typeface="+mj-lt"/>
            </a:endParaRPr>
          </a:p>
          <a:p>
            <a:pPr lvl="0"/>
            <a:r>
              <a:rPr lang="en-US" altLang="en-US" sz="800">
                <a:solidFill>
                  <a:schemeClr val="bg1"/>
                </a:solidFill>
                <a:latin typeface="+mj-lt"/>
              </a:rPr>
              <a:t>This document is intended for general information purposes only and should not be construed as advice or opinions on any specific facts or circumstances. The comments in this summary are based upon Aon’s preliminary analysis of publicly available information. The content of this document is made available on an “as is” basis, without warranty of any kind. Aon disclaims any legal liability to any person or organization for loss or damage caused by or resulting from any reliance placed on that content. Aon reserves all rights to the content of this document. </a:t>
            </a:r>
          </a:p>
          <a:p>
            <a:pPr marL="0" marR="0" lvl="0" indent="0" algn="l" defTabSz="875871" rtl="0" eaLnBrk="1" fontAlgn="auto" latinLnBrk="0" hangingPunct="1">
              <a:lnSpc>
                <a:spcPct val="100000"/>
              </a:lnSpc>
              <a:spcBef>
                <a:spcPts val="0"/>
              </a:spcBef>
              <a:spcAft>
                <a:spcPts val="0"/>
              </a:spcAft>
              <a:buClrTx/>
              <a:buSzTx/>
              <a:buFontTx/>
              <a:buNone/>
              <a:tabLst/>
              <a:defRPr/>
            </a:pPr>
            <a:r>
              <a:rPr lang="en-GB" altLang="en-US" sz="800">
                <a:solidFill>
                  <a:schemeClr val="bg1"/>
                </a:solidFill>
                <a:latin typeface="+mj-lt"/>
              </a:rPr>
              <a:t>No part of this publication may be reproduced, stored in a retrieval system, or transmitted in any way or by any means, including photocopying or recording, without the written permission of the copyright holder, application for which should be addressed to the copyright holder.</a:t>
            </a:r>
            <a:endParaRPr lang="en-US" altLang="en-US" sz="800">
              <a:solidFill>
                <a:schemeClr val="bg1"/>
              </a:solidFill>
              <a:latin typeface="+mj-lt"/>
            </a:endParaRPr>
          </a:p>
        </p:txBody>
      </p:sp>
    </p:spTree>
    <p:extLst>
      <p:ext uri="{BB962C8B-B14F-4D97-AF65-F5344CB8AC3E}">
        <p14:creationId xmlns:p14="http://schemas.microsoft.com/office/powerpoint/2010/main" val="163575139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Title Subheader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a:lstStyle/>
          <a:p>
            <a:r>
              <a:rPr lang="en-US"/>
              <a:t>Click to edit Master title style</a:t>
            </a:r>
          </a:p>
        </p:txBody>
      </p:sp>
      <p:sp>
        <p:nvSpPr>
          <p:cNvPr id="3" name="Content Placeholder 2"/>
          <p:cNvSpPr>
            <a:spLocks noGrp="1"/>
          </p:cNvSpPr>
          <p:nvPr>
            <p:ph idx="1"/>
          </p:nvPr>
        </p:nvSpPr>
        <p:spPr>
          <a:xfrm>
            <a:off x="1142280" y="1144589"/>
            <a:ext cx="10560771" cy="4951412"/>
          </a:xfrm>
        </p:spPr>
        <p:txBody>
          <a:bodyPr/>
          <a:lstStyle>
            <a:lvl1pPr marL="0" indent="0">
              <a:buNone/>
              <a:defRPr sz="2399" b="0"/>
            </a:lvl1pPr>
            <a:lvl2pPr marL="0" indent="0">
              <a:spcAft>
                <a:spcPts val="534"/>
              </a:spcAft>
              <a:buNone/>
              <a:defRPr/>
            </a:lvl2pPr>
            <a:lvl3pPr marL="304751" indent="-304751">
              <a:buFont typeface="Wingdings" panose="05000000000000000000" pitchFamily="2" charset="2"/>
              <a:buChar char="§"/>
              <a:defRPr/>
            </a:lvl3pPr>
            <a:lvl4pPr marL="761876" indent="-300518">
              <a:buFont typeface="Arial" panose="020B0604020202020204" pitchFamily="34" charset="0"/>
              <a:buChar char="–"/>
              <a:defRPr/>
            </a:lvl4pPr>
            <a:lvl5pPr marL="1223235" indent="-308983">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aphicFrame>
        <p:nvGraphicFramePr>
          <p:cNvPr id="4" name="Object 3" hidden="1">
            <a:extLst>
              <a:ext uri="{FF2B5EF4-FFF2-40B4-BE49-F238E27FC236}">
                <a16:creationId xmlns:a16="http://schemas.microsoft.com/office/drawing/2014/main" id="{F56A2918-FB2D-4CEC-BA5F-D29877A47489}"/>
              </a:ext>
            </a:extLst>
          </p:cNvPr>
          <p:cNvGraphicFramePr>
            <a:graphicFrameLocks noChangeAspect="1"/>
          </p:cNvGraphicFramePr>
          <p:nvPr userDrawn="1">
            <p:custDataLst>
              <p:tags r:id="rId1"/>
            </p:custDataLst>
          </p:nvPr>
        </p:nvGraphicFramePr>
        <p:xfrm>
          <a:off x="2118" y="2117"/>
          <a:ext cx="2117" cy="2118"/>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4" name="Object 3" hidden="1">
                        <a:extLst>
                          <a:ext uri="{FF2B5EF4-FFF2-40B4-BE49-F238E27FC236}">
                            <a16:creationId xmlns:a16="http://schemas.microsoft.com/office/drawing/2014/main" id="{F56A2918-FB2D-4CEC-BA5F-D29877A47489}"/>
                          </a:ext>
                        </a:extLst>
                      </p:cNvPr>
                      <p:cNvPicPr/>
                      <p:nvPr/>
                    </p:nvPicPr>
                    <p:blipFill>
                      <a:blip r:embed="rId5"/>
                      <a:stretch>
                        <a:fillRect/>
                      </a:stretch>
                    </p:blipFill>
                    <p:spPr>
                      <a:xfrm>
                        <a:off x="2118" y="2117"/>
                        <a:ext cx="2117" cy="211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ECDC443-3871-492F-8329-87BF8EEF296B}"/>
              </a:ext>
            </a:extLst>
          </p:cNvPr>
          <p:cNvSpPr/>
          <p:nvPr userDrawn="1">
            <p:custDataLst>
              <p:tags r:id="rId2"/>
            </p:custDataLst>
          </p:nvPr>
        </p:nvSpPr>
        <p:spPr bwMode="auto">
          <a:xfrm>
            <a:off x="0" y="0"/>
            <a:ext cx="211667" cy="211667"/>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l" defTabSz="1219002" rtl="0" eaLnBrk="0" fontAlgn="base" latinLnBrk="0" hangingPunct="0">
              <a:lnSpc>
                <a:spcPct val="100000"/>
              </a:lnSpc>
              <a:spcBef>
                <a:spcPct val="0"/>
              </a:spcBef>
              <a:spcAft>
                <a:spcPct val="0"/>
              </a:spcAft>
              <a:buClrTx/>
              <a:buSzTx/>
              <a:buFontTx/>
              <a:buNone/>
              <a:tabLst/>
            </a:pPr>
            <a:endParaRPr kumimoji="0" lang="en-GB" sz="2666" b="0" i="0" u="none" strike="noStrike" cap="none" normalizeH="0" baseline="0">
              <a:ln>
                <a:noFill/>
              </a:ln>
              <a:solidFill>
                <a:schemeClr val="tx1"/>
              </a:solidFill>
              <a:effectLst/>
              <a:latin typeface="Arial" panose="020B0604020202020204" pitchFamily="34" charset="0"/>
              <a:ea typeface="ＭＳ Ｐゴシック" panose="020B0600070205080204" pitchFamily="34" charset="-128"/>
              <a:cs typeface="+mj-cs"/>
              <a:sym typeface="Arial" panose="020B0604020202020204" pitchFamily="34" charset="0"/>
            </a:endParaRPr>
          </a:p>
        </p:txBody>
      </p:sp>
    </p:spTree>
    <p:extLst>
      <p:ext uri="{BB962C8B-B14F-4D97-AF65-F5344CB8AC3E}">
        <p14:creationId xmlns:p14="http://schemas.microsoft.com/office/powerpoint/2010/main" val="171313883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Content_3col">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2" y="1562101"/>
            <a:ext cx="3427635"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3">
            <a:extLst>
              <a:ext uri="{FF2B5EF4-FFF2-40B4-BE49-F238E27FC236}">
                <a16:creationId xmlns:a16="http://schemas.microsoft.com/office/drawing/2014/main" id="{3D3C49DE-9CF0-D64E-B027-761F00728619}"/>
              </a:ext>
            </a:extLst>
          </p:cNvPr>
          <p:cNvSpPr>
            <a:spLocks noGrp="1"/>
          </p:cNvSpPr>
          <p:nvPr>
            <p:ph sz="quarter" idx="15"/>
          </p:nvPr>
        </p:nvSpPr>
        <p:spPr>
          <a:xfrm>
            <a:off x="4957785" y="1562101"/>
            <a:ext cx="3427635"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a:extLst>
              <a:ext uri="{FF2B5EF4-FFF2-40B4-BE49-F238E27FC236}">
                <a16:creationId xmlns:a16="http://schemas.microsoft.com/office/drawing/2014/main" id="{D748340F-E610-DD45-9760-F316BD6985AA}"/>
              </a:ext>
            </a:extLst>
          </p:cNvPr>
          <p:cNvSpPr>
            <a:spLocks noGrp="1"/>
          </p:cNvSpPr>
          <p:nvPr>
            <p:ph sz="quarter" idx="16"/>
          </p:nvPr>
        </p:nvSpPr>
        <p:spPr>
          <a:xfrm>
            <a:off x="8773288" y="1562101"/>
            <a:ext cx="3036893" cy="44324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17474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5689A-25C2-46FE-A630-B72E633CAE6B}"/>
              </a:ext>
            </a:extLst>
          </p:cNvPr>
          <p:cNvSpPr>
            <a:spLocks noGrp="1"/>
          </p:cNvSpPr>
          <p:nvPr>
            <p:ph type="ctrTitle"/>
          </p:nvPr>
        </p:nvSpPr>
        <p:spPr>
          <a:xfrm>
            <a:off x="6095999" y="2254757"/>
            <a:ext cx="5724525" cy="1329595"/>
          </a:xfrm>
        </p:spPr>
        <p:txBody>
          <a:bodyPr lIns="0" rIns="0" anchor="b">
            <a:spAutoFit/>
          </a:bodyPr>
          <a:lstStyle>
            <a:lvl1pPr algn="l">
              <a:defRPr sz="4800" b="1"/>
            </a:lvl1pPr>
          </a:lstStyle>
          <a:p>
            <a:r>
              <a:rPr lang="en-US"/>
              <a:t>Click to edit Master title style</a:t>
            </a:r>
            <a:endParaRPr lang="fr-BE"/>
          </a:p>
        </p:txBody>
      </p:sp>
      <p:sp>
        <p:nvSpPr>
          <p:cNvPr id="3" name="Subtitle 2">
            <a:extLst>
              <a:ext uri="{FF2B5EF4-FFF2-40B4-BE49-F238E27FC236}">
                <a16:creationId xmlns:a16="http://schemas.microsoft.com/office/drawing/2014/main" id="{B457FC78-AF62-44A8-826D-6106F41083C7}"/>
              </a:ext>
            </a:extLst>
          </p:cNvPr>
          <p:cNvSpPr>
            <a:spLocks noGrp="1"/>
          </p:cNvSpPr>
          <p:nvPr>
            <p:ph type="subTitle" idx="1"/>
          </p:nvPr>
        </p:nvSpPr>
        <p:spPr>
          <a:xfrm>
            <a:off x="6095999" y="3694856"/>
            <a:ext cx="5724525" cy="276999"/>
          </a:xfrm>
        </p:spPr>
        <p:txBody>
          <a:bodyPr lIns="0" rIns="0">
            <a:spAutoFit/>
          </a:bodyPr>
          <a:lstStyle>
            <a:lvl1pPr marL="0" indent="0" algn="l">
              <a:buNone/>
              <a:defRPr sz="20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fr-BE"/>
          </a:p>
        </p:txBody>
      </p:sp>
      <p:sp>
        <p:nvSpPr>
          <p:cNvPr id="8" name="Picture Placeholder 8">
            <a:extLst>
              <a:ext uri="{FF2B5EF4-FFF2-40B4-BE49-F238E27FC236}">
                <a16:creationId xmlns:a16="http://schemas.microsoft.com/office/drawing/2014/main" id="{53D9F3C2-2910-426E-A746-48C9C387B6EF}"/>
              </a:ext>
            </a:extLst>
          </p:cNvPr>
          <p:cNvSpPr>
            <a:spLocks noGrp="1"/>
          </p:cNvSpPr>
          <p:nvPr>
            <p:ph type="pic" sz="quarter" idx="11"/>
          </p:nvPr>
        </p:nvSpPr>
        <p:spPr>
          <a:xfrm>
            <a:off x="371477" y="1041993"/>
            <a:ext cx="4716412" cy="4763272"/>
          </a:xfrm>
          <a:prstGeom prst="roundRect">
            <a:avLst>
              <a:gd name="adj" fmla="val 5651"/>
            </a:avLst>
          </a:prstGeom>
          <a:noFill/>
          <a:effectLst>
            <a:outerShdw blurRad="228600" dist="50800" algn="l" rotWithShape="0">
              <a:schemeClr val="accent1">
                <a:alpha val="70000"/>
              </a:schemeClr>
            </a:outerShdw>
          </a:effectLst>
        </p:spPr>
        <p:txBody>
          <a:bodyPr rIns="0" anchor="ctr"/>
          <a:lstStyle>
            <a:lvl1pPr marL="0" indent="0" algn="ctr">
              <a:buNone/>
              <a:defRPr b="0">
                <a:solidFill>
                  <a:schemeClr val="tx1"/>
                </a:solidFill>
              </a:defRPr>
            </a:lvl1pPr>
          </a:lstStyle>
          <a:p>
            <a:r>
              <a:rPr lang="en-US"/>
              <a:t>Click icon to add picture</a:t>
            </a:r>
            <a:endParaRPr lang="fr-BE"/>
          </a:p>
        </p:txBody>
      </p:sp>
      <p:sp>
        <p:nvSpPr>
          <p:cNvPr id="6" name="Text Placeholder 5">
            <a:extLst>
              <a:ext uri="{FF2B5EF4-FFF2-40B4-BE49-F238E27FC236}">
                <a16:creationId xmlns:a16="http://schemas.microsoft.com/office/drawing/2014/main" id="{3EF95E7E-0014-4357-AA8D-B347801195E4}"/>
              </a:ext>
            </a:extLst>
          </p:cNvPr>
          <p:cNvSpPr>
            <a:spLocks noGrp="1"/>
          </p:cNvSpPr>
          <p:nvPr>
            <p:ph type="body" sz="quarter" idx="12"/>
          </p:nvPr>
        </p:nvSpPr>
        <p:spPr>
          <a:xfrm>
            <a:off x="3657768" y="4819561"/>
            <a:ext cx="4084465" cy="696216"/>
          </a:xfrm>
          <a:prstGeom prst="roundRect">
            <a:avLst>
              <a:gd name="adj" fmla="val 50000"/>
            </a:avLst>
          </a:prstGeom>
          <a:solidFill>
            <a:schemeClr val="accent1"/>
          </a:solidFill>
        </p:spPr>
        <p:txBody>
          <a:bodyPr wrap="none" lIns="252000" tIns="108000" rIns="252000" bIns="108000" anchor="ctr">
            <a:spAutoFit/>
          </a:bodyPr>
          <a:lstStyle>
            <a:lvl1pPr marL="0" indent="0" algn="ctr">
              <a:buNone/>
              <a:defRPr sz="2000" b="0">
                <a:solidFill>
                  <a:schemeClr val="bg1"/>
                </a:solidFill>
              </a:defRPr>
            </a:lvl1pPr>
          </a:lstStyle>
          <a:p>
            <a:pPr lvl="0"/>
            <a:r>
              <a:rPr lang="en-US"/>
              <a:t>Click to edit Master text styles</a:t>
            </a:r>
          </a:p>
        </p:txBody>
      </p:sp>
      <p:grpSp>
        <p:nvGrpSpPr>
          <p:cNvPr id="13" name="Groupe 22">
            <a:extLst>
              <a:ext uri="{FF2B5EF4-FFF2-40B4-BE49-F238E27FC236}">
                <a16:creationId xmlns:a16="http://schemas.microsoft.com/office/drawing/2014/main" id="{4F5D00FF-2E5D-4132-8F49-3D33939597B4}"/>
              </a:ext>
            </a:extLst>
          </p:cNvPr>
          <p:cNvGrpSpPr/>
          <p:nvPr userDrawn="1"/>
        </p:nvGrpSpPr>
        <p:grpSpPr>
          <a:xfrm>
            <a:off x="10746581" y="6172768"/>
            <a:ext cx="1062036" cy="301675"/>
            <a:chOff x="-838200" y="8253511"/>
            <a:chExt cx="12192000" cy="3463176"/>
          </a:xfrm>
          <a:solidFill>
            <a:schemeClr val="accent1"/>
          </a:solidFill>
        </p:grpSpPr>
        <p:sp>
          <p:nvSpPr>
            <p:cNvPr id="14" name="Forme libre : forme 23">
              <a:extLst>
                <a:ext uri="{FF2B5EF4-FFF2-40B4-BE49-F238E27FC236}">
                  <a16:creationId xmlns:a16="http://schemas.microsoft.com/office/drawing/2014/main" id="{516FE380-B89F-48F9-8007-E2D927394E2E}"/>
                </a:ext>
              </a:extLst>
            </p:cNvPr>
            <p:cNvSpPr/>
            <p:nvPr/>
          </p:nvSpPr>
          <p:spPr>
            <a:xfrm>
              <a:off x="-838200" y="10819488"/>
              <a:ext cx="12192000" cy="897199"/>
            </a:xfrm>
            <a:custGeom>
              <a:avLst/>
              <a:gdLst>
                <a:gd name="connsiteX0" fmla="*/ 12198649 w 12192000"/>
                <a:gd name="connsiteY0" fmla="*/ 885124 h 897199"/>
                <a:gd name="connsiteX1" fmla="*/ 12097839 w 12192000"/>
                <a:gd name="connsiteY1" fmla="*/ 885124 h 897199"/>
                <a:gd name="connsiteX2" fmla="*/ 11805730 w 12192000"/>
                <a:gd name="connsiteY2" fmla="*/ 581421 h 897199"/>
                <a:gd name="connsiteX3" fmla="*/ 11805730 w 12192000"/>
                <a:gd name="connsiteY3" fmla="*/ 885124 h 897199"/>
                <a:gd name="connsiteX4" fmla="*/ 11732688 w 12192000"/>
                <a:gd name="connsiteY4" fmla="*/ 885124 h 897199"/>
                <a:gd name="connsiteX5" fmla="*/ 11732688 w 12192000"/>
                <a:gd name="connsiteY5" fmla="*/ 15789 h 897199"/>
                <a:gd name="connsiteX6" fmla="*/ 11805730 w 12192000"/>
                <a:gd name="connsiteY6" fmla="*/ 15789 h 897199"/>
                <a:gd name="connsiteX7" fmla="*/ 11805730 w 12192000"/>
                <a:gd name="connsiteY7" fmla="*/ 536236 h 897199"/>
                <a:gd name="connsiteX8" fmla="*/ 12070007 w 12192000"/>
                <a:gd name="connsiteY8" fmla="*/ 293982 h 897199"/>
                <a:gd name="connsiteX9" fmla="*/ 12163887 w 12192000"/>
                <a:gd name="connsiteY9" fmla="*/ 293982 h 897199"/>
                <a:gd name="connsiteX10" fmla="*/ 11875270 w 12192000"/>
                <a:gd name="connsiteY10" fmla="*/ 555961 h 897199"/>
                <a:gd name="connsiteX11" fmla="*/ 12198649 w 12192000"/>
                <a:gd name="connsiteY11" fmla="*/ 885124 h 897199"/>
                <a:gd name="connsiteX12" fmla="*/ 11444120 w 12192000"/>
                <a:gd name="connsiteY12" fmla="*/ 342661 h 897199"/>
                <a:gd name="connsiteX13" fmla="*/ 11316608 w 12192000"/>
                <a:gd name="connsiteY13" fmla="*/ 441203 h 897199"/>
                <a:gd name="connsiteX14" fmla="*/ 11607548 w 12192000"/>
                <a:gd name="connsiteY14" fmla="*/ 730989 h 897199"/>
                <a:gd name="connsiteX15" fmla="*/ 11401218 w 12192000"/>
                <a:gd name="connsiteY15" fmla="*/ 899088 h 897199"/>
                <a:gd name="connsiteX16" fmla="*/ 11235475 w 12192000"/>
                <a:gd name="connsiteY16" fmla="*/ 871248 h 897199"/>
                <a:gd name="connsiteX17" fmla="*/ 11242445 w 12192000"/>
                <a:gd name="connsiteY17" fmla="*/ 799384 h 897199"/>
                <a:gd name="connsiteX18" fmla="*/ 11396595 w 12192000"/>
                <a:gd name="connsiteY18" fmla="*/ 836485 h 897199"/>
                <a:gd name="connsiteX19" fmla="*/ 11527584 w 12192000"/>
                <a:gd name="connsiteY19" fmla="*/ 730989 h 897199"/>
                <a:gd name="connsiteX20" fmla="*/ 11243590 w 12192000"/>
                <a:gd name="connsiteY20" fmla="*/ 441203 h 897199"/>
                <a:gd name="connsiteX21" fmla="*/ 11436004 w 12192000"/>
                <a:gd name="connsiteY21" fmla="*/ 280106 h 897199"/>
                <a:gd name="connsiteX22" fmla="*/ 11582055 w 12192000"/>
                <a:gd name="connsiteY22" fmla="*/ 306761 h 897199"/>
                <a:gd name="connsiteX23" fmla="*/ 11575085 w 12192000"/>
                <a:gd name="connsiteY23" fmla="*/ 370533 h 897199"/>
                <a:gd name="connsiteX24" fmla="*/ 11444120 w 12192000"/>
                <a:gd name="connsiteY24" fmla="*/ 342701 h 897199"/>
                <a:gd name="connsiteX25" fmla="*/ 11036115 w 12192000"/>
                <a:gd name="connsiteY25" fmla="*/ 38950 h 897199"/>
                <a:gd name="connsiteX26" fmla="*/ 11109148 w 12192000"/>
                <a:gd name="connsiteY26" fmla="*/ 38950 h 897199"/>
                <a:gd name="connsiteX27" fmla="*/ 11109148 w 12192000"/>
                <a:gd name="connsiteY27" fmla="*/ 136339 h 897199"/>
                <a:gd name="connsiteX28" fmla="*/ 11036115 w 12192000"/>
                <a:gd name="connsiteY28" fmla="*/ 136339 h 897199"/>
                <a:gd name="connsiteX29" fmla="*/ 11036115 w 12192000"/>
                <a:gd name="connsiteY29" fmla="*/ 38950 h 897199"/>
                <a:gd name="connsiteX30" fmla="*/ 11036115 w 12192000"/>
                <a:gd name="connsiteY30" fmla="*/ 885124 h 897199"/>
                <a:gd name="connsiteX31" fmla="*/ 11036115 w 12192000"/>
                <a:gd name="connsiteY31" fmla="*/ 293982 h 897199"/>
                <a:gd name="connsiteX32" fmla="*/ 11109148 w 12192000"/>
                <a:gd name="connsiteY32" fmla="*/ 293982 h 897199"/>
                <a:gd name="connsiteX33" fmla="*/ 11109148 w 12192000"/>
                <a:gd name="connsiteY33" fmla="*/ 885124 h 897199"/>
                <a:gd name="connsiteX34" fmla="*/ 10570226 w 12192000"/>
                <a:gd name="connsiteY34" fmla="*/ 145600 h 897199"/>
                <a:gd name="connsiteX35" fmla="*/ 10487892 w 12192000"/>
                <a:gd name="connsiteY35" fmla="*/ 145600 h 897199"/>
                <a:gd name="connsiteX36" fmla="*/ 10487892 w 12192000"/>
                <a:gd name="connsiteY36" fmla="*/ 434217 h 897199"/>
                <a:gd name="connsiteX37" fmla="*/ 10572525 w 12192000"/>
                <a:gd name="connsiteY37" fmla="*/ 434217 h 897199"/>
                <a:gd name="connsiteX38" fmla="*/ 10774209 w 12192000"/>
                <a:gd name="connsiteY38" fmla="*/ 285859 h 897199"/>
                <a:gd name="connsiteX39" fmla="*/ 10570226 w 12192000"/>
                <a:gd name="connsiteY39" fmla="*/ 145600 h 897199"/>
                <a:gd name="connsiteX40" fmla="*/ 10674529 w 12192000"/>
                <a:gd name="connsiteY40" fmla="*/ 472472 h 897199"/>
                <a:gd name="connsiteX41" fmla="*/ 10674529 w 12192000"/>
                <a:gd name="connsiteY41" fmla="*/ 474795 h 897199"/>
                <a:gd name="connsiteX42" fmla="*/ 10778855 w 12192000"/>
                <a:gd name="connsiteY42" fmla="*/ 572176 h 897199"/>
                <a:gd name="connsiteX43" fmla="*/ 10916799 w 12192000"/>
                <a:gd name="connsiteY43" fmla="*/ 885124 h 897199"/>
                <a:gd name="connsiteX44" fmla="*/ 10828671 w 12192000"/>
                <a:gd name="connsiteY44" fmla="*/ 885124 h 897199"/>
                <a:gd name="connsiteX45" fmla="*/ 10711598 w 12192000"/>
                <a:gd name="connsiteY45" fmla="*/ 611561 h 897199"/>
                <a:gd name="connsiteX46" fmla="*/ 10553987 w 12192000"/>
                <a:gd name="connsiteY46" fmla="*/ 503757 h 897199"/>
                <a:gd name="connsiteX47" fmla="*/ 10487892 w 12192000"/>
                <a:gd name="connsiteY47" fmla="*/ 503757 h 897199"/>
                <a:gd name="connsiteX48" fmla="*/ 10487892 w 12192000"/>
                <a:gd name="connsiteY48" fmla="*/ 885108 h 897199"/>
                <a:gd name="connsiteX49" fmla="*/ 10407928 w 12192000"/>
                <a:gd name="connsiteY49" fmla="*/ 885108 h 897199"/>
                <a:gd name="connsiteX50" fmla="*/ 10407928 w 12192000"/>
                <a:gd name="connsiteY50" fmla="*/ 76060 h 897199"/>
                <a:gd name="connsiteX51" fmla="*/ 10616581 w 12192000"/>
                <a:gd name="connsiteY51" fmla="*/ 76060 h 897199"/>
                <a:gd name="connsiteX52" fmla="*/ 10854188 w 12192000"/>
                <a:gd name="connsiteY52" fmla="*/ 285859 h 897199"/>
                <a:gd name="connsiteX53" fmla="*/ 10674529 w 12192000"/>
                <a:gd name="connsiteY53" fmla="*/ 472472 h 897199"/>
                <a:gd name="connsiteX54" fmla="*/ 9970977 w 12192000"/>
                <a:gd name="connsiteY54" fmla="*/ 77229 h 897199"/>
                <a:gd name="connsiteX55" fmla="*/ 9913053 w 12192000"/>
                <a:gd name="connsiteY55" fmla="*/ 64483 h 897199"/>
                <a:gd name="connsiteX56" fmla="*/ 9823773 w 12192000"/>
                <a:gd name="connsiteY56" fmla="*/ 242981 h 897199"/>
                <a:gd name="connsiteX57" fmla="*/ 9823773 w 12192000"/>
                <a:gd name="connsiteY57" fmla="*/ 293982 h 897199"/>
                <a:gd name="connsiteX58" fmla="*/ 9957061 w 12192000"/>
                <a:gd name="connsiteY58" fmla="*/ 293982 h 897199"/>
                <a:gd name="connsiteX59" fmla="*/ 9957061 w 12192000"/>
                <a:gd name="connsiteY59" fmla="*/ 356577 h 897199"/>
                <a:gd name="connsiteX60" fmla="*/ 9823773 w 12192000"/>
                <a:gd name="connsiteY60" fmla="*/ 356577 h 897199"/>
                <a:gd name="connsiteX61" fmla="*/ 9823773 w 12192000"/>
                <a:gd name="connsiteY61" fmla="*/ 885124 h 897199"/>
                <a:gd name="connsiteX62" fmla="*/ 9750755 w 12192000"/>
                <a:gd name="connsiteY62" fmla="*/ 885124 h 897199"/>
                <a:gd name="connsiteX63" fmla="*/ 9750755 w 12192000"/>
                <a:gd name="connsiteY63" fmla="*/ 356577 h 897199"/>
                <a:gd name="connsiteX64" fmla="*/ 9631383 w 12192000"/>
                <a:gd name="connsiteY64" fmla="*/ 356577 h 897199"/>
                <a:gd name="connsiteX65" fmla="*/ 9631383 w 12192000"/>
                <a:gd name="connsiteY65" fmla="*/ 293982 h 897199"/>
                <a:gd name="connsiteX66" fmla="*/ 9750755 w 12192000"/>
                <a:gd name="connsiteY66" fmla="*/ 293982 h 897199"/>
                <a:gd name="connsiteX67" fmla="*/ 9750755 w 12192000"/>
                <a:gd name="connsiteY67" fmla="*/ 251096 h 897199"/>
                <a:gd name="connsiteX68" fmla="*/ 9907229 w 12192000"/>
                <a:gd name="connsiteY68" fmla="*/ 1889 h 897199"/>
                <a:gd name="connsiteX69" fmla="*/ 9975624 w 12192000"/>
                <a:gd name="connsiteY69" fmla="*/ 13465 h 897199"/>
                <a:gd name="connsiteX70" fmla="*/ 9970977 w 12192000"/>
                <a:gd name="connsiteY70" fmla="*/ 77229 h 897199"/>
                <a:gd name="connsiteX71" fmla="*/ 9292942 w 12192000"/>
                <a:gd name="connsiteY71" fmla="*/ 342661 h 897199"/>
                <a:gd name="connsiteX72" fmla="*/ 9097060 w 12192000"/>
                <a:gd name="connsiteY72" fmla="*/ 589545 h 897199"/>
                <a:gd name="connsiteX73" fmla="*/ 9292942 w 12192000"/>
                <a:gd name="connsiteY73" fmla="*/ 836446 h 897199"/>
                <a:gd name="connsiteX74" fmla="*/ 9488825 w 12192000"/>
                <a:gd name="connsiteY74" fmla="*/ 589545 h 897199"/>
                <a:gd name="connsiteX75" fmla="*/ 9292942 w 12192000"/>
                <a:gd name="connsiteY75" fmla="*/ 342661 h 897199"/>
                <a:gd name="connsiteX76" fmla="*/ 9292942 w 12192000"/>
                <a:gd name="connsiteY76" fmla="*/ 899048 h 897199"/>
                <a:gd name="connsiteX77" fmla="*/ 9017048 w 12192000"/>
                <a:gd name="connsiteY77" fmla="*/ 589545 h 897199"/>
                <a:gd name="connsiteX78" fmla="*/ 9292942 w 12192000"/>
                <a:gd name="connsiteY78" fmla="*/ 280066 h 897199"/>
                <a:gd name="connsiteX79" fmla="*/ 9568813 w 12192000"/>
                <a:gd name="connsiteY79" fmla="*/ 589545 h 897199"/>
                <a:gd name="connsiteX80" fmla="*/ 9292942 w 12192000"/>
                <a:gd name="connsiteY80" fmla="*/ 899040 h 897199"/>
                <a:gd name="connsiteX81" fmla="*/ 8381940 w 12192000"/>
                <a:gd name="connsiteY81" fmla="*/ 342661 h 897199"/>
                <a:gd name="connsiteX82" fmla="*/ 8208089 w 12192000"/>
                <a:gd name="connsiteY82" fmla="*/ 547813 h 897199"/>
                <a:gd name="connsiteX83" fmla="*/ 8532661 w 12192000"/>
                <a:gd name="connsiteY83" fmla="*/ 547813 h 897199"/>
                <a:gd name="connsiteX84" fmla="*/ 8381956 w 12192000"/>
                <a:gd name="connsiteY84" fmla="*/ 342661 h 897199"/>
                <a:gd name="connsiteX85" fmla="*/ 8208089 w 12192000"/>
                <a:gd name="connsiteY85" fmla="*/ 610407 h 897199"/>
                <a:gd name="connsiteX86" fmla="*/ 8402826 w 12192000"/>
                <a:gd name="connsiteY86" fmla="*/ 836446 h 897199"/>
                <a:gd name="connsiteX87" fmla="*/ 8568569 w 12192000"/>
                <a:gd name="connsiteY87" fmla="*/ 792382 h 897199"/>
                <a:gd name="connsiteX88" fmla="*/ 8568569 w 12192000"/>
                <a:gd name="connsiteY88" fmla="*/ 866545 h 897199"/>
                <a:gd name="connsiteX89" fmla="*/ 8397025 w 12192000"/>
                <a:gd name="connsiteY89" fmla="*/ 899032 h 897199"/>
                <a:gd name="connsiteX90" fmla="*/ 8128125 w 12192000"/>
                <a:gd name="connsiteY90" fmla="*/ 589529 h 897199"/>
                <a:gd name="connsiteX91" fmla="*/ 8377333 w 12192000"/>
                <a:gd name="connsiteY91" fmla="*/ 280050 h 897199"/>
                <a:gd name="connsiteX92" fmla="*/ 8612624 w 12192000"/>
                <a:gd name="connsiteY92" fmla="*/ 573274 h 897199"/>
                <a:gd name="connsiteX93" fmla="*/ 8612624 w 12192000"/>
                <a:gd name="connsiteY93" fmla="*/ 610383 h 897199"/>
                <a:gd name="connsiteX94" fmla="*/ 7921843 w 12192000"/>
                <a:gd name="connsiteY94" fmla="*/ 342661 h 897199"/>
                <a:gd name="connsiteX95" fmla="*/ 7699274 w 12192000"/>
                <a:gd name="connsiteY95" fmla="*/ 589545 h 897199"/>
                <a:gd name="connsiteX96" fmla="*/ 7913720 w 12192000"/>
                <a:gd name="connsiteY96" fmla="*/ 836446 h 897199"/>
                <a:gd name="connsiteX97" fmla="*/ 8047008 w 12192000"/>
                <a:gd name="connsiteY97" fmla="*/ 809767 h 897199"/>
                <a:gd name="connsiteX98" fmla="*/ 8053978 w 12192000"/>
                <a:gd name="connsiteY98" fmla="*/ 878178 h 897199"/>
                <a:gd name="connsiteX99" fmla="*/ 7902127 w 12192000"/>
                <a:gd name="connsiteY99" fmla="*/ 899048 h 897199"/>
                <a:gd name="connsiteX100" fmla="*/ 7619319 w 12192000"/>
                <a:gd name="connsiteY100" fmla="*/ 589545 h 897199"/>
                <a:gd name="connsiteX101" fmla="*/ 7911428 w 12192000"/>
                <a:gd name="connsiteY101" fmla="*/ 280066 h 897199"/>
                <a:gd name="connsiteX102" fmla="*/ 8054034 w 12192000"/>
                <a:gd name="connsiteY102" fmla="*/ 303228 h 897199"/>
                <a:gd name="connsiteX103" fmla="*/ 8048242 w 12192000"/>
                <a:gd name="connsiteY103" fmla="*/ 372768 h 897199"/>
                <a:gd name="connsiteX104" fmla="*/ 7921899 w 12192000"/>
                <a:gd name="connsiteY104" fmla="*/ 342661 h 897199"/>
                <a:gd name="connsiteX105" fmla="*/ 7413005 w 12192000"/>
                <a:gd name="connsiteY105" fmla="*/ 885124 h 897199"/>
                <a:gd name="connsiteX106" fmla="*/ 7413005 w 12192000"/>
                <a:gd name="connsiteY106" fmla="*/ 525773 h 897199"/>
                <a:gd name="connsiteX107" fmla="*/ 7272746 w 12192000"/>
                <a:gd name="connsiteY107" fmla="*/ 342661 h 897199"/>
                <a:gd name="connsiteX108" fmla="*/ 7097726 w 12192000"/>
                <a:gd name="connsiteY108" fmla="*/ 558252 h 897199"/>
                <a:gd name="connsiteX109" fmla="*/ 7097726 w 12192000"/>
                <a:gd name="connsiteY109" fmla="*/ 885124 h 897199"/>
                <a:gd name="connsiteX110" fmla="*/ 7024708 w 12192000"/>
                <a:gd name="connsiteY110" fmla="*/ 885124 h 897199"/>
                <a:gd name="connsiteX111" fmla="*/ 7024708 w 12192000"/>
                <a:gd name="connsiteY111" fmla="*/ 433063 h 897199"/>
                <a:gd name="connsiteX112" fmla="*/ 7020062 w 12192000"/>
                <a:gd name="connsiteY112" fmla="*/ 293982 h 897199"/>
                <a:gd name="connsiteX113" fmla="*/ 7090756 w 12192000"/>
                <a:gd name="connsiteY113" fmla="*/ 293982 h 897199"/>
                <a:gd name="connsiteX114" fmla="*/ 7090756 w 12192000"/>
                <a:gd name="connsiteY114" fmla="*/ 399431 h 897199"/>
                <a:gd name="connsiteX115" fmla="*/ 7093103 w 12192000"/>
                <a:gd name="connsiteY115" fmla="*/ 399431 h 897199"/>
                <a:gd name="connsiteX116" fmla="*/ 7284363 w 12192000"/>
                <a:gd name="connsiteY116" fmla="*/ 280058 h 897199"/>
                <a:gd name="connsiteX117" fmla="*/ 7486046 w 12192000"/>
                <a:gd name="connsiteY117" fmla="*/ 507250 h 897199"/>
                <a:gd name="connsiteX118" fmla="*/ 7486046 w 12192000"/>
                <a:gd name="connsiteY118" fmla="*/ 885116 h 897199"/>
                <a:gd name="connsiteX119" fmla="*/ 6660783 w 12192000"/>
                <a:gd name="connsiteY119" fmla="*/ 342661 h 897199"/>
                <a:gd name="connsiteX120" fmla="*/ 6486932 w 12192000"/>
                <a:gd name="connsiteY120" fmla="*/ 547813 h 897199"/>
                <a:gd name="connsiteX121" fmla="*/ 6811464 w 12192000"/>
                <a:gd name="connsiteY121" fmla="*/ 547813 h 897199"/>
                <a:gd name="connsiteX122" fmla="*/ 6660807 w 12192000"/>
                <a:gd name="connsiteY122" fmla="*/ 342661 h 897199"/>
                <a:gd name="connsiteX123" fmla="*/ 6486932 w 12192000"/>
                <a:gd name="connsiteY123" fmla="*/ 610407 h 897199"/>
                <a:gd name="connsiteX124" fmla="*/ 6681669 w 12192000"/>
                <a:gd name="connsiteY124" fmla="*/ 836446 h 897199"/>
                <a:gd name="connsiteX125" fmla="*/ 6847412 w 12192000"/>
                <a:gd name="connsiteY125" fmla="*/ 792382 h 897199"/>
                <a:gd name="connsiteX126" fmla="*/ 6847412 w 12192000"/>
                <a:gd name="connsiteY126" fmla="*/ 866545 h 897199"/>
                <a:gd name="connsiteX127" fmla="*/ 6675869 w 12192000"/>
                <a:gd name="connsiteY127" fmla="*/ 899032 h 897199"/>
                <a:gd name="connsiteX128" fmla="*/ 6406969 w 12192000"/>
                <a:gd name="connsiteY128" fmla="*/ 589529 h 897199"/>
                <a:gd name="connsiteX129" fmla="*/ 6656128 w 12192000"/>
                <a:gd name="connsiteY129" fmla="*/ 280050 h 897199"/>
                <a:gd name="connsiteX130" fmla="*/ 6891436 w 12192000"/>
                <a:gd name="connsiteY130" fmla="*/ 573274 h 897199"/>
                <a:gd name="connsiteX131" fmla="*/ 6891436 w 12192000"/>
                <a:gd name="connsiteY131" fmla="*/ 610383 h 897199"/>
                <a:gd name="connsiteX132" fmla="*/ 6199429 w 12192000"/>
                <a:gd name="connsiteY132" fmla="*/ 38950 h 897199"/>
                <a:gd name="connsiteX133" fmla="*/ 6272494 w 12192000"/>
                <a:gd name="connsiteY133" fmla="*/ 38950 h 897199"/>
                <a:gd name="connsiteX134" fmla="*/ 6272494 w 12192000"/>
                <a:gd name="connsiteY134" fmla="*/ 136339 h 897199"/>
                <a:gd name="connsiteX135" fmla="*/ 6199429 w 12192000"/>
                <a:gd name="connsiteY135" fmla="*/ 136339 h 897199"/>
                <a:gd name="connsiteX136" fmla="*/ 6199429 w 12192000"/>
                <a:gd name="connsiteY136" fmla="*/ 38950 h 897199"/>
                <a:gd name="connsiteX137" fmla="*/ 6199429 w 12192000"/>
                <a:gd name="connsiteY137" fmla="*/ 885124 h 897199"/>
                <a:gd name="connsiteX138" fmla="*/ 6199429 w 12192000"/>
                <a:gd name="connsiteY138" fmla="*/ 293982 h 897199"/>
                <a:gd name="connsiteX139" fmla="*/ 6272494 w 12192000"/>
                <a:gd name="connsiteY139" fmla="*/ 293982 h 897199"/>
                <a:gd name="connsiteX140" fmla="*/ 6272494 w 12192000"/>
                <a:gd name="connsiteY140" fmla="*/ 885124 h 897199"/>
                <a:gd name="connsiteX141" fmla="*/ 5949116 w 12192000"/>
                <a:gd name="connsiteY141" fmla="*/ 342661 h 897199"/>
                <a:gd name="connsiteX142" fmla="*/ 5726570 w 12192000"/>
                <a:gd name="connsiteY142" fmla="*/ 589545 h 897199"/>
                <a:gd name="connsiteX143" fmla="*/ 5940992 w 12192000"/>
                <a:gd name="connsiteY143" fmla="*/ 836446 h 897199"/>
                <a:gd name="connsiteX144" fmla="*/ 6074280 w 12192000"/>
                <a:gd name="connsiteY144" fmla="*/ 809767 h 897199"/>
                <a:gd name="connsiteX145" fmla="*/ 6081250 w 12192000"/>
                <a:gd name="connsiteY145" fmla="*/ 878178 h 897199"/>
                <a:gd name="connsiteX146" fmla="*/ 5929399 w 12192000"/>
                <a:gd name="connsiteY146" fmla="*/ 899040 h 897199"/>
                <a:gd name="connsiteX147" fmla="*/ 5646591 w 12192000"/>
                <a:gd name="connsiteY147" fmla="*/ 589537 h 897199"/>
                <a:gd name="connsiteX148" fmla="*/ 5938701 w 12192000"/>
                <a:gd name="connsiteY148" fmla="*/ 280058 h 897199"/>
                <a:gd name="connsiteX149" fmla="*/ 6081306 w 12192000"/>
                <a:gd name="connsiteY149" fmla="*/ 303220 h 897199"/>
                <a:gd name="connsiteX150" fmla="*/ 6075514 w 12192000"/>
                <a:gd name="connsiteY150" fmla="*/ 372760 h 897199"/>
                <a:gd name="connsiteX151" fmla="*/ 5949172 w 12192000"/>
                <a:gd name="connsiteY151" fmla="*/ 342653 h 897199"/>
                <a:gd name="connsiteX152" fmla="*/ 5347551 w 12192000"/>
                <a:gd name="connsiteY152" fmla="*/ 131708 h 897199"/>
                <a:gd name="connsiteX153" fmla="*/ 5172555 w 12192000"/>
                <a:gd name="connsiteY153" fmla="*/ 270789 h 897199"/>
                <a:gd name="connsiteX154" fmla="*/ 5543434 w 12192000"/>
                <a:gd name="connsiteY154" fmla="*/ 670678 h 897199"/>
                <a:gd name="connsiteX155" fmla="*/ 5278003 w 12192000"/>
                <a:gd name="connsiteY155" fmla="*/ 899040 h 897199"/>
                <a:gd name="connsiteX156" fmla="*/ 5094890 w 12192000"/>
                <a:gd name="connsiteY156" fmla="*/ 864254 h 897199"/>
                <a:gd name="connsiteX157" fmla="*/ 5103006 w 12192000"/>
                <a:gd name="connsiteY157" fmla="*/ 781943 h 897199"/>
                <a:gd name="connsiteX158" fmla="*/ 5281504 w 12192000"/>
                <a:gd name="connsiteY158" fmla="*/ 829467 h 897199"/>
                <a:gd name="connsiteX159" fmla="*/ 5463463 w 12192000"/>
                <a:gd name="connsiteY159" fmla="*/ 663700 h 897199"/>
                <a:gd name="connsiteX160" fmla="*/ 5092567 w 12192000"/>
                <a:gd name="connsiteY160" fmla="*/ 273104 h 897199"/>
                <a:gd name="connsiteX161" fmla="*/ 5348721 w 12192000"/>
                <a:gd name="connsiteY161" fmla="*/ 62136 h 897199"/>
                <a:gd name="connsiteX162" fmla="*/ 5507494 w 12192000"/>
                <a:gd name="connsiteY162" fmla="*/ 88798 h 897199"/>
                <a:gd name="connsiteX163" fmla="*/ 5494756 w 12192000"/>
                <a:gd name="connsiteY163" fmla="*/ 161831 h 897199"/>
                <a:gd name="connsiteX164" fmla="*/ 5347551 w 12192000"/>
                <a:gd name="connsiteY164" fmla="*/ 131700 h 897199"/>
                <a:gd name="connsiteX165" fmla="*/ 4231388 w 12192000"/>
                <a:gd name="connsiteY165" fmla="*/ 482895 h 897199"/>
                <a:gd name="connsiteX166" fmla="*/ 4079561 w 12192000"/>
                <a:gd name="connsiteY166" fmla="*/ 669565 h 897199"/>
                <a:gd name="connsiteX167" fmla="*/ 4267320 w 12192000"/>
                <a:gd name="connsiteY167" fmla="*/ 836477 h 897199"/>
                <a:gd name="connsiteX168" fmla="*/ 4466680 w 12192000"/>
                <a:gd name="connsiteY168" fmla="*/ 742574 h 897199"/>
                <a:gd name="connsiteX169" fmla="*/ 4231388 w 12192000"/>
                <a:gd name="connsiteY169" fmla="*/ 482927 h 897199"/>
                <a:gd name="connsiteX170" fmla="*/ 4413379 w 12192000"/>
                <a:gd name="connsiteY170" fmla="*/ 241803 h 897199"/>
                <a:gd name="connsiteX171" fmla="*/ 4298605 w 12192000"/>
                <a:gd name="connsiteY171" fmla="*/ 124738 h 897199"/>
                <a:gd name="connsiteX172" fmla="*/ 4165316 w 12192000"/>
                <a:gd name="connsiteY172" fmla="*/ 242981 h 897199"/>
                <a:gd name="connsiteX173" fmla="*/ 4256881 w 12192000"/>
                <a:gd name="connsiteY173" fmla="*/ 407554 h 897199"/>
                <a:gd name="connsiteX174" fmla="*/ 4413379 w 12192000"/>
                <a:gd name="connsiteY174" fmla="*/ 241803 h 897199"/>
                <a:gd name="connsiteX175" fmla="*/ 4698518 w 12192000"/>
                <a:gd name="connsiteY175" fmla="*/ 882800 h 897199"/>
                <a:gd name="connsiteX176" fmla="*/ 4596539 w 12192000"/>
                <a:gd name="connsiteY176" fmla="*/ 882800 h 897199"/>
                <a:gd name="connsiteX177" fmla="*/ 4510751 w 12192000"/>
                <a:gd name="connsiteY177" fmla="*/ 792398 h 897199"/>
                <a:gd name="connsiteX178" fmla="*/ 4264996 w 12192000"/>
                <a:gd name="connsiteY178" fmla="*/ 899048 h 897199"/>
                <a:gd name="connsiteX179" fmla="*/ 3999573 w 12192000"/>
                <a:gd name="connsiteY179" fmla="*/ 673002 h 897199"/>
                <a:gd name="connsiteX180" fmla="*/ 4190833 w 12192000"/>
                <a:gd name="connsiteY180" fmla="*/ 437710 h 897199"/>
                <a:gd name="connsiteX181" fmla="*/ 4085353 w 12192000"/>
                <a:gd name="connsiteY181" fmla="*/ 238334 h 897199"/>
                <a:gd name="connsiteX182" fmla="*/ 4303268 w 12192000"/>
                <a:gd name="connsiteY182" fmla="*/ 62144 h 897199"/>
                <a:gd name="connsiteX183" fmla="*/ 4493334 w 12192000"/>
                <a:gd name="connsiteY183" fmla="*/ 229065 h 897199"/>
                <a:gd name="connsiteX184" fmla="*/ 4298597 w 12192000"/>
                <a:gd name="connsiteY184" fmla="*/ 449286 h 897199"/>
                <a:gd name="connsiteX185" fmla="*/ 4511897 w 12192000"/>
                <a:gd name="connsiteY185" fmla="*/ 686902 h 897199"/>
                <a:gd name="connsiteX186" fmla="*/ 4581437 w 12192000"/>
                <a:gd name="connsiteY186" fmla="*/ 441163 h 897199"/>
                <a:gd name="connsiteX187" fmla="*/ 4650986 w 12192000"/>
                <a:gd name="connsiteY187" fmla="*/ 441163 h 897199"/>
                <a:gd name="connsiteX188" fmla="*/ 4560575 w 12192000"/>
                <a:gd name="connsiteY188" fmla="*/ 733249 h 897199"/>
                <a:gd name="connsiteX189" fmla="*/ 4698510 w 12192000"/>
                <a:gd name="connsiteY189" fmla="*/ 882800 h 897199"/>
                <a:gd name="connsiteX190" fmla="*/ 3535960 w 12192000"/>
                <a:gd name="connsiteY190" fmla="*/ 836446 h 897199"/>
                <a:gd name="connsiteX191" fmla="*/ 3603201 w 12192000"/>
                <a:gd name="connsiteY191" fmla="*/ 822529 h 897199"/>
                <a:gd name="connsiteX192" fmla="*/ 3607824 w 12192000"/>
                <a:gd name="connsiteY192" fmla="*/ 882800 h 897199"/>
                <a:gd name="connsiteX193" fmla="*/ 3518591 w 12192000"/>
                <a:gd name="connsiteY193" fmla="*/ 899048 h 897199"/>
                <a:gd name="connsiteX194" fmla="*/ 3384109 w 12192000"/>
                <a:gd name="connsiteY194" fmla="*/ 701963 h 897199"/>
                <a:gd name="connsiteX195" fmla="*/ 3384109 w 12192000"/>
                <a:gd name="connsiteY195" fmla="*/ 356577 h 897199"/>
                <a:gd name="connsiteX196" fmla="*/ 3268213 w 12192000"/>
                <a:gd name="connsiteY196" fmla="*/ 356577 h 897199"/>
                <a:gd name="connsiteX197" fmla="*/ 3268213 w 12192000"/>
                <a:gd name="connsiteY197" fmla="*/ 293982 h 897199"/>
                <a:gd name="connsiteX198" fmla="*/ 3384109 w 12192000"/>
                <a:gd name="connsiteY198" fmla="*/ 293982 h 897199"/>
                <a:gd name="connsiteX199" fmla="*/ 3384109 w 12192000"/>
                <a:gd name="connsiteY199" fmla="*/ 151376 h 897199"/>
                <a:gd name="connsiteX200" fmla="*/ 3457150 w 12192000"/>
                <a:gd name="connsiteY200" fmla="*/ 125884 h 897199"/>
                <a:gd name="connsiteX201" fmla="*/ 3457150 w 12192000"/>
                <a:gd name="connsiteY201" fmla="*/ 293958 h 897199"/>
                <a:gd name="connsiteX202" fmla="*/ 3591584 w 12192000"/>
                <a:gd name="connsiteY202" fmla="*/ 293958 h 897199"/>
                <a:gd name="connsiteX203" fmla="*/ 3591584 w 12192000"/>
                <a:gd name="connsiteY203" fmla="*/ 356553 h 897199"/>
                <a:gd name="connsiteX204" fmla="*/ 3457150 w 12192000"/>
                <a:gd name="connsiteY204" fmla="*/ 356553 h 897199"/>
                <a:gd name="connsiteX205" fmla="*/ 3457150 w 12192000"/>
                <a:gd name="connsiteY205" fmla="*/ 739049 h 897199"/>
                <a:gd name="connsiteX206" fmla="*/ 3535960 w 12192000"/>
                <a:gd name="connsiteY206" fmla="*/ 836421 h 897199"/>
                <a:gd name="connsiteX207" fmla="*/ 3176673 w 12192000"/>
                <a:gd name="connsiteY207" fmla="*/ 356553 h 897199"/>
                <a:gd name="connsiteX208" fmla="*/ 3029469 w 12192000"/>
                <a:gd name="connsiteY208" fmla="*/ 593014 h 897199"/>
                <a:gd name="connsiteX209" fmla="*/ 3029469 w 12192000"/>
                <a:gd name="connsiteY209" fmla="*/ 885100 h 897199"/>
                <a:gd name="connsiteX210" fmla="*/ 2956451 w 12192000"/>
                <a:gd name="connsiteY210" fmla="*/ 885100 h 897199"/>
                <a:gd name="connsiteX211" fmla="*/ 2956451 w 12192000"/>
                <a:gd name="connsiteY211" fmla="*/ 426117 h 897199"/>
                <a:gd name="connsiteX212" fmla="*/ 2951789 w 12192000"/>
                <a:gd name="connsiteY212" fmla="*/ 293982 h 897199"/>
                <a:gd name="connsiteX213" fmla="*/ 3024822 w 12192000"/>
                <a:gd name="connsiteY213" fmla="*/ 293982 h 897199"/>
                <a:gd name="connsiteX214" fmla="*/ 3024822 w 12192000"/>
                <a:gd name="connsiteY214" fmla="*/ 407554 h 897199"/>
                <a:gd name="connsiteX215" fmla="*/ 3027169 w 12192000"/>
                <a:gd name="connsiteY215" fmla="*/ 407554 h 897199"/>
                <a:gd name="connsiteX216" fmla="*/ 3178997 w 12192000"/>
                <a:gd name="connsiteY216" fmla="*/ 280066 h 897199"/>
                <a:gd name="connsiteX217" fmla="*/ 3229974 w 12192000"/>
                <a:gd name="connsiteY217" fmla="*/ 287036 h 897199"/>
                <a:gd name="connsiteX218" fmla="*/ 3229974 w 12192000"/>
                <a:gd name="connsiteY218" fmla="*/ 363523 h 897199"/>
                <a:gd name="connsiteX219" fmla="*/ 3176673 w 12192000"/>
                <a:gd name="connsiteY219" fmla="*/ 356577 h 897199"/>
                <a:gd name="connsiteX220" fmla="*/ 2483569 w 12192000"/>
                <a:gd name="connsiteY220" fmla="*/ 152546 h 897199"/>
                <a:gd name="connsiteX221" fmla="*/ 2307402 w 12192000"/>
                <a:gd name="connsiteY221" fmla="*/ 598790 h 897199"/>
                <a:gd name="connsiteX222" fmla="*/ 2658589 w 12192000"/>
                <a:gd name="connsiteY222" fmla="*/ 598790 h 897199"/>
                <a:gd name="connsiteX223" fmla="*/ 2483569 w 12192000"/>
                <a:gd name="connsiteY223" fmla="*/ 152546 h 897199"/>
                <a:gd name="connsiteX224" fmla="*/ 2772185 w 12192000"/>
                <a:gd name="connsiteY224" fmla="*/ 885100 h 897199"/>
                <a:gd name="connsiteX225" fmla="*/ 2685252 w 12192000"/>
                <a:gd name="connsiteY225" fmla="*/ 668355 h 897199"/>
                <a:gd name="connsiteX226" fmla="*/ 2277247 w 12192000"/>
                <a:gd name="connsiteY226" fmla="*/ 668355 h 897199"/>
                <a:gd name="connsiteX227" fmla="*/ 2190297 w 12192000"/>
                <a:gd name="connsiteY227" fmla="*/ 885100 h 897199"/>
                <a:gd name="connsiteX228" fmla="*/ 2112665 w 12192000"/>
                <a:gd name="connsiteY228" fmla="*/ 885100 h 897199"/>
                <a:gd name="connsiteX229" fmla="*/ 2444168 w 12192000"/>
                <a:gd name="connsiteY229" fmla="*/ 76036 h 897199"/>
                <a:gd name="connsiteX230" fmla="*/ 2534570 w 12192000"/>
                <a:gd name="connsiteY230" fmla="*/ 76036 h 897199"/>
                <a:gd name="connsiteX231" fmla="*/ 2855650 w 12192000"/>
                <a:gd name="connsiteY231" fmla="*/ 885100 h 897199"/>
                <a:gd name="connsiteX232" fmla="*/ 1508762 w 12192000"/>
                <a:gd name="connsiteY232" fmla="*/ 342637 h 897199"/>
                <a:gd name="connsiteX233" fmla="*/ 1334911 w 12192000"/>
                <a:gd name="connsiteY233" fmla="*/ 547789 h 897199"/>
                <a:gd name="connsiteX234" fmla="*/ 1659451 w 12192000"/>
                <a:gd name="connsiteY234" fmla="*/ 547789 h 897199"/>
                <a:gd name="connsiteX235" fmla="*/ 1508778 w 12192000"/>
                <a:gd name="connsiteY235" fmla="*/ 342637 h 897199"/>
                <a:gd name="connsiteX236" fmla="*/ 1334911 w 12192000"/>
                <a:gd name="connsiteY236" fmla="*/ 610383 h 897199"/>
                <a:gd name="connsiteX237" fmla="*/ 1529640 w 12192000"/>
                <a:gd name="connsiteY237" fmla="*/ 836421 h 897199"/>
                <a:gd name="connsiteX238" fmla="*/ 1695391 w 12192000"/>
                <a:gd name="connsiteY238" fmla="*/ 792358 h 897199"/>
                <a:gd name="connsiteX239" fmla="*/ 1695391 w 12192000"/>
                <a:gd name="connsiteY239" fmla="*/ 866521 h 897199"/>
                <a:gd name="connsiteX240" fmla="*/ 1523847 w 12192000"/>
                <a:gd name="connsiteY240" fmla="*/ 899008 h 897199"/>
                <a:gd name="connsiteX241" fmla="*/ 1254915 w 12192000"/>
                <a:gd name="connsiteY241" fmla="*/ 589505 h 897199"/>
                <a:gd name="connsiteX242" fmla="*/ 1504147 w 12192000"/>
                <a:gd name="connsiteY242" fmla="*/ 280026 h 897199"/>
                <a:gd name="connsiteX243" fmla="*/ 1739447 w 12192000"/>
                <a:gd name="connsiteY243" fmla="*/ 573249 h 897199"/>
                <a:gd name="connsiteX244" fmla="*/ 1739447 w 12192000"/>
                <a:gd name="connsiteY244" fmla="*/ 610359 h 897199"/>
                <a:gd name="connsiteX245" fmla="*/ 1048633 w 12192000"/>
                <a:gd name="connsiteY245" fmla="*/ 885100 h 897199"/>
                <a:gd name="connsiteX246" fmla="*/ 1048633 w 12192000"/>
                <a:gd name="connsiteY246" fmla="*/ 532743 h 897199"/>
                <a:gd name="connsiteX247" fmla="*/ 908375 w 12192000"/>
                <a:gd name="connsiteY247" fmla="*/ 342661 h 897199"/>
                <a:gd name="connsiteX248" fmla="*/ 733346 w 12192000"/>
                <a:gd name="connsiteY248" fmla="*/ 568675 h 897199"/>
                <a:gd name="connsiteX249" fmla="*/ 733346 w 12192000"/>
                <a:gd name="connsiteY249" fmla="*/ 885132 h 897199"/>
                <a:gd name="connsiteX250" fmla="*/ 660393 w 12192000"/>
                <a:gd name="connsiteY250" fmla="*/ 885132 h 897199"/>
                <a:gd name="connsiteX251" fmla="*/ 660393 w 12192000"/>
                <a:gd name="connsiteY251" fmla="*/ 15789 h 897199"/>
                <a:gd name="connsiteX252" fmla="*/ 733402 w 12192000"/>
                <a:gd name="connsiteY252" fmla="*/ 15789 h 897199"/>
                <a:gd name="connsiteX253" fmla="*/ 733402 w 12192000"/>
                <a:gd name="connsiteY253" fmla="*/ 393638 h 897199"/>
                <a:gd name="connsiteX254" fmla="*/ 735734 w 12192000"/>
                <a:gd name="connsiteY254" fmla="*/ 393638 h 897199"/>
                <a:gd name="connsiteX255" fmla="*/ 920039 w 12192000"/>
                <a:gd name="connsiteY255" fmla="*/ 280066 h 897199"/>
                <a:gd name="connsiteX256" fmla="*/ 1121731 w 12192000"/>
                <a:gd name="connsiteY256" fmla="*/ 531573 h 897199"/>
                <a:gd name="connsiteX257" fmla="*/ 1121731 w 12192000"/>
                <a:gd name="connsiteY257" fmla="*/ 885124 h 897199"/>
                <a:gd name="connsiteX258" fmla="*/ 325373 w 12192000"/>
                <a:gd name="connsiteY258" fmla="*/ 145576 h 897199"/>
                <a:gd name="connsiteX259" fmla="*/ 325373 w 12192000"/>
                <a:gd name="connsiteY259" fmla="*/ 885100 h 897199"/>
                <a:gd name="connsiteX260" fmla="*/ 245410 w 12192000"/>
                <a:gd name="connsiteY260" fmla="*/ 885100 h 897199"/>
                <a:gd name="connsiteX261" fmla="*/ 245410 w 12192000"/>
                <a:gd name="connsiteY261" fmla="*/ 145600 h 897199"/>
                <a:gd name="connsiteX262" fmla="*/ 6649 w 12192000"/>
                <a:gd name="connsiteY262" fmla="*/ 145600 h 897199"/>
                <a:gd name="connsiteX263" fmla="*/ 6649 w 12192000"/>
                <a:gd name="connsiteY263" fmla="*/ 76060 h 897199"/>
                <a:gd name="connsiteX264" fmla="*/ 564190 w 12192000"/>
                <a:gd name="connsiteY264" fmla="*/ 76060 h 897199"/>
                <a:gd name="connsiteX265" fmla="*/ 564190 w 12192000"/>
                <a:gd name="connsiteY265" fmla="*/ 145600 h 89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2192000" h="897199">
                  <a:moveTo>
                    <a:pt x="12198649" y="885124"/>
                  </a:moveTo>
                  <a:lnTo>
                    <a:pt x="12097839" y="885124"/>
                  </a:lnTo>
                  <a:lnTo>
                    <a:pt x="11805730" y="581421"/>
                  </a:lnTo>
                  <a:lnTo>
                    <a:pt x="11805730" y="885124"/>
                  </a:lnTo>
                  <a:lnTo>
                    <a:pt x="11732688" y="885124"/>
                  </a:lnTo>
                  <a:lnTo>
                    <a:pt x="11732688" y="15789"/>
                  </a:lnTo>
                  <a:lnTo>
                    <a:pt x="11805730" y="15789"/>
                  </a:lnTo>
                  <a:lnTo>
                    <a:pt x="11805730" y="536236"/>
                  </a:lnTo>
                  <a:lnTo>
                    <a:pt x="12070007" y="293982"/>
                  </a:lnTo>
                  <a:lnTo>
                    <a:pt x="12163887" y="293982"/>
                  </a:lnTo>
                  <a:lnTo>
                    <a:pt x="11875270" y="555961"/>
                  </a:lnTo>
                  <a:lnTo>
                    <a:pt x="12198649" y="885124"/>
                  </a:lnTo>
                  <a:close/>
                  <a:moveTo>
                    <a:pt x="11444120" y="342661"/>
                  </a:moveTo>
                  <a:cubicBezTo>
                    <a:pt x="11368811" y="342661"/>
                    <a:pt x="11316608" y="365822"/>
                    <a:pt x="11316608" y="441203"/>
                  </a:cubicBezTo>
                  <a:cubicBezTo>
                    <a:pt x="11316608" y="551346"/>
                    <a:pt x="11607548" y="537430"/>
                    <a:pt x="11607548" y="730989"/>
                  </a:cubicBezTo>
                  <a:cubicBezTo>
                    <a:pt x="11607548" y="856178"/>
                    <a:pt x="11490475" y="899088"/>
                    <a:pt x="11401218" y="899088"/>
                  </a:cubicBezTo>
                  <a:cubicBezTo>
                    <a:pt x="11344424" y="899088"/>
                    <a:pt x="11287622" y="892118"/>
                    <a:pt x="11235475" y="871248"/>
                  </a:cubicBezTo>
                  <a:lnTo>
                    <a:pt x="11242445" y="799384"/>
                  </a:lnTo>
                  <a:cubicBezTo>
                    <a:pt x="11286468" y="821424"/>
                    <a:pt x="11339793" y="836485"/>
                    <a:pt x="11396595" y="836485"/>
                  </a:cubicBezTo>
                  <a:cubicBezTo>
                    <a:pt x="11466136" y="836485"/>
                    <a:pt x="11527584" y="798214"/>
                    <a:pt x="11527584" y="730989"/>
                  </a:cubicBezTo>
                  <a:cubicBezTo>
                    <a:pt x="11527584" y="590731"/>
                    <a:pt x="11243590" y="612770"/>
                    <a:pt x="11243590" y="441203"/>
                  </a:cubicBezTo>
                  <a:cubicBezTo>
                    <a:pt x="11243590" y="324130"/>
                    <a:pt x="11338647" y="280106"/>
                    <a:pt x="11436004" y="280106"/>
                  </a:cubicBezTo>
                  <a:cubicBezTo>
                    <a:pt x="11467289" y="280106"/>
                    <a:pt x="11529884" y="287076"/>
                    <a:pt x="11582055" y="306761"/>
                  </a:cubicBezTo>
                  <a:lnTo>
                    <a:pt x="11575085" y="370533"/>
                  </a:lnTo>
                  <a:cubicBezTo>
                    <a:pt x="11536830" y="353116"/>
                    <a:pt x="11484682" y="342701"/>
                    <a:pt x="11444120" y="342701"/>
                  </a:cubicBezTo>
                  <a:close/>
                  <a:moveTo>
                    <a:pt x="11036115" y="38950"/>
                  </a:moveTo>
                  <a:lnTo>
                    <a:pt x="11109148" y="38950"/>
                  </a:lnTo>
                  <a:lnTo>
                    <a:pt x="11109148" y="136339"/>
                  </a:lnTo>
                  <a:lnTo>
                    <a:pt x="11036115" y="136339"/>
                  </a:lnTo>
                  <a:lnTo>
                    <a:pt x="11036115" y="38950"/>
                  </a:lnTo>
                  <a:close/>
                  <a:moveTo>
                    <a:pt x="11036115" y="885124"/>
                  </a:moveTo>
                  <a:lnTo>
                    <a:pt x="11036115" y="293982"/>
                  </a:lnTo>
                  <a:lnTo>
                    <a:pt x="11109148" y="293982"/>
                  </a:lnTo>
                  <a:lnTo>
                    <a:pt x="11109148" y="885124"/>
                  </a:lnTo>
                  <a:close/>
                  <a:moveTo>
                    <a:pt x="10570226" y="145600"/>
                  </a:moveTo>
                  <a:lnTo>
                    <a:pt x="10487892" y="145600"/>
                  </a:lnTo>
                  <a:lnTo>
                    <a:pt x="10487892" y="434217"/>
                  </a:lnTo>
                  <a:lnTo>
                    <a:pt x="10572525" y="434217"/>
                  </a:lnTo>
                  <a:cubicBezTo>
                    <a:pt x="10666405" y="434217"/>
                    <a:pt x="10774209" y="398309"/>
                    <a:pt x="10774209" y="285859"/>
                  </a:cubicBezTo>
                  <a:cubicBezTo>
                    <a:pt x="10774209" y="153724"/>
                    <a:pt x="10680321" y="145600"/>
                    <a:pt x="10570226" y="145600"/>
                  </a:cubicBezTo>
                  <a:close/>
                  <a:moveTo>
                    <a:pt x="10674529" y="472472"/>
                  </a:moveTo>
                  <a:lnTo>
                    <a:pt x="10674529" y="474795"/>
                  </a:lnTo>
                  <a:cubicBezTo>
                    <a:pt x="10739423" y="482895"/>
                    <a:pt x="10753339" y="517673"/>
                    <a:pt x="10778855" y="572176"/>
                  </a:cubicBezTo>
                  <a:lnTo>
                    <a:pt x="10916799" y="885124"/>
                  </a:lnTo>
                  <a:lnTo>
                    <a:pt x="10828671" y="885124"/>
                  </a:lnTo>
                  <a:lnTo>
                    <a:pt x="10711598" y="611561"/>
                  </a:lnTo>
                  <a:cubicBezTo>
                    <a:pt x="10665235" y="507274"/>
                    <a:pt x="10630473" y="503757"/>
                    <a:pt x="10553987" y="503757"/>
                  </a:cubicBezTo>
                  <a:lnTo>
                    <a:pt x="10487892" y="503757"/>
                  </a:lnTo>
                  <a:lnTo>
                    <a:pt x="10487892" y="885108"/>
                  </a:lnTo>
                  <a:lnTo>
                    <a:pt x="10407928" y="885108"/>
                  </a:lnTo>
                  <a:lnTo>
                    <a:pt x="10407928" y="76060"/>
                  </a:lnTo>
                  <a:lnTo>
                    <a:pt x="10616581" y="76060"/>
                  </a:lnTo>
                  <a:cubicBezTo>
                    <a:pt x="10760285" y="76060"/>
                    <a:pt x="10854188" y="137484"/>
                    <a:pt x="10854188" y="285859"/>
                  </a:cubicBezTo>
                  <a:cubicBezTo>
                    <a:pt x="10854188" y="390185"/>
                    <a:pt x="10774209" y="459710"/>
                    <a:pt x="10674529" y="472472"/>
                  </a:cubicBezTo>
                  <a:close/>
                  <a:moveTo>
                    <a:pt x="9970977" y="77229"/>
                  </a:moveTo>
                  <a:cubicBezTo>
                    <a:pt x="9955908" y="69114"/>
                    <a:pt x="9933916" y="64483"/>
                    <a:pt x="9913053" y="64483"/>
                  </a:cubicBezTo>
                  <a:cubicBezTo>
                    <a:pt x="9813350" y="64483"/>
                    <a:pt x="9823773" y="172263"/>
                    <a:pt x="9823773" y="242981"/>
                  </a:cubicBezTo>
                  <a:lnTo>
                    <a:pt x="9823773" y="293982"/>
                  </a:lnTo>
                  <a:lnTo>
                    <a:pt x="9957061" y="293982"/>
                  </a:lnTo>
                  <a:lnTo>
                    <a:pt x="9957061" y="356577"/>
                  </a:lnTo>
                  <a:lnTo>
                    <a:pt x="9823773" y="356577"/>
                  </a:lnTo>
                  <a:lnTo>
                    <a:pt x="9823773" y="885124"/>
                  </a:lnTo>
                  <a:lnTo>
                    <a:pt x="9750755" y="885124"/>
                  </a:lnTo>
                  <a:lnTo>
                    <a:pt x="9750755" y="356577"/>
                  </a:lnTo>
                  <a:lnTo>
                    <a:pt x="9631383" y="356577"/>
                  </a:lnTo>
                  <a:lnTo>
                    <a:pt x="9631383" y="293982"/>
                  </a:lnTo>
                  <a:lnTo>
                    <a:pt x="9750755" y="293982"/>
                  </a:lnTo>
                  <a:lnTo>
                    <a:pt x="9750755" y="251096"/>
                  </a:lnTo>
                  <a:cubicBezTo>
                    <a:pt x="9750755" y="127061"/>
                    <a:pt x="9755378" y="1889"/>
                    <a:pt x="9907229" y="1889"/>
                  </a:cubicBezTo>
                  <a:cubicBezTo>
                    <a:pt x="9930463" y="1889"/>
                    <a:pt x="9961708" y="5342"/>
                    <a:pt x="9975624" y="13465"/>
                  </a:cubicBezTo>
                  <a:lnTo>
                    <a:pt x="9970977" y="77229"/>
                  </a:lnTo>
                  <a:close/>
                  <a:moveTo>
                    <a:pt x="9292942" y="342661"/>
                  </a:moveTo>
                  <a:cubicBezTo>
                    <a:pt x="9165430" y="342661"/>
                    <a:pt x="9097060" y="452780"/>
                    <a:pt x="9097060" y="589545"/>
                  </a:cubicBezTo>
                  <a:cubicBezTo>
                    <a:pt x="9097060" y="726310"/>
                    <a:pt x="9165430" y="836446"/>
                    <a:pt x="9292942" y="836446"/>
                  </a:cubicBezTo>
                  <a:cubicBezTo>
                    <a:pt x="9420454" y="836446"/>
                    <a:pt x="9488825" y="726302"/>
                    <a:pt x="9488825" y="589545"/>
                  </a:cubicBezTo>
                  <a:cubicBezTo>
                    <a:pt x="9488825" y="452788"/>
                    <a:pt x="9420431" y="342661"/>
                    <a:pt x="9292942" y="342661"/>
                  </a:cubicBezTo>
                  <a:close/>
                  <a:moveTo>
                    <a:pt x="9292942" y="899048"/>
                  </a:moveTo>
                  <a:cubicBezTo>
                    <a:pt x="9101682" y="899048"/>
                    <a:pt x="9017048" y="750666"/>
                    <a:pt x="9017048" y="589545"/>
                  </a:cubicBezTo>
                  <a:cubicBezTo>
                    <a:pt x="9017048" y="428424"/>
                    <a:pt x="9101682" y="280066"/>
                    <a:pt x="9292942" y="280066"/>
                  </a:cubicBezTo>
                  <a:cubicBezTo>
                    <a:pt x="9484202" y="280066"/>
                    <a:pt x="9568813" y="428416"/>
                    <a:pt x="9568813" y="589545"/>
                  </a:cubicBezTo>
                  <a:cubicBezTo>
                    <a:pt x="9568813" y="750674"/>
                    <a:pt x="9484179" y="899040"/>
                    <a:pt x="9292942" y="899040"/>
                  </a:cubicBezTo>
                  <a:close/>
                  <a:moveTo>
                    <a:pt x="8381940" y="342661"/>
                  </a:moveTo>
                  <a:cubicBezTo>
                    <a:pt x="8274144" y="342661"/>
                    <a:pt x="8208089" y="450432"/>
                    <a:pt x="8208089" y="547813"/>
                  </a:cubicBezTo>
                  <a:lnTo>
                    <a:pt x="8532661" y="547813"/>
                  </a:lnTo>
                  <a:cubicBezTo>
                    <a:pt x="8532661" y="444656"/>
                    <a:pt x="8490929" y="342661"/>
                    <a:pt x="8381956" y="342661"/>
                  </a:cubicBezTo>
                  <a:close/>
                  <a:moveTo>
                    <a:pt x="8208089" y="610407"/>
                  </a:moveTo>
                  <a:cubicBezTo>
                    <a:pt x="8208089" y="735596"/>
                    <a:pt x="8275306" y="836446"/>
                    <a:pt x="8402826" y="836446"/>
                  </a:cubicBezTo>
                  <a:cubicBezTo>
                    <a:pt x="8456143" y="836446"/>
                    <a:pt x="8533791" y="814414"/>
                    <a:pt x="8568569" y="792382"/>
                  </a:cubicBezTo>
                  <a:lnTo>
                    <a:pt x="8568569" y="866545"/>
                  </a:lnTo>
                  <a:cubicBezTo>
                    <a:pt x="8517591" y="887415"/>
                    <a:pt x="8451496" y="899032"/>
                    <a:pt x="8397025" y="899032"/>
                  </a:cubicBezTo>
                  <a:cubicBezTo>
                    <a:pt x="8201119" y="899032"/>
                    <a:pt x="8128125" y="766889"/>
                    <a:pt x="8128125" y="589529"/>
                  </a:cubicBezTo>
                  <a:cubicBezTo>
                    <a:pt x="8128125" y="408708"/>
                    <a:pt x="8227781" y="280050"/>
                    <a:pt x="8377333" y="280050"/>
                  </a:cubicBezTo>
                  <a:cubicBezTo>
                    <a:pt x="8544230" y="280050"/>
                    <a:pt x="8612624" y="414484"/>
                    <a:pt x="8612624" y="573274"/>
                  </a:cubicBezTo>
                  <a:lnTo>
                    <a:pt x="8612624" y="610383"/>
                  </a:lnTo>
                  <a:close/>
                  <a:moveTo>
                    <a:pt x="7921843" y="342661"/>
                  </a:moveTo>
                  <a:cubicBezTo>
                    <a:pt x="7779237" y="342661"/>
                    <a:pt x="7699274" y="445810"/>
                    <a:pt x="7699274" y="589545"/>
                  </a:cubicBezTo>
                  <a:cubicBezTo>
                    <a:pt x="7699274" y="724003"/>
                    <a:pt x="7780415" y="836446"/>
                    <a:pt x="7913720" y="836446"/>
                  </a:cubicBezTo>
                  <a:cubicBezTo>
                    <a:pt x="7960075" y="836446"/>
                    <a:pt x="8002960" y="826030"/>
                    <a:pt x="8047008" y="809767"/>
                  </a:cubicBezTo>
                  <a:lnTo>
                    <a:pt x="8053978" y="878178"/>
                  </a:lnTo>
                  <a:cubicBezTo>
                    <a:pt x="8004130" y="895547"/>
                    <a:pt x="7957775" y="899048"/>
                    <a:pt x="7902127" y="899048"/>
                  </a:cubicBezTo>
                  <a:cubicBezTo>
                    <a:pt x="7712045" y="899048"/>
                    <a:pt x="7619319" y="754119"/>
                    <a:pt x="7619319" y="589545"/>
                  </a:cubicBezTo>
                  <a:cubicBezTo>
                    <a:pt x="7619319" y="407554"/>
                    <a:pt x="7736392" y="280066"/>
                    <a:pt x="7911428" y="280066"/>
                  </a:cubicBezTo>
                  <a:cubicBezTo>
                    <a:pt x="7982122" y="280066"/>
                    <a:pt x="8033148" y="296282"/>
                    <a:pt x="8054034" y="303228"/>
                  </a:cubicBezTo>
                  <a:lnTo>
                    <a:pt x="8048242" y="372768"/>
                  </a:lnTo>
                  <a:cubicBezTo>
                    <a:pt x="8008809" y="355399"/>
                    <a:pt x="7961284" y="342661"/>
                    <a:pt x="7921899" y="342661"/>
                  </a:cubicBezTo>
                  <a:close/>
                  <a:moveTo>
                    <a:pt x="7413005" y="885124"/>
                  </a:moveTo>
                  <a:lnTo>
                    <a:pt x="7413005" y="525773"/>
                  </a:lnTo>
                  <a:cubicBezTo>
                    <a:pt x="7413005" y="414500"/>
                    <a:pt x="7373596" y="342661"/>
                    <a:pt x="7272746" y="342661"/>
                  </a:cubicBezTo>
                  <a:cubicBezTo>
                    <a:pt x="7139458" y="342661"/>
                    <a:pt x="7097726" y="459726"/>
                    <a:pt x="7097726" y="558252"/>
                  </a:cubicBezTo>
                  <a:lnTo>
                    <a:pt x="7097726" y="885124"/>
                  </a:lnTo>
                  <a:lnTo>
                    <a:pt x="7024708" y="885124"/>
                  </a:lnTo>
                  <a:lnTo>
                    <a:pt x="7024708" y="433063"/>
                  </a:lnTo>
                  <a:cubicBezTo>
                    <a:pt x="7024708" y="387862"/>
                    <a:pt x="7024708" y="341507"/>
                    <a:pt x="7020062" y="293982"/>
                  </a:cubicBezTo>
                  <a:lnTo>
                    <a:pt x="7090756" y="293982"/>
                  </a:lnTo>
                  <a:lnTo>
                    <a:pt x="7090756" y="399431"/>
                  </a:lnTo>
                  <a:lnTo>
                    <a:pt x="7093103" y="399431"/>
                  </a:lnTo>
                  <a:cubicBezTo>
                    <a:pt x="7117418" y="346130"/>
                    <a:pt x="7161474" y="280058"/>
                    <a:pt x="7284363" y="280058"/>
                  </a:cubicBezTo>
                  <a:cubicBezTo>
                    <a:pt x="7430422" y="280058"/>
                    <a:pt x="7486046" y="377431"/>
                    <a:pt x="7486046" y="507250"/>
                  </a:cubicBezTo>
                  <a:lnTo>
                    <a:pt x="7486046" y="885116"/>
                  </a:lnTo>
                  <a:close/>
                  <a:moveTo>
                    <a:pt x="6660783" y="342661"/>
                  </a:moveTo>
                  <a:cubicBezTo>
                    <a:pt x="6552979" y="342661"/>
                    <a:pt x="6486932" y="450432"/>
                    <a:pt x="6486932" y="547813"/>
                  </a:cubicBezTo>
                  <a:lnTo>
                    <a:pt x="6811464" y="547813"/>
                  </a:lnTo>
                  <a:cubicBezTo>
                    <a:pt x="6811464" y="444656"/>
                    <a:pt x="6769732" y="342661"/>
                    <a:pt x="6660807" y="342661"/>
                  </a:cubicBezTo>
                  <a:close/>
                  <a:moveTo>
                    <a:pt x="6486932" y="610407"/>
                  </a:moveTo>
                  <a:cubicBezTo>
                    <a:pt x="6486932" y="735596"/>
                    <a:pt x="6554157" y="836446"/>
                    <a:pt x="6681669" y="836446"/>
                  </a:cubicBezTo>
                  <a:cubicBezTo>
                    <a:pt x="6734970" y="836446"/>
                    <a:pt x="6812634" y="814414"/>
                    <a:pt x="6847412" y="792382"/>
                  </a:cubicBezTo>
                  <a:lnTo>
                    <a:pt x="6847412" y="866545"/>
                  </a:lnTo>
                  <a:cubicBezTo>
                    <a:pt x="6796419" y="887415"/>
                    <a:pt x="6730347" y="899032"/>
                    <a:pt x="6675869" y="899032"/>
                  </a:cubicBezTo>
                  <a:cubicBezTo>
                    <a:pt x="6479970" y="899032"/>
                    <a:pt x="6406969" y="766889"/>
                    <a:pt x="6406969" y="589529"/>
                  </a:cubicBezTo>
                  <a:cubicBezTo>
                    <a:pt x="6406969" y="408708"/>
                    <a:pt x="6506624" y="280050"/>
                    <a:pt x="6656128" y="280050"/>
                  </a:cubicBezTo>
                  <a:cubicBezTo>
                    <a:pt x="6823041" y="280050"/>
                    <a:pt x="6891436" y="414484"/>
                    <a:pt x="6891436" y="573274"/>
                  </a:cubicBezTo>
                  <a:lnTo>
                    <a:pt x="6891436" y="610383"/>
                  </a:lnTo>
                  <a:close/>
                  <a:moveTo>
                    <a:pt x="6199429" y="38950"/>
                  </a:moveTo>
                  <a:lnTo>
                    <a:pt x="6272494" y="38950"/>
                  </a:lnTo>
                  <a:lnTo>
                    <a:pt x="6272494" y="136339"/>
                  </a:lnTo>
                  <a:lnTo>
                    <a:pt x="6199429" y="136339"/>
                  </a:lnTo>
                  <a:lnTo>
                    <a:pt x="6199429" y="38950"/>
                  </a:lnTo>
                  <a:close/>
                  <a:moveTo>
                    <a:pt x="6199429" y="885124"/>
                  </a:moveTo>
                  <a:lnTo>
                    <a:pt x="6199429" y="293982"/>
                  </a:lnTo>
                  <a:lnTo>
                    <a:pt x="6272494" y="293982"/>
                  </a:lnTo>
                  <a:lnTo>
                    <a:pt x="6272494" y="885124"/>
                  </a:lnTo>
                  <a:close/>
                  <a:moveTo>
                    <a:pt x="5949116" y="342661"/>
                  </a:moveTo>
                  <a:cubicBezTo>
                    <a:pt x="5806510" y="342661"/>
                    <a:pt x="5726570" y="445810"/>
                    <a:pt x="5726570" y="589545"/>
                  </a:cubicBezTo>
                  <a:cubicBezTo>
                    <a:pt x="5726570" y="724003"/>
                    <a:pt x="5807687" y="836446"/>
                    <a:pt x="5940992" y="836446"/>
                  </a:cubicBezTo>
                  <a:cubicBezTo>
                    <a:pt x="5987347" y="836446"/>
                    <a:pt x="6030233" y="826030"/>
                    <a:pt x="6074280" y="809767"/>
                  </a:cubicBezTo>
                  <a:lnTo>
                    <a:pt x="6081250" y="878178"/>
                  </a:lnTo>
                  <a:cubicBezTo>
                    <a:pt x="6031402" y="895547"/>
                    <a:pt x="5985048" y="899040"/>
                    <a:pt x="5929399" y="899040"/>
                  </a:cubicBezTo>
                  <a:cubicBezTo>
                    <a:pt x="5739317" y="899040"/>
                    <a:pt x="5646591" y="754111"/>
                    <a:pt x="5646591" y="589537"/>
                  </a:cubicBezTo>
                  <a:cubicBezTo>
                    <a:pt x="5646591" y="407546"/>
                    <a:pt x="5763688" y="280058"/>
                    <a:pt x="5938701" y="280058"/>
                  </a:cubicBezTo>
                  <a:cubicBezTo>
                    <a:pt x="6009419" y="280058"/>
                    <a:pt x="6060420" y="296274"/>
                    <a:pt x="6081306" y="303220"/>
                  </a:cubicBezTo>
                  <a:lnTo>
                    <a:pt x="6075514" y="372760"/>
                  </a:lnTo>
                  <a:cubicBezTo>
                    <a:pt x="6036081" y="355391"/>
                    <a:pt x="5988581" y="342653"/>
                    <a:pt x="5949172" y="342653"/>
                  </a:cubicBezTo>
                  <a:close/>
                  <a:moveTo>
                    <a:pt x="5347551" y="131708"/>
                  </a:moveTo>
                  <a:cubicBezTo>
                    <a:pt x="5264087" y="131708"/>
                    <a:pt x="5172555" y="166470"/>
                    <a:pt x="5172555" y="270789"/>
                  </a:cubicBezTo>
                  <a:cubicBezTo>
                    <a:pt x="5172555" y="433063"/>
                    <a:pt x="5543434" y="434225"/>
                    <a:pt x="5543434" y="670678"/>
                  </a:cubicBezTo>
                  <a:cubicBezTo>
                    <a:pt x="5543442" y="834146"/>
                    <a:pt x="5403192" y="899040"/>
                    <a:pt x="5278003" y="899040"/>
                  </a:cubicBezTo>
                  <a:cubicBezTo>
                    <a:pt x="5199193" y="899040"/>
                    <a:pt x="5137800" y="882792"/>
                    <a:pt x="5094890" y="864254"/>
                  </a:cubicBezTo>
                  <a:lnTo>
                    <a:pt x="5103006" y="781943"/>
                  </a:lnTo>
                  <a:cubicBezTo>
                    <a:pt x="5150515" y="812082"/>
                    <a:pt x="5206163" y="829467"/>
                    <a:pt x="5281504" y="829467"/>
                  </a:cubicBezTo>
                  <a:cubicBezTo>
                    <a:pt x="5381176" y="829467"/>
                    <a:pt x="5463463" y="778474"/>
                    <a:pt x="5463463" y="663700"/>
                  </a:cubicBezTo>
                  <a:cubicBezTo>
                    <a:pt x="5463463" y="504927"/>
                    <a:pt x="5092567" y="485210"/>
                    <a:pt x="5092567" y="273104"/>
                  </a:cubicBezTo>
                  <a:cubicBezTo>
                    <a:pt x="5092567" y="143269"/>
                    <a:pt x="5206163" y="62136"/>
                    <a:pt x="5348721" y="62136"/>
                  </a:cubicBezTo>
                  <a:cubicBezTo>
                    <a:pt x="5388146" y="62136"/>
                    <a:pt x="5451870" y="67928"/>
                    <a:pt x="5507494" y="88798"/>
                  </a:cubicBezTo>
                  <a:lnTo>
                    <a:pt x="5494756" y="161831"/>
                  </a:lnTo>
                  <a:cubicBezTo>
                    <a:pt x="5458824" y="142099"/>
                    <a:pt x="5402046" y="131700"/>
                    <a:pt x="5347551" y="131700"/>
                  </a:cubicBezTo>
                  <a:close/>
                  <a:moveTo>
                    <a:pt x="4231388" y="482895"/>
                  </a:moveTo>
                  <a:cubicBezTo>
                    <a:pt x="4154901" y="513027"/>
                    <a:pt x="4079561" y="580252"/>
                    <a:pt x="4079561" y="669565"/>
                  </a:cubicBezTo>
                  <a:cubicBezTo>
                    <a:pt x="4079561" y="779684"/>
                    <a:pt x="4169963" y="836477"/>
                    <a:pt x="4267320" y="836477"/>
                  </a:cubicBezTo>
                  <a:cubicBezTo>
                    <a:pt x="4340337" y="836477"/>
                    <a:pt x="4420341" y="799376"/>
                    <a:pt x="4466680" y="742574"/>
                  </a:cubicBezTo>
                  <a:lnTo>
                    <a:pt x="4231388" y="482927"/>
                  </a:lnTo>
                  <a:close/>
                  <a:moveTo>
                    <a:pt x="4413379" y="241803"/>
                  </a:moveTo>
                  <a:cubicBezTo>
                    <a:pt x="4413379" y="165293"/>
                    <a:pt x="4367024" y="124738"/>
                    <a:pt x="4298605" y="124738"/>
                  </a:cubicBezTo>
                  <a:cubicBezTo>
                    <a:pt x="4230186" y="124738"/>
                    <a:pt x="4165316" y="164147"/>
                    <a:pt x="4165316" y="242981"/>
                  </a:cubicBezTo>
                  <a:cubicBezTo>
                    <a:pt x="4165316" y="306721"/>
                    <a:pt x="4212873" y="358876"/>
                    <a:pt x="4256881" y="407554"/>
                  </a:cubicBezTo>
                  <a:cubicBezTo>
                    <a:pt x="4327591" y="373906"/>
                    <a:pt x="4413379" y="336836"/>
                    <a:pt x="4413379" y="241803"/>
                  </a:cubicBezTo>
                  <a:close/>
                  <a:moveTo>
                    <a:pt x="4698518" y="882800"/>
                  </a:moveTo>
                  <a:lnTo>
                    <a:pt x="4596539" y="882800"/>
                  </a:lnTo>
                  <a:lnTo>
                    <a:pt x="4510751" y="792398"/>
                  </a:lnTo>
                  <a:cubicBezTo>
                    <a:pt x="4444664" y="866561"/>
                    <a:pt x="4360078" y="899048"/>
                    <a:pt x="4264996" y="899048"/>
                  </a:cubicBezTo>
                  <a:cubicBezTo>
                    <a:pt x="4128239" y="899048"/>
                    <a:pt x="3999573" y="829475"/>
                    <a:pt x="3999573" y="673002"/>
                  </a:cubicBezTo>
                  <a:cubicBezTo>
                    <a:pt x="3999573" y="548982"/>
                    <a:pt x="4083014" y="479418"/>
                    <a:pt x="4190833" y="437710"/>
                  </a:cubicBezTo>
                  <a:cubicBezTo>
                    <a:pt x="4140977" y="380892"/>
                    <a:pt x="4085353" y="319467"/>
                    <a:pt x="4085353" y="238334"/>
                  </a:cubicBezTo>
                  <a:cubicBezTo>
                    <a:pt x="4085353" y="122415"/>
                    <a:pt x="4196626" y="62144"/>
                    <a:pt x="4303268" y="62144"/>
                  </a:cubicBezTo>
                  <a:cubicBezTo>
                    <a:pt x="4399455" y="62144"/>
                    <a:pt x="4493334" y="115469"/>
                    <a:pt x="4493334" y="229065"/>
                  </a:cubicBezTo>
                  <a:cubicBezTo>
                    <a:pt x="4493334" y="355399"/>
                    <a:pt x="4395978" y="400608"/>
                    <a:pt x="4298597" y="449286"/>
                  </a:cubicBezTo>
                  <a:lnTo>
                    <a:pt x="4511897" y="686902"/>
                  </a:lnTo>
                  <a:cubicBezTo>
                    <a:pt x="4562874" y="613900"/>
                    <a:pt x="4581437" y="528120"/>
                    <a:pt x="4581437" y="441163"/>
                  </a:cubicBezTo>
                  <a:lnTo>
                    <a:pt x="4650986" y="441163"/>
                  </a:lnTo>
                  <a:cubicBezTo>
                    <a:pt x="4650986" y="545489"/>
                    <a:pt x="4620846" y="652139"/>
                    <a:pt x="4560575" y="733249"/>
                  </a:cubicBezTo>
                  <a:lnTo>
                    <a:pt x="4698510" y="882800"/>
                  </a:lnTo>
                  <a:close/>
                  <a:moveTo>
                    <a:pt x="3535960" y="836446"/>
                  </a:moveTo>
                  <a:cubicBezTo>
                    <a:pt x="3563776" y="836446"/>
                    <a:pt x="3582339" y="830653"/>
                    <a:pt x="3603201" y="822529"/>
                  </a:cubicBezTo>
                  <a:lnTo>
                    <a:pt x="3607824" y="882800"/>
                  </a:lnTo>
                  <a:cubicBezTo>
                    <a:pt x="3590455" y="889754"/>
                    <a:pt x="3554523" y="899048"/>
                    <a:pt x="3518591" y="899048"/>
                  </a:cubicBezTo>
                  <a:cubicBezTo>
                    <a:pt x="3388804" y="899048"/>
                    <a:pt x="3384109" y="809767"/>
                    <a:pt x="3384109" y="701963"/>
                  </a:cubicBezTo>
                  <a:lnTo>
                    <a:pt x="3384109" y="356577"/>
                  </a:lnTo>
                  <a:lnTo>
                    <a:pt x="3268213" y="356577"/>
                  </a:lnTo>
                  <a:lnTo>
                    <a:pt x="3268213" y="293982"/>
                  </a:lnTo>
                  <a:lnTo>
                    <a:pt x="3384109" y="293982"/>
                  </a:lnTo>
                  <a:lnTo>
                    <a:pt x="3384109" y="151376"/>
                  </a:lnTo>
                  <a:lnTo>
                    <a:pt x="3457150" y="125884"/>
                  </a:lnTo>
                  <a:lnTo>
                    <a:pt x="3457150" y="293958"/>
                  </a:lnTo>
                  <a:lnTo>
                    <a:pt x="3591584" y="293958"/>
                  </a:lnTo>
                  <a:lnTo>
                    <a:pt x="3591584" y="356553"/>
                  </a:lnTo>
                  <a:lnTo>
                    <a:pt x="3457150" y="356553"/>
                  </a:lnTo>
                  <a:lnTo>
                    <a:pt x="3457150" y="739049"/>
                  </a:lnTo>
                  <a:cubicBezTo>
                    <a:pt x="3457150" y="792374"/>
                    <a:pt x="3476859" y="836421"/>
                    <a:pt x="3535960" y="836421"/>
                  </a:cubicBezTo>
                  <a:close/>
                  <a:moveTo>
                    <a:pt x="3176673" y="356553"/>
                  </a:moveTo>
                  <a:cubicBezTo>
                    <a:pt x="3060778" y="356553"/>
                    <a:pt x="3029469" y="486340"/>
                    <a:pt x="3029469" y="593014"/>
                  </a:cubicBezTo>
                  <a:lnTo>
                    <a:pt x="3029469" y="885100"/>
                  </a:lnTo>
                  <a:lnTo>
                    <a:pt x="2956451" y="885100"/>
                  </a:lnTo>
                  <a:lnTo>
                    <a:pt x="2956451" y="426117"/>
                  </a:lnTo>
                  <a:cubicBezTo>
                    <a:pt x="2956451" y="361223"/>
                    <a:pt x="2956451" y="336836"/>
                    <a:pt x="2951789" y="293982"/>
                  </a:cubicBezTo>
                  <a:lnTo>
                    <a:pt x="3024822" y="293982"/>
                  </a:lnTo>
                  <a:lnTo>
                    <a:pt x="3024822" y="407554"/>
                  </a:lnTo>
                  <a:lnTo>
                    <a:pt x="3027169" y="407554"/>
                  </a:lnTo>
                  <a:cubicBezTo>
                    <a:pt x="3053808" y="341507"/>
                    <a:pt x="3103656" y="280066"/>
                    <a:pt x="3178997" y="280066"/>
                  </a:cubicBezTo>
                  <a:cubicBezTo>
                    <a:pt x="3196366" y="280066"/>
                    <a:pt x="3217236" y="283535"/>
                    <a:pt x="3229974" y="287036"/>
                  </a:cubicBezTo>
                  <a:lnTo>
                    <a:pt x="3229974" y="363523"/>
                  </a:lnTo>
                  <a:cubicBezTo>
                    <a:pt x="3214929" y="358876"/>
                    <a:pt x="3195220" y="356577"/>
                    <a:pt x="3176673" y="356577"/>
                  </a:cubicBezTo>
                  <a:close/>
                  <a:moveTo>
                    <a:pt x="2483569" y="152546"/>
                  </a:moveTo>
                  <a:lnTo>
                    <a:pt x="2307402" y="598790"/>
                  </a:lnTo>
                  <a:lnTo>
                    <a:pt x="2658589" y="598790"/>
                  </a:lnTo>
                  <a:lnTo>
                    <a:pt x="2483569" y="152546"/>
                  </a:lnTo>
                  <a:close/>
                  <a:moveTo>
                    <a:pt x="2772185" y="885100"/>
                  </a:moveTo>
                  <a:lnTo>
                    <a:pt x="2685252" y="668355"/>
                  </a:lnTo>
                  <a:lnTo>
                    <a:pt x="2277247" y="668355"/>
                  </a:lnTo>
                  <a:lnTo>
                    <a:pt x="2190297" y="885100"/>
                  </a:lnTo>
                  <a:lnTo>
                    <a:pt x="2112665" y="885100"/>
                  </a:lnTo>
                  <a:lnTo>
                    <a:pt x="2444168" y="76036"/>
                  </a:lnTo>
                  <a:lnTo>
                    <a:pt x="2534570" y="76036"/>
                  </a:lnTo>
                  <a:lnTo>
                    <a:pt x="2855650" y="885100"/>
                  </a:lnTo>
                  <a:close/>
                  <a:moveTo>
                    <a:pt x="1508762" y="342637"/>
                  </a:moveTo>
                  <a:cubicBezTo>
                    <a:pt x="1400950" y="342637"/>
                    <a:pt x="1334911" y="450408"/>
                    <a:pt x="1334911" y="547789"/>
                  </a:cubicBezTo>
                  <a:lnTo>
                    <a:pt x="1659451" y="547789"/>
                  </a:lnTo>
                  <a:cubicBezTo>
                    <a:pt x="1659451" y="444632"/>
                    <a:pt x="1617727" y="342637"/>
                    <a:pt x="1508778" y="342637"/>
                  </a:cubicBezTo>
                  <a:close/>
                  <a:moveTo>
                    <a:pt x="1334911" y="610383"/>
                  </a:moveTo>
                  <a:cubicBezTo>
                    <a:pt x="1334911" y="735572"/>
                    <a:pt x="1402128" y="836421"/>
                    <a:pt x="1529640" y="836421"/>
                  </a:cubicBezTo>
                  <a:cubicBezTo>
                    <a:pt x="1582948" y="836421"/>
                    <a:pt x="1660613" y="814390"/>
                    <a:pt x="1695391" y="792358"/>
                  </a:cubicBezTo>
                  <a:lnTo>
                    <a:pt x="1695391" y="866521"/>
                  </a:lnTo>
                  <a:cubicBezTo>
                    <a:pt x="1644381" y="887391"/>
                    <a:pt x="1578318" y="899008"/>
                    <a:pt x="1523847" y="899008"/>
                  </a:cubicBezTo>
                  <a:cubicBezTo>
                    <a:pt x="1327956" y="899008"/>
                    <a:pt x="1254915" y="766865"/>
                    <a:pt x="1254915" y="589505"/>
                  </a:cubicBezTo>
                  <a:cubicBezTo>
                    <a:pt x="1254915" y="408684"/>
                    <a:pt x="1354611" y="280026"/>
                    <a:pt x="1504147" y="280026"/>
                  </a:cubicBezTo>
                  <a:cubicBezTo>
                    <a:pt x="1671060" y="280026"/>
                    <a:pt x="1739447" y="414460"/>
                    <a:pt x="1739447" y="573249"/>
                  </a:cubicBezTo>
                  <a:lnTo>
                    <a:pt x="1739447" y="610359"/>
                  </a:lnTo>
                  <a:close/>
                  <a:moveTo>
                    <a:pt x="1048633" y="885100"/>
                  </a:moveTo>
                  <a:lnTo>
                    <a:pt x="1048633" y="532743"/>
                  </a:lnTo>
                  <a:cubicBezTo>
                    <a:pt x="1048633" y="430740"/>
                    <a:pt x="1028933" y="342661"/>
                    <a:pt x="908375" y="342661"/>
                  </a:cubicBezTo>
                  <a:cubicBezTo>
                    <a:pt x="778587" y="342661"/>
                    <a:pt x="733346" y="465526"/>
                    <a:pt x="733346" y="568675"/>
                  </a:cubicBezTo>
                  <a:lnTo>
                    <a:pt x="733346" y="885132"/>
                  </a:lnTo>
                  <a:lnTo>
                    <a:pt x="660393" y="885132"/>
                  </a:lnTo>
                  <a:lnTo>
                    <a:pt x="660393" y="15789"/>
                  </a:lnTo>
                  <a:lnTo>
                    <a:pt x="733402" y="15789"/>
                  </a:lnTo>
                  <a:lnTo>
                    <a:pt x="733402" y="393638"/>
                  </a:lnTo>
                  <a:lnTo>
                    <a:pt x="735734" y="393638"/>
                  </a:lnTo>
                  <a:cubicBezTo>
                    <a:pt x="767043" y="328745"/>
                    <a:pt x="833098" y="280066"/>
                    <a:pt x="920039" y="280066"/>
                  </a:cubicBezTo>
                  <a:cubicBezTo>
                    <a:pt x="1078837" y="280066"/>
                    <a:pt x="1121731" y="385539"/>
                    <a:pt x="1121731" y="531573"/>
                  </a:cubicBezTo>
                  <a:lnTo>
                    <a:pt x="1121731" y="885124"/>
                  </a:lnTo>
                  <a:close/>
                  <a:moveTo>
                    <a:pt x="325373" y="145576"/>
                  </a:moveTo>
                  <a:lnTo>
                    <a:pt x="325373" y="885100"/>
                  </a:lnTo>
                  <a:lnTo>
                    <a:pt x="245410" y="885100"/>
                  </a:lnTo>
                  <a:lnTo>
                    <a:pt x="245410" y="145600"/>
                  </a:lnTo>
                  <a:lnTo>
                    <a:pt x="6649" y="145600"/>
                  </a:lnTo>
                  <a:lnTo>
                    <a:pt x="6649" y="76060"/>
                  </a:lnTo>
                  <a:lnTo>
                    <a:pt x="564190" y="76060"/>
                  </a:lnTo>
                  <a:lnTo>
                    <a:pt x="564190" y="145600"/>
                  </a:lnTo>
                  <a:close/>
                </a:path>
              </a:pathLst>
            </a:custGeom>
            <a:grpFill/>
            <a:ln w="801" cap="flat">
              <a:noFill/>
              <a:prstDash val="solid"/>
              <a:miter/>
            </a:ln>
          </p:spPr>
          <p:txBody>
            <a:bodyPr rtlCol="0" anchor="ctr"/>
            <a:lstStyle/>
            <a:p>
              <a:endParaRPr lang="fr-BE"/>
            </a:p>
          </p:txBody>
        </p:sp>
        <p:sp>
          <p:nvSpPr>
            <p:cNvPr id="15" name="Forme libre : forme 24">
              <a:extLst>
                <a:ext uri="{FF2B5EF4-FFF2-40B4-BE49-F238E27FC236}">
                  <a16:creationId xmlns:a16="http://schemas.microsoft.com/office/drawing/2014/main" id="{622674A7-AD92-41EF-BD54-F2CFF3D8658A}"/>
                </a:ext>
              </a:extLst>
            </p:cNvPr>
            <p:cNvSpPr/>
            <p:nvPr/>
          </p:nvSpPr>
          <p:spPr>
            <a:xfrm>
              <a:off x="-786557" y="8253511"/>
              <a:ext cx="12106540" cy="2183968"/>
            </a:xfrm>
            <a:custGeom>
              <a:avLst/>
              <a:gdLst>
                <a:gd name="connsiteX0" fmla="*/ 1817527 w 12106540"/>
                <a:gd name="connsiteY0" fmla="*/ 17639 h 2183968"/>
                <a:gd name="connsiteX1" fmla="*/ 2709919 w 12106540"/>
                <a:gd name="connsiteY1" fmla="*/ 219996 h 2183968"/>
                <a:gd name="connsiteX2" fmla="*/ 2399495 w 12106540"/>
                <a:gd name="connsiteY2" fmla="*/ 553709 h 2183968"/>
                <a:gd name="connsiteX3" fmla="*/ 1554275 w 12106540"/>
                <a:gd name="connsiteY3" fmla="*/ 421102 h 2183968"/>
                <a:gd name="connsiteX4" fmla="*/ 1093835 w 12106540"/>
                <a:gd name="connsiteY4" fmla="*/ 615663 h 2183968"/>
                <a:gd name="connsiteX5" fmla="*/ 2590034 w 12106540"/>
                <a:gd name="connsiteY5" fmla="*/ 1477163 h 2183968"/>
                <a:gd name="connsiteX6" fmla="*/ 1357920 w 12106540"/>
                <a:gd name="connsiteY6" fmla="*/ 2178888 h 2183968"/>
                <a:gd name="connsiteX7" fmla="*/ 6649 w 12106540"/>
                <a:gd name="connsiteY7" fmla="*/ 1870266 h 2183968"/>
                <a:gd name="connsiteX8" fmla="*/ 177127 w 12106540"/>
                <a:gd name="connsiteY8" fmla="*/ 1601366 h 2183968"/>
                <a:gd name="connsiteX9" fmla="*/ 315383 w 12106540"/>
                <a:gd name="connsiteY9" fmla="*/ 1540622 h 2183968"/>
                <a:gd name="connsiteX10" fmla="*/ 1266003 w 12106540"/>
                <a:gd name="connsiteY10" fmla="*/ 1757896 h 2183968"/>
                <a:gd name="connsiteX11" fmla="*/ 1878047 w 12106540"/>
                <a:gd name="connsiteY11" fmla="*/ 1547704 h 2183968"/>
                <a:gd name="connsiteX12" fmla="*/ 435781 w 12106540"/>
                <a:gd name="connsiteY12" fmla="*/ 659750 h 2183968"/>
                <a:gd name="connsiteX13" fmla="*/ 1817559 w 12106540"/>
                <a:gd name="connsiteY13" fmla="*/ 17639 h 2183968"/>
                <a:gd name="connsiteX14" fmla="*/ 5541880 w 12106540"/>
                <a:gd name="connsiteY14" fmla="*/ 339584 h 2183968"/>
                <a:gd name="connsiteX15" fmla="*/ 5124069 w 12106540"/>
                <a:gd name="connsiteY15" fmla="*/ 641084 h 2183968"/>
                <a:gd name="connsiteX16" fmla="*/ 4293630 w 12106540"/>
                <a:gd name="connsiteY16" fmla="*/ 471959 h 2183968"/>
                <a:gd name="connsiteX17" fmla="*/ 3500028 w 12106540"/>
                <a:gd name="connsiteY17" fmla="*/ 1112949 h 2183968"/>
                <a:gd name="connsiteX18" fmla="*/ 4294295 w 12106540"/>
                <a:gd name="connsiteY18" fmla="*/ 1709266 h 2183968"/>
                <a:gd name="connsiteX19" fmla="*/ 6285970 w 12106540"/>
                <a:gd name="connsiteY19" fmla="*/ 463467 h 2183968"/>
                <a:gd name="connsiteX20" fmla="*/ 7656116 w 12106540"/>
                <a:gd name="connsiteY20" fmla="*/ 1889 h 2183968"/>
                <a:gd name="connsiteX21" fmla="*/ 9088663 w 12106540"/>
                <a:gd name="connsiteY21" fmla="*/ 1112925 h 2183968"/>
                <a:gd name="connsiteX22" fmla="*/ 7660522 w 12106540"/>
                <a:gd name="connsiteY22" fmla="*/ 2185858 h 2183968"/>
                <a:gd name="connsiteX23" fmla="*/ 6096064 w 12106540"/>
                <a:gd name="connsiteY23" fmla="*/ 1561236 h 2183968"/>
                <a:gd name="connsiteX24" fmla="*/ 6461199 w 12106540"/>
                <a:gd name="connsiteY24" fmla="*/ 1232329 h 2183968"/>
                <a:gd name="connsiteX25" fmla="*/ 7621963 w 12106540"/>
                <a:gd name="connsiteY25" fmla="*/ 1709266 h 2183968"/>
                <a:gd name="connsiteX26" fmla="*/ 8449349 w 12106540"/>
                <a:gd name="connsiteY26" fmla="*/ 1112949 h 2183968"/>
                <a:gd name="connsiteX27" fmla="*/ 7656436 w 12106540"/>
                <a:gd name="connsiteY27" fmla="*/ 471959 h 2183968"/>
                <a:gd name="connsiteX28" fmla="*/ 4297451 w 12106540"/>
                <a:gd name="connsiteY28" fmla="*/ 2178872 h 2183968"/>
                <a:gd name="connsiteX29" fmla="*/ 2858141 w 12106540"/>
                <a:gd name="connsiteY29" fmla="*/ 1209152 h 2183968"/>
                <a:gd name="connsiteX30" fmla="*/ 2858141 w 12106540"/>
                <a:gd name="connsiteY30" fmla="*/ 1027145 h 2183968"/>
                <a:gd name="connsiteX31" fmla="*/ 4317048 w 12106540"/>
                <a:gd name="connsiteY31" fmla="*/ 1913 h 2183968"/>
                <a:gd name="connsiteX32" fmla="*/ 5541912 w 12106540"/>
                <a:gd name="connsiteY32" fmla="*/ 339584 h 2183968"/>
                <a:gd name="connsiteX33" fmla="*/ 11334842 w 12106540"/>
                <a:gd name="connsiteY33" fmla="*/ 2127766 h 2183968"/>
                <a:gd name="connsiteX34" fmla="*/ 11045520 w 12106540"/>
                <a:gd name="connsiteY34" fmla="*/ 1920675 h 2183968"/>
                <a:gd name="connsiteX35" fmla="*/ 10375930 w 12106540"/>
                <a:gd name="connsiteY35" fmla="*/ 1108086 h 2183968"/>
                <a:gd name="connsiteX36" fmla="*/ 11480516 w 12106540"/>
                <a:gd name="connsiteY36" fmla="*/ 670702 h 2183968"/>
                <a:gd name="connsiteX37" fmla="*/ 10929641 w 12106540"/>
                <a:gd name="connsiteY37" fmla="*/ 419059 h 2183968"/>
                <a:gd name="connsiteX38" fmla="*/ 10098626 w 12106540"/>
                <a:gd name="connsiteY38" fmla="*/ 1123011 h 2183968"/>
                <a:gd name="connsiteX39" fmla="*/ 9779148 w 12106540"/>
                <a:gd name="connsiteY39" fmla="*/ 2142018 h 2183968"/>
                <a:gd name="connsiteX40" fmla="*/ 9150385 w 12106540"/>
                <a:gd name="connsiteY40" fmla="*/ 2142018 h 2183968"/>
                <a:gd name="connsiteX41" fmla="*/ 9474348 w 12106540"/>
                <a:gd name="connsiteY41" fmla="*/ 1112380 h 2183968"/>
                <a:gd name="connsiteX42" fmla="*/ 10977422 w 12106540"/>
                <a:gd name="connsiteY42" fmla="*/ 1913 h 2183968"/>
                <a:gd name="connsiteX43" fmla="*/ 12113190 w 12106540"/>
                <a:gd name="connsiteY43" fmla="*/ 602988 h 2183968"/>
                <a:gd name="connsiteX44" fmla="*/ 11137950 w 12106540"/>
                <a:gd name="connsiteY44" fmla="*/ 1304105 h 2183968"/>
                <a:gd name="connsiteX45" fmla="*/ 11974357 w 12106540"/>
                <a:gd name="connsiteY45" fmla="*/ 2142018 h 2183968"/>
                <a:gd name="connsiteX46" fmla="*/ 11447725 w 12106540"/>
                <a:gd name="connsiteY46" fmla="*/ 2142018 h 2183968"/>
                <a:gd name="connsiteX47" fmla="*/ 11334842 w 12106540"/>
                <a:gd name="connsiteY47" fmla="*/ 2127774 h 218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106540" h="2183968">
                  <a:moveTo>
                    <a:pt x="1817527" y="17639"/>
                  </a:moveTo>
                  <a:cubicBezTo>
                    <a:pt x="2181084" y="56095"/>
                    <a:pt x="2662459" y="205110"/>
                    <a:pt x="2709919" y="219996"/>
                  </a:cubicBezTo>
                  <a:cubicBezTo>
                    <a:pt x="2630797" y="359493"/>
                    <a:pt x="2565463" y="553709"/>
                    <a:pt x="2399495" y="553709"/>
                  </a:cubicBezTo>
                  <a:cubicBezTo>
                    <a:pt x="2276846" y="553709"/>
                    <a:pt x="1935209" y="421102"/>
                    <a:pt x="1554275" y="421102"/>
                  </a:cubicBezTo>
                  <a:cubicBezTo>
                    <a:pt x="1397593" y="421102"/>
                    <a:pt x="1093835" y="445185"/>
                    <a:pt x="1093835" y="615663"/>
                  </a:cubicBezTo>
                  <a:cubicBezTo>
                    <a:pt x="1093153" y="909687"/>
                    <a:pt x="2652981" y="818476"/>
                    <a:pt x="2590034" y="1477163"/>
                  </a:cubicBezTo>
                  <a:cubicBezTo>
                    <a:pt x="2552701" y="1872982"/>
                    <a:pt x="2043541" y="2178888"/>
                    <a:pt x="1357920" y="2178888"/>
                  </a:cubicBezTo>
                  <a:cubicBezTo>
                    <a:pt x="782273" y="2178888"/>
                    <a:pt x="216808" y="1980601"/>
                    <a:pt x="6649" y="1870266"/>
                  </a:cubicBezTo>
                  <a:cubicBezTo>
                    <a:pt x="66680" y="1775153"/>
                    <a:pt x="88832" y="1742081"/>
                    <a:pt x="177127" y="1601366"/>
                  </a:cubicBezTo>
                  <a:cubicBezTo>
                    <a:pt x="203237" y="1558905"/>
                    <a:pt x="252748" y="1534069"/>
                    <a:pt x="315383" y="1540622"/>
                  </a:cubicBezTo>
                  <a:cubicBezTo>
                    <a:pt x="402549" y="1549435"/>
                    <a:pt x="885373" y="1747497"/>
                    <a:pt x="1266003" y="1757896"/>
                  </a:cubicBezTo>
                  <a:cubicBezTo>
                    <a:pt x="1501703" y="1764601"/>
                    <a:pt x="1853403" y="1759178"/>
                    <a:pt x="1878047" y="1547704"/>
                  </a:cubicBezTo>
                  <a:cubicBezTo>
                    <a:pt x="1915805" y="1221377"/>
                    <a:pt x="435781" y="1302430"/>
                    <a:pt x="435781" y="659750"/>
                  </a:cubicBezTo>
                  <a:cubicBezTo>
                    <a:pt x="435781" y="328296"/>
                    <a:pt x="862533" y="-83651"/>
                    <a:pt x="1817559" y="17639"/>
                  </a:cubicBezTo>
                  <a:close/>
                  <a:moveTo>
                    <a:pt x="5541880" y="339584"/>
                  </a:moveTo>
                  <a:cubicBezTo>
                    <a:pt x="5376842" y="528144"/>
                    <a:pt x="5312413" y="641084"/>
                    <a:pt x="5124069" y="641084"/>
                  </a:cubicBezTo>
                  <a:cubicBezTo>
                    <a:pt x="4930870" y="641084"/>
                    <a:pt x="4776775" y="471959"/>
                    <a:pt x="4293630" y="471959"/>
                  </a:cubicBezTo>
                  <a:cubicBezTo>
                    <a:pt x="3804003" y="471959"/>
                    <a:pt x="3500028" y="757972"/>
                    <a:pt x="3500028" y="1112949"/>
                  </a:cubicBezTo>
                  <a:cubicBezTo>
                    <a:pt x="3500028" y="1600525"/>
                    <a:pt x="4056904" y="1709266"/>
                    <a:pt x="4294295" y="1709266"/>
                  </a:cubicBezTo>
                  <a:cubicBezTo>
                    <a:pt x="5033762" y="1709266"/>
                    <a:pt x="5737923" y="837335"/>
                    <a:pt x="6285970" y="463467"/>
                  </a:cubicBezTo>
                  <a:cubicBezTo>
                    <a:pt x="6654975" y="201753"/>
                    <a:pt x="7039105" y="1889"/>
                    <a:pt x="7656116" y="1889"/>
                  </a:cubicBezTo>
                  <a:cubicBezTo>
                    <a:pt x="8550110" y="1889"/>
                    <a:pt x="9088663" y="511841"/>
                    <a:pt x="9088663" y="1112925"/>
                  </a:cubicBezTo>
                  <a:cubicBezTo>
                    <a:pt x="9088663" y="1697336"/>
                    <a:pt x="8519922" y="2185858"/>
                    <a:pt x="7660522" y="2185858"/>
                  </a:cubicBezTo>
                  <a:cubicBezTo>
                    <a:pt x="6960760" y="2185858"/>
                    <a:pt x="6536043" y="1989158"/>
                    <a:pt x="6096064" y="1561236"/>
                  </a:cubicBezTo>
                  <a:lnTo>
                    <a:pt x="6461199" y="1232329"/>
                  </a:lnTo>
                  <a:cubicBezTo>
                    <a:pt x="6648669" y="1436151"/>
                    <a:pt x="7079091" y="1709266"/>
                    <a:pt x="7621963" y="1709266"/>
                  </a:cubicBezTo>
                  <a:cubicBezTo>
                    <a:pt x="8032667" y="1709266"/>
                    <a:pt x="8449349" y="1472997"/>
                    <a:pt x="8449349" y="1112949"/>
                  </a:cubicBezTo>
                  <a:cubicBezTo>
                    <a:pt x="8449349" y="746019"/>
                    <a:pt x="8141865" y="471959"/>
                    <a:pt x="7656436" y="471959"/>
                  </a:cubicBezTo>
                  <a:cubicBezTo>
                    <a:pt x="6427054" y="471959"/>
                    <a:pt x="5839413" y="2178872"/>
                    <a:pt x="4297451" y="2178872"/>
                  </a:cubicBezTo>
                  <a:cubicBezTo>
                    <a:pt x="3724865" y="2178872"/>
                    <a:pt x="2942239" y="1957520"/>
                    <a:pt x="2858141" y="1209152"/>
                  </a:cubicBezTo>
                  <a:cubicBezTo>
                    <a:pt x="2858141" y="1200443"/>
                    <a:pt x="2857228" y="1046132"/>
                    <a:pt x="2858141" y="1027145"/>
                  </a:cubicBezTo>
                  <a:cubicBezTo>
                    <a:pt x="2903231" y="432174"/>
                    <a:pt x="3572148" y="1913"/>
                    <a:pt x="4317048" y="1913"/>
                  </a:cubicBezTo>
                  <a:cubicBezTo>
                    <a:pt x="4766985" y="1913"/>
                    <a:pt x="5233987" y="181772"/>
                    <a:pt x="5541912" y="339584"/>
                  </a:cubicBezTo>
                  <a:close/>
                  <a:moveTo>
                    <a:pt x="11334842" y="2127766"/>
                  </a:moveTo>
                  <a:cubicBezTo>
                    <a:pt x="11226157" y="2098836"/>
                    <a:pt x="11134137" y="2026940"/>
                    <a:pt x="11045520" y="1920675"/>
                  </a:cubicBezTo>
                  <a:cubicBezTo>
                    <a:pt x="10795912" y="1620185"/>
                    <a:pt x="10464217" y="1219102"/>
                    <a:pt x="10375930" y="1108086"/>
                  </a:cubicBezTo>
                  <a:cubicBezTo>
                    <a:pt x="10657937" y="1064335"/>
                    <a:pt x="11480516" y="1037880"/>
                    <a:pt x="11480516" y="670702"/>
                  </a:cubicBezTo>
                  <a:cubicBezTo>
                    <a:pt x="11480516" y="462017"/>
                    <a:pt x="11163915" y="419059"/>
                    <a:pt x="10929641" y="419059"/>
                  </a:cubicBezTo>
                  <a:cubicBezTo>
                    <a:pt x="10276450" y="419059"/>
                    <a:pt x="10188259" y="864238"/>
                    <a:pt x="10098626" y="1123011"/>
                  </a:cubicBezTo>
                  <a:cubicBezTo>
                    <a:pt x="10098626" y="1123011"/>
                    <a:pt x="9826408" y="1990760"/>
                    <a:pt x="9779148" y="2142018"/>
                  </a:cubicBezTo>
                  <a:lnTo>
                    <a:pt x="9150385" y="2142018"/>
                  </a:lnTo>
                  <a:lnTo>
                    <a:pt x="9474348" y="1112380"/>
                  </a:lnTo>
                  <a:cubicBezTo>
                    <a:pt x="9670143" y="436132"/>
                    <a:pt x="10036087" y="1913"/>
                    <a:pt x="10977422" y="1913"/>
                  </a:cubicBezTo>
                  <a:cubicBezTo>
                    <a:pt x="11551114" y="1913"/>
                    <a:pt x="12113190" y="181772"/>
                    <a:pt x="12113190" y="602988"/>
                  </a:cubicBezTo>
                  <a:cubicBezTo>
                    <a:pt x="12113190" y="1094514"/>
                    <a:pt x="11492462" y="1260017"/>
                    <a:pt x="11137950" y="1304105"/>
                  </a:cubicBezTo>
                  <a:lnTo>
                    <a:pt x="11974357" y="2142018"/>
                  </a:lnTo>
                  <a:lnTo>
                    <a:pt x="11447725" y="2142018"/>
                  </a:lnTo>
                  <a:cubicBezTo>
                    <a:pt x="11407947" y="2142018"/>
                    <a:pt x="11370421" y="2137268"/>
                    <a:pt x="11334842" y="2127774"/>
                  </a:cubicBezTo>
                </a:path>
              </a:pathLst>
            </a:custGeom>
            <a:grpFill/>
            <a:ln w="801" cap="flat">
              <a:noFill/>
              <a:prstDash val="solid"/>
              <a:miter/>
            </a:ln>
          </p:spPr>
          <p:txBody>
            <a:bodyPr rtlCol="0" anchor="ctr"/>
            <a:lstStyle/>
            <a:p>
              <a:endParaRPr lang="fr-BE"/>
            </a:p>
          </p:txBody>
        </p:sp>
      </p:grpSp>
      <p:grpSp>
        <p:nvGrpSpPr>
          <p:cNvPr id="21" name="Groupe 20">
            <a:extLst>
              <a:ext uri="{FF2B5EF4-FFF2-40B4-BE49-F238E27FC236}">
                <a16:creationId xmlns:a16="http://schemas.microsoft.com/office/drawing/2014/main" id="{0F8A673B-9324-49CE-B430-344EC78DA03E}"/>
              </a:ext>
            </a:extLst>
          </p:cNvPr>
          <p:cNvGrpSpPr/>
          <p:nvPr userDrawn="1"/>
        </p:nvGrpSpPr>
        <p:grpSpPr>
          <a:xfrm>
            <a:off x="12360696" y="-13072"/>
            <a:ext cx="1885826" cy="1528108"/>
            <a:chOff x="511520" y="2588002"/>
            <a:chExt cx="1885826" cy="1528108"/>
          </a:xfrm>
        </p:grpSpPr>
        <p:sp>
          <p:nvSpPr>
            <p:cNvPr id="22" name="Freeform 5">
              <a:extLst>
                <a:ext uri="{FF2B5EF4-FFF2-40B4-BE49-F238E27FC236}">
                  <a16:creationId xmlns:a16="http://schemas.microsoft.com/office/drawing/2014/main" id="{CD9A0035-E487-4895-8092-DA2A5E84C0A9}"/>
                </a:ext>
              </a:extLst>
            </p:cNvPr>
            <p:cNvSpPr>
              <a:spLocks noEditPoints="1"/>
            </p:cNvSpPr>
            <p:nvPr/>
          </p:nvSpPr>
          <p:spPr bwMode="auto">
            <a:xfrm>
              <a:off x="1241708" y="2588002"/>
              <a:ext cx="425450" cy="425450"/>
            </a:xfrm>
            <a:custGeom>
              <a:avLst/>
              <a:gdLst>
                <a:gd name="T0" fmla="*/ 173 w 346"/>
                <a:gd name="T1" fmla="*/ 0 h 346"/>
                <a:gd name="T2" fmla="*/ 0 w 346"/>
                <a:gd name="T3" fmla="*/ 173 h 346"/>
                <a:gd name="T4" fmla="*/ 173 w 346"/>
                <a:gd name="T5" fmla="*/ 346 h 346"/>
                <a:gd name="T6" fmla="*/ 346 w 346"/>
                <a:gd name="T7" fmla="*/ 173 h 346"/>
                <a:gd name="T8" fmla="*/ 173 w 346"/>
                <a:gd name="T9" fmla="*/ 0 h 346"/>
                <a:gd name="T10" fmla="*/ 201 w 346"/>
                <a:gd name="T11" fmla="*/ 247 h 346"/>
                <a:gd name="T12" fmla="*/ 128 w 346"/>
                <a:gd name="T13" fmla="*/ 290 h 346"/>
                <a:gd name="T14" fmla="*/ 111 w 346"/>
                <a:gd name="T15" fmla="*/ 278 h 346"/>
                <a:gd name="T16" fmla="*/ 112 w 346"/>
                <a:gd name="T17" fmla="*/ 272 h 346"/>
                <a:gd name="T18" fmla="*/ 153 w 346"/>
                <a:gd name="T19" fmla="*/ 172 h 346"/>
                <a:gd name="T20" fmla="*/ 150 w 346"/>
                <a:gd name="T21" fmla="*/ 165 h 346"/>
                <a:gd name="T22" fmla="*/ 126 w 346"/>
                <a:gd name="T23" fmla="*/ 175 h 346"/>
                <a:gd name="T24" fmla="*/ 121 w 346"/>
                <a:gd name="T25" fmla="*/ 173 h 346"/>
                <a:gd name="T26" fmla="*/ 126 w 346"/>
                <a:gd name="T27" fmla="*/ 163 h 346"/>
                <a:gd name="T28" fmla="*/ 195 w 346"/>
                <a:gd name="T29" fmla="*/ 128 h 346"/>
                <a:gd name="T30" fmla="*/ 205 w 346"/>
                <a:gd name="T31" fmla="*/ 141 h 346"/>
                <a:gd name="T32" fmla="*/ 201 w 346"/>
                <a:gd name="T33" fmla="*/ 154 h 346"/>
                <a:gd name="T34" fmla="*/ 164 w 346"/>
                <a:gd name="T35" fmla="*/ 247 h 346"/>
                <a:gd name="T36" fmla="*/ 169 w 346"/>
                <a:gd name="T37" fmla="*/ 252 h 346"/>
                <a:gd name="T38" fmla="*/ 196 w 346"/>
                <a:gd name="T39" fmla="*/ 235 h 346"/>
                <a:gd name="T40" fmla="*/ 204 w 346"/>
                <a:gd name="T41" fmla="*/ 231 h 346"/>
                <a:gd name="T42" fmla="*/ 207 w 346"/>
                <a:gd name="T43" fmla="*/ 234 h 346"/>
                <a:gd name="T44" fmla="*/ 201 w 346"/>
                <a:gd name="T45" fmla="*/ 247 h 346"/>
                <a:gd name="T46" fmla="*/ 192 w 346"/>
                <a:gd name="T47" fmla="*/ 98 h 346"/>
                <a:gd name="T48" fmla="*/ 182 w 346"/>
                <a:gd name="T49" fmla="*/ 95 h 346"/>
                <a:gd name="T50" fmla="*/ 173 w 346"/>
                <a:gd name="T51" fmla="*/ 76 h 346"/>
                <a:gd name="T52" fmla="*/ 186 w 346"/>
                <a:gd name="T53" fmla="*/ 52 h 346"/>
                <a:gd name="T54" fmla="*/ 198 w 346"/>
                <a:gd name="T55" fmla="*/ 48 h 346"/>
                <a:gd name="T56" fmla="*/ 219 w 346"/>
                <a:gd name="T57" fmla="*/ 70 h 346"/>
                <a:gd name="T58" fmla="*/ 192 w 346"/>
                <a:gd name="T59" fmla="*/ 98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6" h="346">
                  <a:moveTo>
                    <a:pt x="173" y="0"/>
                  </a:moveTo>
                  <a:cubicBezTo>
                    <a:pt x="78" y="0"/>
                    <a:pt x="0" y="78"/>
                    <a:pt x="0" y="173"/>
                  </a:cubicBezTo>
                  <a:cubicBezTo>
                    <a:pt x="0" y="268"/>
                    <a:pt x="78" y="346"/>
                    <a:pt x="173" y="346"/>
                  </a:cubicBezTo>
                  <a:cubicBezTo>
                    <a:pt x="268" y="346"/>
                    <a:pt x="346" y="268"/>
                    <a:pt x="346" y="173"/>
                  </a:cubicBezTo>
                  <a:cubicBezTo>
                    <a:pt x="346" y="78"/>
                    <a:pt x="268" y="0"/>
                    <a:pt x="173" y="0"/>
                  </a:cubicBezTo>
                  <a:close/>
                  <a:moveTo>
                    <a:pt x="201" y="247"/>
                  </a:moveTo>
                  <a:cubicBezTo>
                    <a:pt x="182" y="270"/>
                    <a:pt x="143" y="290"/>
                    <a:pt x="128" y="290"/>
                  </a:cubicBezTo>
                  <a:cubicBezTo>
                    <a:pt x="122" y="290"/>
                    <a:pt x="111" y="284"/>
                    <a:pt x="111" y="278"/>
                  </a:cubicBezTo>
                  <a:cubicBezTo>
                    <a:pt x="111" y="276"/>
                    <a:pt x="111" y="276"/>
                    <a:pt x="112" y="272"/>
                  </a:cubicBezTo>
                  <a:cubicBezTo>
                    <a:pt x="126" y="238"/>
                    <a:pt x="138" y="213"/>
                    <a:pt x="153" y="172"/>
                  </a:cubicBezTo>
                  <a:cubicBezTo>
                    <a:pt x="154" y="169"/>
                    <a:pt x="153" y="165"/>
                    <a:pt x="150" y="165"/>
                  </a:cubicBezTo>
                  <a:cubicBezTo>
                    <a:pt x="146" y="165"/>
                    <a:pt x="136" y="169"/>
                    <a:pt x="126" y="175"/>
                  </a:cubicBezTo>
                  <a:cubicBezTo>
                    <a:pt x="125" y="177"/>
                    <a:pt x="121" y="174"/>
                    <a:pt x="121" y="173"/>
                  </a:cubicBezTo>
                  <a:cubicBezTo>
                    <a:pt x="121" y="170"/>
                    <a:pt x="123" y="167"/>
                    <a:pt x="126" y="163"/>
                  </a:cubicBezTo>
                  <a:cubicBezTo>
                    <a:pt x="134" y="154"/>
                    <a:pt x="171" y="128"/>
                    <a:pt x="195" y="128"/>
                  </a:cubicBezTo>
                  <a:cubicBezTo>
                    <a:pt x="199" y="128"/>
                    <a:pt x="205" y="137"/>
                    <a:pt x="205" y="141"/>
                  </a:cubicBezTo>
                  <a:cubicBezTo>
                    <a:pt x="205" y="144"/>
                    <a:pt x="202" y="151"/>
                    <a:pt x="201" y="154"/>
                  </a:cubicBezTo>
                  <a:cubicBezTo>
                    <a:pt x="182" y="197"/>
                    <a:pt x="176" y="218"/>
                    <a:pt x="164" y="247"/>
                  </a:cubicBezTo>
                  <a:cubicBezTo>
                    <a:pt x="163" y="251"/>
                    <a:pt x="166" y="252"/>
                    <a:pt x="169" y="252"/>
                  </a:cubicBezTo>
                  <a:cubicBezTo>
                    <a:pt x="172" y="252"/>
                    <a:pt x="182" y="247"/>
                    <a:pt x="196" y="235"/>
                  </a:cubicBezTo>
                  <a:cubicBezTo>
                    <a:pt x="201" y="231"/>
                    <a:pt x="202" y="231"/>
                    <a:pt x="204" y="231"/>
                  </a:cubicBezTo>
                  <a:cubicBezTo>
                    <a:pt x="205" y="231"/>
                    <a:pt x="207" y="232"/>
                    <a:pt x="207" y="234"/>
                  </a:cubicBezTo>
                  <a:cubicBezTo>
                    <a:pt x="207" y="237"/>
                    <a:pt x="205" y="242"/>
                    <a:pt x="201" y="247"/>
                  </a:cubicBezTo>
                  <a:close/>
                  <a:moveTo>
                    <a:pt x="192" y="98"/>
                  </a:moveTo>
                  <a:cubicBezTo>
                    <a:pt x="188" y="98"/>
                    <a:pt x="185" y="96"/>
                    <a:pt x="182" y="95"/>
                  </a:cubicBezTo>
                  <a:cubicBezTo>
                    <a:pt x="177" y="91"/>
                    <a:pt x="173" y="85"/>
                    <a:pt x="173" y="76"/>
                  </a:cubicBezTo>
                  <a:cubicBezTo>
                    <a:pt x="173" y="65"/>
                    <a:pt x="179" y="57"/>
                    <a:pt x="186" y="52"/>
                  </a:cubicBezTo>
                  <a:cubicBezTo>
                    <a:pt x="190" y="49"/>
                    <a:pt x="195" y="48"/>
                    <a:pt x="198" y="48"/>
                  </a:cubicBezTo>
                  <a:cubicBezTo>
                    <a:pt x="213" y="48"/>
                    <a:pt x="219" y="59"/>
                    <a:pt x="219" y="70"/>
                  </a:cubicBezTo>
                  <a:cubicBezTo>
                    <a:pt x="219" y="82"/>
                    <a:pt x="206" y="98"/>
                    <a:pt x="192" y="98"/>
                  </a:cubicBezTo>
                  <a:close/>
                </a:path>
              </a:pathLst>
            </a:custGeom>
            <a:solidFill>
              <a:srgbClr val="F2F2F2"/>
            </a:solidFill>
            <a:ln>
              <a:noFill/>
            </a:ln>
            <a:effectLst>
              <a:outerShdw blurRad="50800" dist="254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mj-lt"/>
                <a:ea typeface="+mn-ea"/>
                <a:cs typeface="+mn-cs"/>
              </a:endParaRPr>
            </a:p>
          </p:txBody>
        </p:sp>
        <p:sp>
          <p:nvSpPr>
            <p:cNvPr id="23" name="Rectangle 22">
              <a:extLst>
                <a:ext uri="{FF2B5EF4-FFF2-40B4-BE49-F238E27FC236}">
                  <a16:creationId xmlns:a16="http://schemas.microsoft.com/office/drawing/2014/main" id="{9F98CBB6-BA53-4739-A9B2-2E3C2CB42A45}"/>
                </a:ext>
              </a:extLst>
            </p:cNvPr>
            <p:cNvSpPr/>
            <p:nvPr/>
          </p:nvSpPr>
          <p:spPr>
            <a:xfrm>
              <a:off x="511520" y="2946559"/>
              <a:ext cx="1885826" cy="1169551"/>
            </a:xfrm>
            <a:prstGeom prst="rect">
              <a:avLst/>
            </a:prstGeom>
            <a:solidFill>
              <a:srgbClr val="F2F2F2"/>
            </a:solidFill>
            <a:ln>
              <a:noFill/>
            </a:ln>
            <a:effectLst>
              <a:outerShdw blurRad="50800" dist="254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fr-FR" sz="1000" b="1" i="0" u="none" strike="noStrike" kern="1200" cap="none" spc="0" normalizeH="0" baseline="0" noProof="0">
                  <a:ln>
                    <a:noFill/>
                  </a:ln>
                  <a:solidFill>
                    <a:schemeClr val="accent1"/>
                  </a:solidFill>
                  <a:effectLst/>
                  <a:uLnTx/>
                  <a:uFillTx/>
                  <a:latin typeface="+mj-lt"/>
                  <a:ea typeface="+mn-ea"/>
                  <a:cs typeface="+mn-cs"/>
                </a:rPr>
                <a:t>To change the </a:t>
              </a:r>
              <a:r>
                <a:rPr kumimoji="0" lang="fr-FR" sz="1000" b="1" i="0" u="none" strike="noStrike" kern="1200" cap="none" spc="0" normalizeH="0" baseline="0" noProof="0" err="1">
                  <a:ln>
                    <a:noFill/>
                  </a:ln>
                  <a:solidFill>
                    <a:schemeClr val="accent1"/>
                  </a:solidFill>
                  <a:effectLst/>
                  <a:uLnTx/>
                  <a:uFillTx/>
                  <a:latin typeface="+mj-lt"/>
                  <a:ea typeface="+mn-ea"/>
                  <a:cs typeface="+mn-cs"/>
                </a:rPr>
                <a:t>visual</a:t>
              </a:r>
              <a:r>
                <a:rPr kumimoji="0" lang="fr-FR" sz="1000" b="1" i="0" u="none" strike="noStrike" kern="1200" cap="none" spc="0" normalizeH="0" baseline="0" noProof="0">
                  <a:ln>
                    <a:noFill/>
                  </a:ln>
                  <a:solidFill>
                    <a:schemeClr val="accent1"/>
                  </a:solidFill>
                  <a:effectLst/>
                  <a:uLnTx/>
                  <a:uFillTx/>
                  <a:latin typeface="+mj-lt"/>
                  <a:ea typeface="+mn-ea"/>
                  <a:cs typeface="+mn-cs"/>
                </a:rPr>
                <a:t>:</a:t>
              </a:r>
            </a:p>
            <a:p>
              <a:pPr marL="171450" lvl="0" indent="-171450">
                <a:buFont typeface="Arial" panose="020B0604020202020204" pitchFamily="34" charset="0"/>
                <a:buChar char="•"/>
              </a:pPr>
              <a:r>
                <a:rPr lang="en-US" sz="1000">
                  <a:solidFill>
                    <a:schemeClr val="tx1"/>
                  </a:solidFill>
                </a:rPr>
                <a:t>Remove the visual</a:t>
              </a:r>
            </a:p>
            <a:p>
              <a:pPr marL="171450" lvl="0" indent="-171450">
                <a:buFont typeface="Arial" panose="020B0604020202020204" pitchFamily="34" charset="0"/>
                <a:buChar char="•"/>
              </a:pPr>
              <a:r>
                <a:rPr lang="en-US" sz="1000">
                  <a:solidFill>
                    <a:schemeClr val="tx1"/>
                  </a:solidFill>
                </a:rPr>
                <a:t>Click on the icon </a:t>
              </a:r>
              <a:br>
                <a:rPr lang="en-US" sz="1000">
                  <a:solidFill>
                    <a:schemeClr val="tx1"/>
                  </a:solidFill>
                </a:rPr>
              </a:br>
              <a:r>
                <a:rPr lang="en-US" sz="1000">
                  <a:solidFill>
                    <a:schemeClr val="tx1"/>
                  </a:solidFill>
                </a:rPr>
                <a:t>in the center of the gray block</a:t>
              </a:r>
            </a:p>
            <a:p>
              <a:pPr marL="171450" lvl="0" indent="-171450">
                <a:buFont typeface="Arial" panose="020B0604020202020204" pitchFamily="34" charset="0"/>
                <a:buChar char="•"/>
              </a:pPr>
              <a:r>
                <a:rPr lang="en-US" sz="1000">
                  <a:solidFill>
                    <a:schemeClr val="tx1"/>
                  </a:solidFill>
                </a:rPr>
                <a:t>Import a visual</a:t>
              </a:r>
              <a:br>
                <a:rPr lang="en-US" sz="1000">
                  <a:solidFill>
                    <a:schemeClr val="tx1"/>
                  </a:solidFill>
                </a:rPr>
              </a:br>
              <a:r>
                <a:rPr lang="en-US" sz="1000">
                  <a:solidFill>
                    <a:schemeClr val="tx1"/>
                  </a:solidFill>
                </a:rPr>
                <a:t>from your computer</a:t>
              </a:r>
            </a:p>
          </p:txBody>
        </p:sp>
      </p:grpSp>
    </p:spTree>
    <p:extLst>
      <p:ext uri="{BB962C8B-B14F-4D97-AF65-F5344CB8AC3E}">
        <p14:creationId xmlns:p14="http://schemas.microsoft.com/office/powerpoint/2010/main" val="11545196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2_Content_1col">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lvl1pPr>
              <a:defRPr>
                <a:solidFill>
                  <a:schemeClr val="tx1"/>
                </a:solidFill>
              </a:defRPr>
            </a:lvl1pPr>
          </a:lstStyle>
          <a:p>
            <a:fld id="{91D568E7-61F5-D04E-995D-81EF41C01A2A}" type="slidenum">
              <a:rPr lang="en-GB" smtClean="0"/>
              <a:pPr/>
              <a:t>‹#›</a:t>
            </a:fld>
            <a:endParaRPr lang="en-GB"/>
          </a:p>
        </p:txBody>
      </p:sp>
      <p:sp>
        <p:nvSpPr>
          <p:cNvPr id="7" name="Footer Placeholder 3">
            <a:extLst>
              <a:ext uri="{FF2B5EF4-FFF2-40B4-BE49-F238E27FC236}">
                <a16:creationId xmlns:a16="http://schemas.microsoft.com/office/drawing/2014/main" id="{87BEC2EE-DF3F-614E-88A6-0E37009C4E63}"/>
              </a:ext>
            </a:extLst>
          </p:cNvPr>
          <p:cNvSpPr>
            <a:spLocks noGrp="1"/>
          </p:cNvSpPr>
          <p:nvPr>
            <p:ph type="ftr" sz="quarter" idx="3"/>
          </p:nvPr>
        </p:nvSpPr>
        <p:spPr>
          <a:xfrm>
            <a:off x="6011953" y="6277284"/>
            <a:ext cx="5038972" cy="365125"/>
          </a:xfrm>
          <a:prstGeom prst="rect">
            <a:avLst/>
          </a:prstGeom>
        </p:spPr>
        <p:txBody>
          <a:bodyPr vert="horz" wrap="square" lIns="0" tIns="0" rIns="0" bIns="0" rtlCol="0" anchor="ctr"/>
          <a:lstStyle>
            <a:lvl1pPr marL="0" marR="0" indent="0" algn="r" defTabSz="914263" rtl="0" eaLnBrk="1" fontAlgn="auto" latinLnBrk="0" hangingPunct="1">
              <a:lnSpc>
                <a:spcPct val="100000"/>
              </a:lnSpc>
              <a:spcBef>
                <a:spcPts val="0"/>
              </a:spcBef>
              <a:spcAft>
                <a:spcPts val="0"/>
              </a:spcAft>
              <a:buClrTx/>
              <a:buSzTx/>
              <a:buFontTx/>
              <a:buNone/>
              <a:tabLst/>
              <a:defRPr sz="400" b="0" i="0">
                <a:solidFill>
                  <a:schemeClr val="tx1"/>
                </a:solidFill>
                <a:latin typeface="Helvetica Now Text" panose="020B0504030202020204" pitchFamily="34" charset="77"/>
              </a:defRPr>
            </a:lvl1pPr>
          </a:lstStyle>
          <a:p>
            <a:r>
              <a:rPr lang="en-US" b="1"/>
              <a:t>Impact Forecasting Revealed 2023 Proprietary &amp; Confidential</a:t>
            </a:r>
            <a:endParaRPr lang="en-GB"/>
          </a:p>
        </p:txBody>
      </p:sp>
      <p:sp>
        <p:nvSpPr>
          <p:cNvPr id="5" name="Title 4">
            <a:extLst>
              <a:ext uri="{FF2B5EF4-FFF2-40B4-BE49-F238E27FC236}">
                <a16:creationId xmlns:a16="http://schemas.microsoft.com/office/drawing/2014/main" id="{E3C57073-C7EE-2841-80E1-0655BC165A7C}"/>
              </a:ext>
            </a:extLst>
          </p:cNvPr>
          <p:cNvSpPr>
            <a:spLocks noGrp="1"/>
          </p:cNvSpPr>
          <p:nvPr>
            <p:ph type="title" hasCustomPrompt="1"/>
          </p:nvPr>
        </p:nvSpPr>
        <p:spPr/>
        <p:txBody>
          <a:bodyPr/>
          <a:lstStyle/>
          <a:p>
            <a:r>
              <a:rPr lang="en-US"/>
              <a:t>Click to add title</a:t>
            </a:r>
            <a:endParaRPr lang="en-GB"/>
          </a:p>
        </p:txBody>
      </p:sp>
      <p:sp>
        <p:nvSpPr>
          <p:cNvPr id="8" name="Subtitle 2">
            <a:extLst>
              <a:ext uri="{FF2B5EF4-FFF2-40B4-BE49-F238E27FC236}">
                <a16:creationId xmlns:a16="http://schemas.microsoft.com/office/drawing/2014/main" id="{962223A4-0309-D041-BC7E-1B4B70A5FBB9}"/>
              </a:ext>
            </a:extLst>
          </p:cNvPr>
          <p:cNvSpPr>
            <a:spLocks noGrp="1"/>
          </p:cNvSpPr>
          <p:nvPr>
            <p:ph type="subTitle" idx="13" hasCustomPrompt="1"/>
          </p:nvPr>
        </p:nvSpPr>
        <p:spPr>
          <a:xfrm>
            <a:off x="1123230" y="843284"/>
            <a:ext cx="10686952" cy="307777"/>
          </a:xfrm>
        </p:spPr>
        <p:txBody>
          <a:bodyPr wrap="square">
            <a:spAutoFit/>
          </a:bodyPr>
          <a:lstStyle>
            <a:lvl1pPr marL="0" indent="0" algn="l">
              <a:buNone/>
              <a:defRPr sz="1999" b="0" i="0">
                <a:solidFill>
                  <a:schemeClr val="tx1"/>
                </a:solidFill>
                <a:latin typeface="Helvetica Now Text" panose="020B0504030202020204" pitchFamily="34" charset="77"/>
              </a:defRPr>
            </a:lvl1pPr>
            <a:lvl2pPr marL="457131" indent="0" algn="ctr">
              <a:buNone/>
              <a:defRPr sz="1999"/>
            </a:lvl2pPr>
            <a:lvl3pPr marL="914263" indent="0" algn="ctr">
              <a:buNone/>
              <a:defRPr sz="1799"/>
            </a:lvl3pPr>
            <a:lvl4pPr marL="1371394" indent="0" algn="ctr">
              <a:buNone/>
              <a:defRPr sz="1600"/>
            </a:lvl4pPr>
            <a:lvl5pPr marL="1828525" indent="0" algn="ctr">
              <a:buNone/>
              <a:defRPr sz="1600"/>
            </a:lvl5pPr>
            <a:lvl6pPr marL="2285657" indent="0" algn="ctr">
              <a:buNone/>
              <a:defRPr sz="1600"/>
            </a:lvl6pPr>
            <a:lvl7pPr marL="2742789" indent="0" algn="ctr">
              <a:buNone/>
              <a:defRPr sz="1600"/>
            </a:lvl7pPr>
            <a:lvl8pPr marL="3199920" indent="0" algn="ctr">
              <a:buNone/>
              <a:defRPr sz="1600"/>
            </a:lvl8pPr>
            <a:lvl9pPr marL="3657051" indent="0" algn="ctr">
              <a:buNone/>
              <a:defRPr sz="1600"/>
            </a:lvl9pPr>
          </a:lstStyle>
          <a:p>
            <a:r>
              <a:rPr lang="en-GB"/>
              <a:t>Click to add subhead</a:t>
            </a:r>
            <a:endParaRPr lang="en-US"/>
          </a:p>
        </p:txBody>
      </p:sp>
      <p:sp>
        <p:nvSpPr>
          <p:cNvPr id="4" name="Content Placeholder 3">
            <a:extLst>
              <a:ext uri="{FF2B5EF4-FFF2-40B4-BE49-F238E27FC236}">
                <a16:creationId xmlns:a16="http://schemas.microsoft.com/office/drawing/2014/main" id="{12088575-1D1D-854D-BCD8-AF60B4C07CF7}"/>
              </a:ext>
            </a:extLst>
          </p:cNvPr>
          <p:cNvSpPr>
            <a:spLocks noGrp="1"/>
          </p:cNvSpPr>
          <p:nvPr>
            <p:ph sz="quarter" idx="14"/>
          </p:nvPr>
        </p:nvSpPr>
        <p:spPr>
          <a:xfrm>
            <a:off x="1142281" y="1562100"/>
            <a:ext cx="10667900" cy="4438650"/>
          </a:xfrm>
        </p:spPr>
        <p:txBody>
          <a:bodyPr/>
          <a:lstStyle>
            <a:lvl4pPr>
              <a:buSzPct val="10000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815542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wo Line Titl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8" name="Content Placeholder 2"/>
          <p:cNvSpPr>
            <a:spLocks noGrp="1"/>
          </p:cNvSpPr>
          <p:nvPr>
            <p:ph idx="1"/>
          </p:nvPr>
        </p:nvSpPr>
        <p:spPr>
          <a:xfrm>
            <a:off x="457200" y="2039112"/>
            <a:ext cx="9144000" cy="4142232"/>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chemeClr val="accent1"/>
              </a:buClr>
              <a:defRPr>
                <a:solidFill>
                  <a:schemeClr val="tx1"/>
                </a:solidFill>
              </a:defRPr>
            </a:lvl6pPr>
            <a:lvl7pPr>
              <a:defRPr>
                <a:solidFill>
                  <a:srgbClr val="3F403F"/>
                </a:solidFill>
              </a:defRPr>
            </a:lvl7pPr>
            <a:lvl8pP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C323D4C1-CFFA-6DF2-CEF0-C921194DDCBB}"/>
              </a:ext>
            </a:extLst>
          </p:cNvPr>
          <p:cNvSpPr>
            <a:spLocks noGrp="1"/>
          </p:cNvSpPr>
          <p:nvPr>
            <p:ph type="ftr" sz="quarter" idx="1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030965952"/>
      </p:ext>
    </p:extLst>
  </p:cSld>
  <p:clrMapOvr>
    <a:masterClrMapping/>
  </p:clrMapOvr>
  <p:transition spd="slow"/>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wo Line Title and Subtitl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199" y="1441548"/>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3" name="Content Placeholder 2">
            <a:extLst>
              <a:ext uri="{FF2B5EF4-FFF2-40B4-BE49-F238E27FC236}">
                <a16:creationId xmlns:a16="http://schemas.microsoft.com/office/drawing/2014/main" id="{019440A2-4C4C-8D48-B977-EAC9A16805C1}"/>
              </a:ext>
            </a:extLst>
          </p:cNvPr>
          <p:cNvSpPr>
            <a:spLocks noGrp="1"/>
          </p:cNvSpPr>
          <p:nvPr>
            <p:ph sz="quarter" idx="11"/>
          </p:nvPr>
        </p:nvSpPr>
        <p:spPr>
          <a:xfrm>
            <a:off x="457200" y="2039112"/>
            <a:ext cx="9144000" cy="4144963"/>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D749C275-2568-ADAC-86ED-34DF95700A13}"/>
              </a:ext>
            </a:extLst>
          </p:cNvPr>
          <p:cNvSpPr>
            <a:spLocks noGrp="1"/>
          </p:cNvSpPr>
          <p:nvPr>
            <p:ph type="ftr" sz="quarter" idx="12"/>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2796511941"/>
      </p:ext>
    </p:extLst>
  </p:cSld>
  <p:clrMapOvr>
    <a:masterClrMapping/>
  </p:clrMapOvr>
  <p:transition spd="slow"/>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2580"/>
          </a:xfrm>
        </p:spPr>
        <p:txBody>
          <a:bodyPr wrap="square"/>
          <a:lstStyle/>
          <a:p>
            <a:r>
              <a:rPr lang="en-US"/>
              <a:t>Click to edit Master title style</a:t>
            </a:r>
          </a:p>
        </p:txBody>
      </p:sp>
      <p:sp>
        <p:nvSpPr>
          <p:cNvPr id="9" name="Text Placeholder 12"/>
          <p:cNvSpPr>
            <a:spLocks noGrp="1"/>
          </p:cNvSpPr>
          <p:nvPr>
            <p:ph type="body" sz="quarter" idx="10"/>
          </p:nvPr>
        </p:nvSpPr>
        <p:spPr>
          <a:xfrm>
            <a:off x="457200" y="1103220"/>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3" name="Content Placeholder 2">
            <a:extLst>
              <a:ext uri="{FF2B5EF4-FFF2-40B4-BE49-F238E27FC236}">
                <a16:creationId xmlns:a16="http://schemas.microsoft.com/office/drawing/2014/main" id="{FD0ED574-FADB-D64C-A81B-C4C2B5642E7B}"/>
              </a:ext>
            </a:extLst>
          </p:cNvPr>
          <p:cNvSpPr>
            <a:spLocks noGrp="1"/>
          </p:cNvSpPr>
          <p:nvPr>
            <p:ph sz="quarter" idx="11"/>
          </p:nvPr>
        </p:nvSpPr>
        <p:spPr>
          <a:xfrm>
            <a:off x="457200" y="2039112"/>
            <a:ext cx="9144000" cy="4144963"/>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87B85497-578C-CC12-EFE0-F56E7DEC1788}"/>
              </a:ext>
            </a:extLst>
          </p:cNvPr>
          <p:cNvSpPr>
            <a:spLocks noGrp="1"/>
          </p:cNvSpPr>
          <p:nvPr>
            <p:ph type="ftr" sz="quarter" idx="12"/>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2302103411"/>
      </p:ext>
    </p:extLst>
  </p:cSld>
  <p:clrMapOvr>
    <a:masterClrMapping/>
  </p:clrMapOvr>
  <p:transition spd="slow"/>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wo Line Title – Blank">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2" name="Footer Placeholder 1">
            <a:extLst>
              <a:ext uri="{FF2B5EF4-FFF2-40B4-BE49-F238E27FC236}">
                <a16:creationId xmlns:a16="http://schemas.microsoft.com/office/drawing/2014/main" id="{9EA58999-FA1B-266E-C7DC-259CE6C33A3F}"/>
              </a:ext>
            </a:extLst>
          </p:cNvPr>
          <p:cNvSpPr>
            <a:spLocks noGrp="1"/>
          </p:cNvSpPr>
          <p:nvPr>
            <p:ph type="ftr" sz="quarter" idx="1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2175672213"/>
      </p:ext>
    </p:extLst>
  </p:cSld>
  <p:clrMapOvr>
    <a:masterClrMapping/>
  </p:clrMapOvr>
  <p:transition spd="slow"/>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Line Title and Subtitle – Blank">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2" name="Footer Placeholder 1">
            <a:extLst>
              <a:ext uri="{FF2B5EF4-FFF2-40B4-BE49-F238E27FC236}">
                <a16:creationId xmlns:a16="http://schemas.microsoft.com/office/drawing/2014/main" id="{8B09F866-3E74-1DB3-3C38-A22E89F39657}"/>
              </a:ext>
            </a:extLst>
          </p:cNvPr>
          <p:cNvSpPr>
            <a:spLocks noGrp="1"/>
          </p:cNvSpPr>
          <p:nvPr>
            <p:ph type="ftr" sz="quarter" idx="11"/>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1323945203"/>
      </p:ext>
    </p:extLst>
  </p:cSld>
  <p:clrMapOvr>
    <a:masterClrMapping/>
  </p:clrMapOvr>
  <p:transition spd="slow"/>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and Subtitle – Blank">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1752"/>
          </a:xfrm>
        </p:spPr>
        <p:txBody>
          <a:bodyPr wrap="square"/>
          <a:lstStyle/>
          <a:p>
            <a:r>
              <a:rPr lang="en-US"/>
              <a:t>Click to edit Master title style</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2" name="Footer Placeholder 1">
            <a:extLst>
              <a:ext uri="{FF2B5EF4-FFF2-40B4-BE49-F238E27FC236}">
                <a16:creationId xmlns:a16="http://schemas.microsoft.com/office/drawing/2014/main" id="{BF7DB534-86E0-E366-54C1-DC16315A213B}"/>
              </a:ext>
            </a:extLst>
          </p:cNvPr>
          <p:cNvSpPr>
            <a:spLocks noGrp="1"/>
          </p:cNvSpPr>
          <p:nvPr>
            <p:ph type="ftr" sz="quarter" idx="11"/>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51271825"/>
      </p:ext>
    </p:extLst>
  </p:cSld>
  <p:clrMapOvr>
    <a:masterClrMapping/>
  </p:clrMapOvr>
  <p:transition spd="slow"/>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wo Line Title – 2 Column">
    <p:spTree>
      <p:nvGrpSpPr>
        <p:cNvPr id="1" name=""/>
        <p:cNvGrpSpPr/>
        <p:nvPr/>
      </p:nvGrpSpPr>
      <p:grpSpPr>
        <a:xfrm>
          <a:off x="0" y="0"/>
          <a:ext cx="0" cy="0"/>
          <a:chOff x="0" y="0"/>
          <a:chExt cx="0" cy="0"/>
        </a:xfrm>
      </p:grpSpPr>
      <p:sp>
        <p:nvSpPr>
          <p:cNvPr id="6" name="Text Placeholder 2">
            <a:extLst>
              <a:ext uri="{FF2B5EF4-FFF2-40B4-BE49-F238E27FC236}">
                <a16:creationId xmlns:a16="http://schemas.microsoft.com/office/drawing/2014/main" id="{875037AC-9C8D-F541-9BC3-FD0A3DD9D653}"/>
              </a:ext>
            </a:extLst>
          </p:cNvPr>
          <p:cNvSpPr>
            <a:spLocks noGrp="1"/>
          </p:cNvSpPr>
          <p:nvPr>
            <p:ph type="body" sz="quarter" idx="13"/>
          </p:nvPr>
        </p:nvSpPr>
        <p:spPr>
          <a:xfrm>
            <a:off x="457200" y="2039112"/>
            <a:ext cx="5304971" cy="4133087"/>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7" name="Text Placeholder 2">
            <a:extLst>
              <a:ext uri="{FF2B5EF4-FFF2-40B4-BE49-F238E27FC236}">
                <a16:creationId xmlns:a16="http://schemas.microsoft.com/office/drawing/2014/main" id="{B4669138-D20A-9540-974C-DCD71FFBE931}"/>
              </a:ext>
            </a:extLst>
          </p:cNvPr>
          <p:cNvSpPr>
            <a:spLocks noGrp="1"/>
          </p:cNvSpPr>
          <p:nvPr>
            <p:ph type="body" sz="quarter" idx="14"/>
          </p:nvPr>
        </p:nvSpPr>
        <p:spPr>
          <a:xfrm>
            <a:off x="6419088" y="2039112"/>
            <a:ext cx="5304971" cy="4133087"/>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D2F6362A-80F0-1B0F-723E-10C899380CAD}"/>
              </a:ext>
            </a:extLst>
          </p:cNvPr>
          <p:cNvSpPr>
            <a:spLocks noGrp="1"/>
          </p:cNvSpPr>
          <p:nvPr>
            <p:ph type="ftr" sz="quarter" idx="15"/>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057176401"/>
      </p:ext>
    </p:extLst>
  </p:cSld>
  <p:clrMapOvr>
    <a:masterClrMapping/>
  </p:clrMapOvr>
  <p:transition spd="slow"/>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Two Line Title and Subtitle – 2 Colum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11" name="Text Placeholder 2">
            <a:extLst>
              <a:ext uri="{FF2B5EF4-FFF2-40B4-BE49-F238E27FC236}">
                <a16:creationId xmlns:a16="http://schemas.microsoft.com/office/drawing/2014/main" id="{AAC5A142-20CD-C44A-8226-E4A9B91DF472}"/>
              </a:ext>
            </a:extLst>
          </p:cNvPr>
          <p:cNvSpPr>
            <a:spLocks noGrp="1"/>
          </p:cNvSpPr>
          <p:nvPr>
            <p:ph type="body" sz="quarter" idx="13"/>
          </p:nvPr>
        </p:nvSpPr>
        <p:spPr>
          <a:xfrm>
            <a:off x="457200" y="2039112"/>
            <a:ext cx="5304971" cy="4133087"/>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a:extLst>
              <a:ext uri="{FF2B5EF4-FFF2-40B4-BE49-F238E27FC236}">
                <a16:creationId xmlns:a16="http://schemas.microsoft.com/office/drawing/2014/main" id="{1DC66CB3-8C76-7D4A-AF18-ED678BB4EEEA}"/>
              </a:ext>
            </a:extLst>
          </p:cNvPr>
          <p:cNvSpPr>
            <a:spLocks noGrp="1"/>
          </p:cNvSpPr>
          <p:nvPr>
            <p:ph type="body" sz="quarter" idx="14"/>
          </p:nvPr>
        </p:nvSpPr>
        <p:spPr>
          <a:xfrm>
            <a:off x="6419088" y="2039112"/>
            <a:ext cx="5304971" cy="4133087"/>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EDC7A916-B20A-1D47-671B-51944F98AE80}"/>
              </a:ext>
            </a:extLst>
          </p:cNvPr>
          <p:cNvSpPr>
            <a:spLocks noGrp="1"/>
          </p:cNvSpPr>
          <p:nvPr>
            <p:ph type="ftr" sz="quarter" idx="15"/>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1333853186"/>
      </p:ext>
    </p:extLst>
  </p:cSld>
  <p:clrMapOvr>
    <a:masterClrMapping/>
  </p:clrMapOvr>
  <p:transition spd="slow"/>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Subtitle – 2 Column">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2580"/>
          </a:xfrm>
        </p:spPr>
        <p:txBody>
          <a:bodyPr wrap="square"/>
          <a:lstStyle/>
          <a:p>
            <a:r>
              <a:rPr lang="en-US"/>
              <a:t>Click to edit Master title style</a:t>
            </a:r>
          </a:p>
        </p:txBody>
      </p:sp>
      <p:sp>
        <p:nvSpPr>
          <p:cNvPr id="8" name="Content Placeholder 2"/>
          <p:cNvSpPr>
            <a:spLocks noGrp="1"/>
          </p:cNvSpPr>
          <p:nvPr>
            <p:ph idx="1"/>
          </p:nvPr>
        </p:nvSpPr>
        <p:spPr>
          <a:xfrm>
            <a:off x="457200" y="2039113"/>
            <a:ext cx="5303520" cy="4133087"/>
          </a:xfrm>
        </p:spPr>
        <p:txBody>
          <a:bodyPr wrap="square"/>
          <a:lstStyle>
            <a:lvl1pPr>
              <a:buClr>
                <a:srgbClr val="2A7DE1"/>
              </a:buClr>
              <a:defRPr b="0" i="0">
                <a:solidFill>
                  <a:srgbClr val="3F403F"/>
                </a:solidFill>
              </a:defRPr>
            </a:lvl1pPr>
            <a:lvl2pPr>
              <a:buClr>
                <a:srgbClr val="2A7DE1"/>
              </a:buClr>
              <a:defRPr b="0" i="0">
                <a:solidFill>
                  <a:srgbClr val="3F403F"/>
                </a:solidFill>
              </a:defRPr>
            </a:lvl2pPr>
            <a:lvl3pPr>
              <a:buClr>
                <a:srgbClr val="2A7DE1"/>
              </a:buClr>
              <a:defRPr b="0" i="0">
                <a:solidFill>
                  <a:srgbClr val="3F403F"/>
                </a:solidFill>
              </a:defRPr>
            </a:lvl3pPr>
            <a:lvl4pPr>
              <a:buClr>
                <a:srgbClr val="2A7DE1"/>
              </a:buClr>
              <a:defRPr b="0" i="0">
                <a:solidFill>
                  <a:srgbClr val="3F403F"/>
                </a:solidFill>
              </a:defRPr>
            </a:lvl4pPr>
            <a:lvl5pPr>
              <a:buClr>
                <a:srgbClr val="2A7DE1"/>
              </a:buClr>
              <a:defRPr b="0" i="0">
                <a:solidFill>
                  <a:srgbClr val="3F403F"/>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10" name="Content Placeholder 2">
            <a:extLst>
              <a:ext uri="{FF2B5EF4-FFF2-40B4-BE49-F238E27FC236}">
                <a16:creationId xmlns:a16="http://schemas.microsoft.com/office/drawing/2014/main" id="{FC7E326D-1ECD-5B4F-86E0-8E7AEA91D4C0}"/>
              </a:ext>
            </a:extLst>
          </p:cNvPr>
          <p:cNvSpPr>
            <a:spLocks noGrp="1"/>
          </p:cNvSpPr>
          <p:nvPr>
            <p:ph idx="12"/>
          </p:nvPr>
        </p:nvSpPr>
        <p:spPr>
          <a:xfrm>
            <a:off x="6419088" y="2039112"/>
            <a:ext cx="5303520" cy="4133087"/>
          </a:xfrm>
        </p:spPr>
        <p:txBody>
          <a:bodyPr wrap="square"/>
          <a:lstStyle>
            <a:lvl1pPr>
              <a:buClr>
                <a:srgbClr val="2A7DE1"/>
              </a:buClr>
              <a:defRPr b="0" i="0">
                <a:solidFill>
                  <a:srgbClr val="3F403F"/>
                </a:solidFill>
              </a:defRPr>
            </a:lvl1pPr>
            <a:lvl2pPr>
              <a:buClr>
                <a:srgbClr val="2A7DE1"/>
              </a:buClr>
              <a:defRPr b="0" i="0">
                <a:solidFill>
                  <a:srgbClr val="3F403F"/>
                </a:solidFill>
              </a:defRPr>
            </a:lvl2pPr>
            <a:lvl3pPr>
              <a:buClr>
                <a:srgbClr val="2A7DE1"/>
              </a:buClr>
              <a:defRPr b="0" i="0">
                <a:solidFill>
                  <a:srgbClr val="3F403F"/>
                </a:solidFill>
              </a:defRPr>
            </a:lvl3pPr>
            <a:lvl4pPr>
              <a:buClr>
                <a:srgbClr val="2A7DE1"/>
              </a:buClr>
              <a:defRPr b="0" i="0">
                <a:solidFill>
                  <a:srgbClr val="3F403F"/>
                </a:solidFill>
              </a:defRPr>
            </a:lvl4pPr>
            <a:lvl5pPr>
              <a:buClr>
                <a:srgbClr val="2A7DE1"/>
              </a:buClr>
              <a:defRPr b="0" i="0">
                <a:solidFill>
                  <a:srgbClr val="3F403F"/>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3F8F6E96-0271-19E3-CAE5-1C3EAE40801A}"/>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2980275672"/>
      </p:ext>
    </p:extLst>
  </p:cSld>
  <p:clrMapOvr>
    <a:masterClrMapping/>
  </p:clrMapOvr>
  <p:transition spd="slow"/>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re de section">
    <p:bg>
      <p:bgPr>
        <a:solidFill>
          <a:schemeClr val="accent1"/>
        </a:solidFill>
        <a:effectLst/>
      </p:bgPr>
    </p:bg>
    <p:spTree>
      <p:nvGrpSpPr>
        <p:cNvPr id="1" name=""/>
        <p:cNvGrpSpPr/>
        <p:nvPr/>
      </p:nvGrpSpPr>
      <p:grpSpPr>
        <a:xfrm>
          <a:off x="0" y="0"/>
          <a:ext cx="0" cy="0"/>
          <a:chOff x="0" y="0"/>
          <a:chExt cx="0" cy="0"/>
        </a:xfrm>
      </p:grpSpPr>
      <p:sp>
        <p:nvSpPr>
          <p:cNvPr id="13" name="Freeform: Shape 12">
            <a:extLst>
              <a:ext uri="{FF2B5EF4-FFF2-40B4-BE49-F238E27FC236}">
                <a16:creationId xmlns:a16="http://schemas.microsoft.com/office/drawing/2014/main" id="{61B4E13E-2C0B-4074-88BA-C37DE15C09F9}"/>
              </a:ext>
            </a:extLst>
          </p:cNvPr>
          <p:cNvSpPr/>
          <p:nvPr userDrawn="1"/>
        </p:nvSpPr>
        <p:spPr>
          <a:xfrm>
            <a:off x="0" y="0"/>
            <a:ext cx="12192000" cy="6858000"/>
          </a:xfrm>
          <a:custGeom>
            <a:avLst/>
            <a:gdLst>
              <a:gd name="connsiteX0" fmla="*/ 640633 w 12192000"/>
              <a:gd name="connsiteY0" fmla="*/ 368300 h 6858000"/>
              <a:gd name="connsiteX1" fmla="*/ 371475 w 12192000"/>
              <a:gd name="connsiteY1" fmla="*/ 637458 h 6858000"/>
              <a:gd name="connsiteX2" fmla="*/ 371475 w 12192000"/>
              <a:gd name="connsiteY2" fmla="*/ 6220542 h 6858000"/>
              <a:gd name="connsiteX3" fmla="*/ 640633 w 12192000"/>
              <a:gd name="connsiteY3" fmla="*/ 6489700 h 6858000"/>
              <a:gd name="connsiteX4" fmla="*/ 11551367 w 12192000"/>
              <a:gd name="connsiteY4" fmla="*/ 6489700 h 6858000"/>
              <a:gd name="connsiteX5" fmla="*/ 11820525 w 12192000"/>
              <a:gd name="connsiteY5" fmla="*/ 6220542 h 6858000"/>
              <a:gd name="connsiteX6" fmla="*/ 11820525 w 12192000"/>
              <a:gd name="connsiteY6" fmla="*/ 637458 h 6858000"/>
              <a:gd name="connsiteX7" fmla="*/ 11551367 w 12192000"/>
              <a:gd name="connsiteY7" fmla="*/ 368300 h 6858000"/>
              <a:gd name="connsiteX8" fmla="*/ 0 w 12192000"/>
              <a:gd name="connsiteY8" fmla="*/ 0 h 6858000"/>
              <a:gd name="connsiteX9" fmla="*/ 12192000 w 12192000"/>
              <a:gd name="connsiteY9" fmla="*/ 0 h 6858000"/>
              <a:gd name="connsiteX10" fmla="*/ 12192000 w 12192000"/>
              <a:gd name="connsiteY10" fmla="*/ 6858000 h 6858000"/>
              <a:gd name="connsiteX11" fmla="*/ 0 w 12192000"/>
              <a:gd name="connsiteY1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6858000">
                <a:moveTo>
                  <a:pt x="640633" y="368300"/>
                </a:moveTo>
                <a:cubicBezTo>
                  <a:pt x="491981" y="368300"/>
                  <a:pt x="371475" y="488806"/>
                  <a:pt x="371475" y="637458"/>
                </a:cubicBezTo>
                <a:lnTo>
                  <a:pt x="371475" y="6220542"/>
                </a:lnTo>
                <a:cubicBezTo>
                  <a:pt x="371475" y="6369194"/>
                  <a:pt x="491981" y="6489700"/>
                  <a:pt x="640633" y="6489700"/>
                </a:cubicBezTo>
                <a:lnTo>
                  <a:pt x="11551367" y="6489700"/>
                </a:lnTo>
                <a:cubicBezTo>
                  <a:pt x="11700019" y="6489700"/>
                  <a:pt x="11820525" y="6369194"/>
                  <a:pt x="11820525" y="6220542"/>
                </a:cubicBezTo>
                <a:lnTo>
                  <a:pt x="11820525" y="637458"/>
                </a:lnTo>
                <a:cubicBezTo>
                  <a:pt x="11820525" y="488806"/>
                  <a:pt x="11700019" y="368300"/>
                  <a:pt x="11551367" y="368300"/>
                </a:cubicBezTo>
                <a:close/>
                <a:moveTo>
                  <a:pt x="0" y="0"/>
                </a:moveTo>
                <a:lnTo>
                  <a:pt x="12192000" y="0"/>
                </a:lnTo>
                <a:lnTo>
                  <a:pt x="1219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fr-BE"/>
          </a:p>
        </p:txBody>
      </p:sp>
      <p:sp>
        <p:nvSpPr>
          <p:cNvPr id="2" name="Title 1">
            <a:extLst>
              <a:ext uri="{FF2B5EF4-FFF2-40B4-BE49-F238E27FC236}">
                <a16:creationId xmlns:a16="http://schemas.microsoft.com/office/drawing/2014/main" id="{85BB713A-D90F-4A50-97DD-AF064329B613}"/>
              </a:ext>
            </a:extLst>
          </p:cNvPr>
          <p:cNvSpPr>
            <a:spLocks noGrp="1"/>
          </p:cNvSpPr>
          <p:nvPr>
            <p:ph type="title"/>
          </p:nvPr>
        </p:nvSpPr>
        <p:spPr>
          <a:xfrm>
            <a:off x="831850" y="3055052"/>
            <a:ext cx="10515600" cy="747897"/>
          </a:xfrm>
        </p:spPr>
        <p:txBody>
          <a:bodyPr anchor="ctr">
            <a:spAutoFit/>
          </a:bodyPr>
          <a:lstStyle>
            <a:lvl1pPr marL="806450" indent="-806450" algn="ctr">
              <a:buFont typeface="+mj-lt"/>
              <a:buNone/>
              <a:defRPr sz="5400" b="1">
                <a:solidFill>
                  <a:schemeClr val="bg1"/>
                </a:solidFill>
              </a:defRPr>
            </a:lvl1pPr>
          </a:lstStyle>
          <a:p>
            <a:r>
              <a:rPr lang="en-US"/>
              <a:t>Click to edit Master title style</a:t>
            </a:r>
            <a:endParaRPr lang="fr-BE"/>
          </a:p>
        </p:txBody>
      </p:sp>
    </p:spTree>
    <p:extLst>
      <p:ext uri="{BB962C8B-B14F-4D97-AF65-F5344CB8AC3E}">
        <p14:creationId xmlns:p14="http://schemas.microsoft.com/office/powerpoint/2010/main" val="12072871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wo Line Title – 2 Column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10" name="Content Placeholder 2"/>
          <p:cNvSpPr>
            <a:spLocks noGrp="1"/>
          </p:cNvSpPr>
          <p:nvPr>
            <p:ph idx="1"/>
          </p:nvPr>
        </p:nvSpPr>
        <p:spPr>
          <a:xfrm>
            <a:off x="457200" y="2039112"/>
            <a:ext cx="5303520" cy="4133087"/>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Picture Placeholder 2">
            <a:extLst>
              <a:ext uri="{FF2B5EF4-FFF2-40B4-BE49-F238E27FC236}">
                <a16:creationId xmlns:a16="http://schemas.microsoft.com/office/drawing/2014/main" id="{DAD6ABFA-7E56-F942-8098-C8CD87A031DB}"/>
              </a:ext>
            </a:extLst>
          </p:cNvPr>
          <p:cNvSpPr>
            <a:spLocks noGrp="1"/>
          </p:cNvSpPr>
          <p:nvPr>
            <p:ph type="pic" sz="quarter" idx="12"/>
          </p:nvPr>
        </p:nvSpPr>
        <p:spPr>
          <a:xfrm>
            <a:off x="6096000" y="2039112"/>
            <a:ext cx="5638800" cy="4133087"/>
          </a:xfrm>
          <a:solidFill>
            <a:schemeClr val="bg1">
              <a:lumMod val="75000"/>
            </a:schemeClr>
          </a:solidFill>
        </p:spPr>
        <p:txBody>
          <a:bodyPr/>
          <a:lstStyle>
            <a:lvl1pPr>
              <a:defRPr b="0" i="0"/>
            </a:lvl1pPr>
          </a:lstStyle>
          <a:p>
            <a:r>
              <a:rPr lang="en-US"/>
              <a:t>Click icon to add picture</a:t>
            </a:r>
          </a:p>
        </p:txBody>
      </p:sp>
      <p:sp>
        <p:nvSpPr>
          <p:cNvPr id="2" name="Footer Placeholder 1">
            <a:extLst>
              <a:ext uri="{FF2B5EF4-FFF2-40B4-BE49-F238E27FC236}">
                <a16:creationId xmlns:a16="http://schemas.microsoft.com/office/drawing/2014/main" id="{1E6EF240-A0F2-4CA0-FE17-FDDC58BE7384}"/>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067070163"/>
      </p:ext>
    </p:extLst>
  </p:cSld>
  <p:clrMapOvr>
    <a:masterClrMapping/>
  </p:clrMapOvr>
  <p:transition spd="slow"/>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wo Line Title and Subtitle – 2 Column Imag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11" name="Picture Placeholder 2">
            <a:extLst>
              <a:ext uri="{FF2B5EF4-FFF2-40B4-BE49-F238E27FC236}">
                <a16:creationId xmlns:a16="http://schemas.microsoft.com/office/drawing/2014/main" id="{51817294-44C5-7041-8072-858B5A8B3B53}"/>
              </a:ext>
            </a:extLst>
          </p:cNvPr>
          <p:cNvSpPr>
            <a:spLocks noGrp="1"/>
          </p:cNvSpPr>
          <p:nvPr>
            <p:ph type="pic" sz="quarter" idx="12"/>
          </p:nvPr>
        </p:nvSpPr>
        <p:spPr>
          <a:xfrm>
            <a:off x="6096000" y="2039112"/>
            <a:ext cx="5638800" cy="4133087"/>
          </a:xfrm>
          <a:solidFill>
            <a:schemeClr val="bg1">
              <a:lumMod val="75000"/>
            </a:schemeClr>
          </a:solidFill>
        </p:spPr>
        <p:txBody>
          <a:bodyPr/>
          <a:lstStyle>
            <a:lvl1pPr>
              <a:defRPr b="0" i="0"/>
            </a:lvl1pPr>
          </a:lstStyle>
          <a:p>
            <a:r>
              <a:rPr lang="en-US"/>
              <a:t>Click icon to add picture</a:t>
            </a:r>
          </a:p>
        </p:txBody>
      </p:sp>
      <p:sp>
        <p:nvSpPr>
          <p:cNvPr id="12" name="Content Placeholder 2">
            <a:extLst>
              <a:ext uri="{FF2B5EF4-FFF2-40B4-BE49-F238E27FC236}">
                <a16:creationId xmlns:a16="http://schemas.microsoft.com/office/drawing/2014/main" id="{F8A1CAFC-5255-D046-81F6-4B4EB210969A}"/>
              </a:ext>
            </a:extLst>
          </p:cNvPr>
          <p:cNvSpPr>
            <a:spLocks noGrp="1"/>
          </p:cNvSpPr>
          <p:nvPr>
            <p:ph idx="1"/>
          </p:nvPr>
        </p:nvSpPr>
        <p:spPr>
          <a:xfrm>
            <a:off x="457200" y="2039112"/>
            <a:ext cx="5303520" cy="4133087"/>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91B998C-200D-519F-9722-11273408F37F}"/>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428032502"/>
      </p:ext>
    </p:extLst>
  </p:cSld>
  <p:clrMapOvr>
    <a:masterClrMapping/>
  </p:clrMapOvr>
  <p:transition spd="slow"/>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and Subtitle – 2 Column Image">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2580"/>
          </a:xfrm>
        </p:spPr>
        <p:txBody>
          <a:bodyPr wrap="square"/>
          <a:lstStyle/>
          <a:p>
            <a:r>
              <a:rPr lang="en-US"/>
              <a:t>Click to edit Master title style</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11" name="Picture Placeholder 2">
            <a:extLst>
              <a:ext uri="{FF2B5EF4-FFF2-40B4-BE49-F238E27FC236}">
                <a16:creationId xmlns:a16="http://schemas.microsoft.com/office/drawing/2014/main" id="{0A9AD338-B30B-E541-932A-6DDB05666979}"/>
              </a:ext>
            </a:extLst>
          </p:cNvPr>
          <p:cNvSpPr>
            <a:spLocks noGrp="1"/>
          </p:cNvSpPr>
          <p:nvPr>
            <p:ph type="pic" sz="quarter" idx="12"/>
          </p:nvPr>
        </p:nvSpPr>
        <p:spPr>
          <a:xfrm>
            <a:off x="6096000" y="2039112"/>
            <a:ext cx="5638800" cy="4133087"/>
          </a:xfrm>
          <a:solidFill>
            <a:schemeClr val="bg1">
              <a:lumMod val="75000"/>
            </a:schemeClr>
          </a:solidFill>
        </p:spPr>
        <p:txBody>
          <a:bodyPr/>
          <a:lstStyle>
            <a:lvl1pPr>
              <a:defRPr b="0" i="0"/>
            </a:lvl1pPr>
          </a:lstStyle>
          <a:p>
            <a:r>
              <a:rPr lang="en-US"/>
              <a:t>Click icon to add picture</a:t>
            </a:r>
          </a:p>
        </p:txBody>
      </p:sp>
      <p:sp>
        <p:nvSpPr>
          <p:cNvPr id="12" name="Content Placeholder 2">
            <a:extLst>
              <a:ext uri="{FF2B5EF4-FFF2-40B4-BE49-F238E27FC236}">
                <a16:creationId xmlns:a16="http://schemas.microsoft.com/office/drawing/2014/main" id="{94C6F389-052C-7A40-B491-0B0018B74244}"/>
              </a:ext>
            </a:extLst>
          </p:cNvPr>
          <p:cNvSpPr>
            <a:spLocks noGrp="1"/>
          </p:cNvSpPr>
          <p:nvPr>
            <p:ph idx="1"/>
          </p:nvPr>
        </p:nvSpPr>
        <p:spPr>
          <a:xfrm>
            <a:off x="457200" y="2039112"/>
            <a:ext cx="5303520" cy="4133087"/>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65595B0C-D07E-D372-47B9-D3148C5D40C2}"/>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124971453"/>
      </p:ext>
    </p:extLst>
  </p:cSld>
  <p:clrMapOvr>
    <a:masterClrMapping/>
  </p:clrMapOvr>
  <p:transition spd="slow"/>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wo Line Title – 2 Column Tab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4" name="Table Placeholder 3">
            <a:extLst>
              <a:ext uri="{FF2B5EF4-FFF2-40B4-BE49-F238E27FC236}">
                <a16:creationId xmlns:a16="http://schemas.microsoft.com/office/drawing/2014/main" id="{76F08FBB-62F1-B342-A589-BC0F6F72ED82}"/>
              </a:ext>
            </a:extLst>
          </p:cNvPr>
          <p:cNvSpPr>
            <a:spLocks noGrp="1"/>
          </p:cNvSpPr>
          <p:nvPr>
            <p:ph type="tbl" sz="quarter" idx="12"/>
          </p:nvPr>
        </p:nvSpPr>
        <p:spPr>
          <a:xfrm>
            <a:off x="6096000" y="2039112"/>
            <a:ext cx="5638800" cy="4133087"/>
          </a:xfrm>
        </p:spPr>
        <p:txBody>
          <a:bodyPr/>
          <a:lstStyle>
            <a:lvl1pPr>
              <a:defRPr b="0" i="0"/>
            </a:lvl1pPr>
          </a:lstStyle>
          <a:p>
            <a:r>
              <a:rPr lang="en-US"/>
              <a:t>Click icon to add table</a:t>
            </a:r>
          </a:p>
        </p:txBody>
      </p:sp>
      <p:sp>
        <p:nvSpPr>
          <p:cNvPr id="8" name="Content Placeholder 2">
            <a:extLst>
              <a:ext uri="{FF2B5EF4-FFF2-40B4-BE49-F238E27FC236}">
                <a16:creationId xmlns:a16="http://schemas.microsoft.com/office/drawing/2014/main" id="{41998592-36CB-0643-B46C-2612B5B3DE45}"/>
              </a:ext>
            </a:extLst>
          </p:cNvPr>
          <p:cNvSpPr>
            <a:spLocks noGrp="1"/>
          </p:cNvSpPr>
          <p:nvPr>
            <p:ph idx="1"/>
          </p:nvPr>
        </p:nvSpPr>
        <p:spPr>
          <a:xfrm>
            <a:off x="457200" y="2039112"/>
            <a:ext cx="5303520" cy="4133087"/>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3D235BB3-6EE1-61B6-2593-86F15865F553}"/>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4046189412"/>
      </p:ext>
    </p:extLst>
  </p:cSld>
  <p:clrMapOvr>
    <a:masterClrMapping/>
  </p:clrMapOvr>
  <p:transition spd="slow"/>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Line Title and Subtitle – 2 Column Table ">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10" name="Table Placeholder 3">
            <a:extLst>
              <a:ext uri="{FF2B5EF4-FFF2-40B4-BE49-F238E27FC236}">
                <a16:creationId xmlns:a16="http://schemas.microsoft.com/office/drawing/2014/main" id="{AD271ABD-5095-7142-B1DF-1264D7A861F3}"/>
              </a:ext>
            </a:extLst>
          </p:cNvPr>
          <p:cNvSpPr>
            <a:spLocks noGrp="1"/>
          </p:cNvSpPr>
          <p:nvPr>
            <p:ph type="tbl" sz="quarter" idx="12"/>
          </p:nvPr>
        </p:nvSpPr>
        <p:spPr>
          <a:xfrm>
            <a:off x="6096000" y="2039112"/>
            <a:ext cx="5638800" cy="4133087"/>
          </a:xfrm>
        </p:spPr>
        <p:txBody>
          <a:bodyPr/>
          <a:lstStyle>
            <a:lvl1pPr>
              <a:defRPr b="0" i="0"/>
            </a:lvl1pPr>
          </a:lstStyle>
          <a:p>
            <a:r>
              <a:rPr lang="en-US"/>
              <a:t>Click icon to add table</a:t>
            </a:r>
          </a:p>
        </p:txBody>
      </p:sp>
      <p:sp>
        <p:nvSpPr>
          <p:cNvPr id="12" name="Content Placeholder 2">
            <a:extLst>
              <a:ext uri="{FF2B5EF4-FFF2-40B4-BE49-F238E27FC236}">
                <a16:creationId xmlns:a16="http://schemas.microsoft.com/office/drawing/2014/main" id="{306F4734-83E4-EC41-9506-AC4B31C03CB8}"/>
              </a:ext>
            </a:extLst>
          </p:cNvPr>
          <p:cNvSpPr>
            <a:spLocks noGrp="1"/>
          </p:cNvSpPr>
          <p:nvPr>
            <p:ph idx="1"/>
          </p:nvPr>
        </p:nvSpPr>
        <p:spPr>
          <a:xfrm>
            <a:off x="457200" y="2039112"/>
            <a:ext cx="5303520" cy="4133087"/>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ABF70E08-E04E-C3BB-EDFE-1B8BF1DD4112}"/>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1011514940"/>
      </p:ext>
    </p:extLst>
  </p:cSld>
  <p:clrMapOvr>
    <a:masterClrMapping/>
  </p:clrMapOvr>
  <p:transition spd="slow"/>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and Subtitle – 2 Column Table">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2580"/>
          </a:xfrm>
        </p:spPr>
        <p:txBody>
          <a:bodyPr wrap="square"/>
          <a:lstStyle/>
          <a:p>
            <a:r>
              <a:rPr lang="en-US"/>
              <a:t>Click to edit Master title style</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10" name="Table Placeholder 3">
            <a:extLst>
              <a:ext uri="{FF2B5EF4-FFF2-40B4-BE49-F238E27FC236}">
                <a16:creationId xmlns:a16="http://schemas.microsoft.com/office/drawing/2014/main" id="{69439F71-2F66-BB4A-A5E8-EC9480715DED}"/>
              </a:ext>
            </a:extLst>
          </p:cNvPr>
          <p:cNvSpPr>
            <a:spLocks noGrp="1"/>
          </p:cNvSpPr>
          <p:nvPr>
            <p:ph type="tbl" sz="quarter" idx="12"/>
          </p:nvPr>
        </p:nvSpPr>
        <p:spPr>
          <a:xfrm>
            <a:off x="6096000" y="2039112"/>
            <a:ext cx="5638800" cy="4133087"/>
          </a:xfrm>
        </p:spPr>
        <p:txBody>
          <a:bodyPr/>
          <a:lstStyle>
            <a:lvl1pPr>
              <a:defRPr b="0" i="0"/>
            </a:lvl1pPr>
          </a:lstStyle>
          <a:p>
            <a:r>
              <a:rPr lang="en-US"/>
              <a:t>Click icon to add table</a:t>
            </a:r>
          </a:p>
        </p:txBody>
      </p:sp>
      <p:sp>
        <p:nvSpPr>
          <p:cNvPr id="12" name="Content Placeholder 2">
            <a:extLst>
              <a:ext uri="{FF2B5EF4-FFF2-40B4-BE49-F238E27FC236}">
                <a16:creationId xmlns:a16="http://schemas.microsoft.com/office/drawing/2014/main" id="{9078AB5E-5CB2-7841-AF9D-954E8666C3AA}"/>
              </a:ext>
            </a:extLst>
          </p:cNvPr>
          <p:cNvSpPr>
            <a:spLocks noGrp="1"/>
          </p:cNvSpPr>
          <p:nvPr>
            <p:ph idx="1"/>
          </p:nvPr>
        </p:nvSpPr>
        <p:spPr>
          <a:xfrm>
            <a:off x="457200" y="2039112"/>
            <a:ext cx="5303520" cy="4133087"/>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9A1881B0-558B-9F6E-CDD7-E34A35B85E80}"/>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762691806"/>
      </p:ext>
    </p:extLst>
  </p:cSld>
  <p:clrMapOvr>
    <a:masterClrMapping/>
  </p:clrMapOvr>
  <p:transition spd="slow"/>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wo Line Title – 2 Column Char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3" name="Chart Placeholder 2">
            <a:extLst>
              <a:ext uri="{FF2B5EF4-FFF2-40B4-BE49-F238E27FC236}">
                <a16:creationId xmlns:a16="http://schemas.microsoft.com/office/drawing/2014/main" id="{BE59FE0A-1E94-8B4E-9D13-23FDD5E98ADD}"/>
              </a:ext>
            </a:extLst>
          </p:cNvPr>
          <p:cNvSpPr>
            <a:spLocks noGrp="1"/>
          </p:cNvSpPr>
          <p:nvPr>
            <p:ph type="chart" sz="quarter" idx="12"/>
          </p:nvPr>
        </p:nvSpPr>
        <p:spPr>
          <a:xfrm>
            <a:off x="6096000" y="2039112"/>
            <a:ext cx="5638800" cy="4133087"/>
          </a:xfrm>
        </p:spPr>
        <p:txBody>
          <a:bodyPr/>
          <a:lstStyle>
            <a:lvl1pPr>
              <a:defRPr b="0" i="0"/>
            </a:lvl1pPr>
          </a:lstStyle>
          <a:p>
            <a:r>
              <a:rPr lang="en-US"/>
              <a:t>Click icon to add chart</a:t>
            </a:r>
          </a:p>
        </p:txBody>
      </p:sp>
      <p:sp>
        <p:nvSpPr>
          <p:cNvPr id="8" name="Content Placeholder 2">
            <a:extLst>
              <a:ext uri="{FF2B5EF4-FFF2-40B4-BE49-F238E27FC236}">
                <a16:creationId xmlns:a16="http://schemas.microsoft.com/office/drawing/2014/main" id="{A13EEA6B-1858-8F41-A057-5EB705A4AF4F}"/>
              </a:ext>
            </a:extLst>
          </p:cNvPr>
          <p:cNvSpPr>
            <a:spLocks noGrp="1"/>
          </p:cNvSpPr>
          <p:nvPr>
            <p:ph idx="1"/>
          </p:nvPr>
        </p:nvSpPr>
        <p:spPr>
          <a:xfrm>
            <a:off x="457200" y="2039112"/>
            <a:ext cx="5303520" cy="4133087"/>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E1FB7ED1-CBFE-FFCC-B9A2-D62DCFD5A082}"/>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136601848"/>
      </p:ext>
    </p:extLst>
  </p:cSld>
  <p:clrMapOvr>
    <a:masterClrMapping/>
  </p:clrMapOvr>
  <p:transition spd="slow"/>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Two Line Title and Subtitle – 2 Column Chart">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11" name="Chart Placeholder 2">
            <a:extLst>
              <a:ext uri="{FF2B5EF4-FFF2-40B4-BE49-F238E27FC236}">
                <a16:creationId xmlns:a16="http://schemas.microsoft.com/office/drawing/2014/main" id="{B85B8377-7FEE-E14C-8364-6A180BB976BB}"/>
              </a:ext>
            </a:extLst>
          </p:cNvPr>
          <p:cNvSpPr>
            <a:spLocks noGrp="1"/>
          </p:cNvSpPr>
          <p:nvPr>
            <p:ph type="chart" sz="quarter" idx="12"/>
          </p:nvPr>
        </p:nvSpPr>
        <p:spPr>
          <a:xfrm>
            <a:off x="6096000" y="2039112"/>
            <a:ext cx="5638800" cy="4133087"/>
          </a:xfrm>
        </p:spPr>
        <p:txBody>
          <a:bodyPr/>
          <a:lstStyle>
            <a:lvl1pPr>
              <a:defRPr b="0" i="0"/>
            </a:lvl1pPr>
          </a:lstStyle>
          <a:p>
            <a:r>
              <a:rPr lang="en-US"/>
              <a:t>Click icon to add chart</a:t>
            </a:r>
          </a:p>
        </p:txBody>
      </p:sp>
      <p:sp>
        <p:nvSpPr>
          <p:cNvPr id="12" name="Content Placeholder 2">
            <a:extLst>
              <a:ext uri="{FF2B5EF4-FFF2-40B4-BE49-F238E27FC236}">
                <a16:creationId xmlns:a16="http://schemas.microsoft.com/office/drawing/2014/main" id="{A2849EF9-1BFC-9040-A810-17A9F4725468}"/>
              </a:ext>
            </a:extLst>
          </p:cNvPr>
          <p:cNvSpPr>
            <a:spLocks noGrp="1"/>
          </p:cNvSpPr>
          <p:nvPr>
            <p:ph idx="1"/>
          </p:nvPr>
        </p:nvSpPr>
        <p:spPr>
          <a:xfrm>
            <a:off x="457200" y="2039112"/>
            <a:ext cx="5303520" cy="4133087"/>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7A414328-CF40-2C20-95BA-0C0BD1866C25}"/>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2069534136"/>
      </p:ext>
    </p:extLst>
  </p:cSld>
  <p:clrMapOvr>
    <a:masterClrMapping/>
  </p:clrMapOvr>
  <p:transition spd="slow"/>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itle and Subtitle – 2 Column Chart">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2580"/>
          </a:xfrm>
        </p:spPr>
        <p:txBody>
          <a:bodyPr wrap="square"/>
          <a:lstStyle/>
          <a:p>
            <a:r>
              <a:rPr lang="en-US"/>
              <a:t>Click to edit Master title style</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11" name="Chart Placeholder 2">
            <a:extLst>
              <a:ext uri="{FF2B5EF4-FFF2-40B4-BE49-F238E27FC236}">
                <a16:creationId xmlns:a16="http://schemas.microsoft.com/office/drawing/2014/main" id="{80BE709D-6054-7C45-8360-70EE7A510FD9}"/>
              </a:ext>
            </a:extLst>
          </p:cNvPr>
          <p:cNvSpPr>
            <a:spLocks noGrp="1"/>
          </p:cNvSpPr>
          <p:nvPr>
            <p:ph type="chart" sz="quarter" idx="12"/>
          </p:nvPr>
        </p:nvSpPr>
        <p:spPr>
          <a:xfrm>
            <a:off x="6096000" y="2039112"/>
            <a:ext cx="5638800" cy="4133087"/>
          </a:xfrm>
        </p:spPr>
        <p:txBody>
          <a:bodyPr/>
          <a:lstStyle>
            <a:lvl1pPr>
              <a:defRPr b="0" i="0"/>
            </a:lvl1pPr>
          </a:lstStyle>
          <a:p>
            <a:r>
              <a:rPr lang="en-US"/>
              <a:t>Click icon to add chart</a:t>
            </a:r>
          </a:p>
        </p:txBody>
      </p:sp>
      <p:sp>
        <p:nvSpPr>
          <p:cNvPr id="12" name="Content Placeholder 2">
            <a:extLst>
              <a:ext uri="{FF2B5EF4-FFF2-40B4-BE49-F238E27FC236}">
                <a16:creationId xmlns:a16="http://schemas.microsoft.com/office/drawing/2014/main" id="{0A2D45D0-3C2F-7F42-B0D3-57393B62B258}"/>
              </a:ext>
            </a:extLst>
          </p:cNvPr>
          <p:cNvSpPr>
            <a:spLocks noGrp="1"/>
          </p:cNvSpPr>
          <p:nvPr>
            <p:ph idx="1"/>
          </p:nvPr>
        </p:nvSpPr>
        <p:spPr>
          <a:xfrm>
            <a:off x="457200" y="2039112"/>
            <a:ext cx="5303520" cy="4133087"/>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6B3F2F12-6595-FEB7-D6A9-F296A4CEF7B4}"/>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335537055"/>
      </p:ext>
    </p:extLst>
  </p:cSld>
  <p:clrMapOvr>
    <a:masterClrMapping/>
  </p:clrMapOvr>
  <p:transition spd="slow"/>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Two Line Title – 3 Column">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7" name="Content Placeholder 2">
            <a:extLst>
              <a:ext uri="{FF2B5EF4-FFF2-40B4-BE49-F238E27FC236}">
                <a16:creationId xmlns:a16="http://schemas.microsoft.com/office/drawing/2014/main" id="{CD5A9700-78FB-FC46-8ADE-0CE8182ADCD5}"/>
              </a:ext>
            </a:extLst>
          </p:cNvPr>
          <p:cNvSpPr>
            <a:spLocks noGrp="1"/>
          </p:cNvSpPr>
          <p:nvPr>
            <p:ph idx="17"/>
          </p:nvPr>
        </p:nvSpPr>
        <p:spPr>
          <a:xfrm>
            <a:off x="457200" y="2039112"/>
            <a:ext cx="3566160" cy="4144963"/>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E8F3D953-3277-1D4D-98B0-E50039E6FDEF}"/>
              </a:ext>
            </a:extLst>
          </p:cNvPr>
          <p:cNvSpPr>
            <a:spLocks noGrp="1"/>
          </p:cNvSpPr>
          <p:nvPr>
            <p:ph idx="18"/>
          </p:nvPr>
        </p:nvSpPr>
        <p:spPr>
          <a:xfrm>
            <a:off x="4306824" y="2039112"/>
            <a:ext cx="3566160" cy="4144963"/>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a:extLst>
              <a:ext uri="{FF2B5EF4-FFF2-40B4-BE49-F238E27FC236}">
                <a16:creationId xmlns:a16="http://schemas.microsoft.com/office/drawing/2014/main" id="{378DC44A-9060-2240-8E73-244381782E6D}"/>
              </a:ext>
            </a:extLst>
          </p:cNvPr>
          <p:cNvSpPr>
            <a:spLocks noGrp="1"/>
          </p:cNvSpPr>
          <p:nvPr>
            <p:ph idx="19"/>
          </p:nvPr>
        </p:nvSpPr>
        <p:spPr>
          <a:xfrm>
            <a:off x="8153400" y="2039112"/>
            <a:ext cx="3566160" cy="4144963"/>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BC1D93DB-E7D8-0717-8EFE-1B50CD22DB90}"/>
              </a:ext>
            </a:extLst>
          </p:cNvPr>
          <p:cNvSpPr>
            <a:spLocks noGrp="1"/>
          </p:cNvSpPr>
          <p:nvPr>
            <p:ph type="ftr" sz="quarter" idx="2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243581466"/>
      </p:ext>
    </p:extLst>
  </p:cSld>
  <p:clrMapOvr>
    <a:masterClrMapping/>
  </p:clrMapOvr>
  <p:transition spd="slow"/>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 2 Chapters 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0BE56-AFAF-4CD1-8444-B79DDCE8BC73}"/>
              </a:ext>
            </a:extLst>
          </p:cNvPr>
          <p:cNvSpPr>
            <a:spLocks noGrp="1"/>
          </p:cNvSpPr>
          <p:nvPr>
            <p:ph type="title"/>
          </p:nvPr>
        </p:nvSpPr>
        <p:spPr/>
        <p:txBody>
          <a:bodyPr anchor="b"/>
          <a:lstStyle/>
          <a:p>
            <a:r>
              <a:rPr lang="en-US"/>
              <a:t>Click to edit Master title style</a:t>
            </a:r>
            <a:endParaRPr lang="fr-BE"/>
          </a:p>
        </p:txBody>
      </p:sp>
      <p:sp>
        <p:nvSpPr>
          <p:cNvPr id="5" name="Footer Placeholder 4">
            <a:extLst>
              <a:ext uri="{FF2B5EF4-FFF2-40B4-BE49-F238E27FC236}">
                <a16:creationId xmlns:a16="http://schemas.microsoft.com/office/drawing/2014/main" id="{7D5DA016-2634-427D-87D9-40B8ADD1E4DA}"/>
              </a:ext>
            </a:extLst>
          </p:cNvPr>
          <p:cNvSpPr>
            <a:spLocks noGrp="1"/>
          </p:cNvSpPr>
          <p:nvPr>
            <p:ph type="ftr" sz="quarter" idx="11"/>
          </p:nvPr>
        </p:nvSpPr>
        <p:spPr>
          <a:xfrm>
            <a:off x="839416" y="6349531"/>
            <a:ext cx="3401588" cy="153888"/>
          </a:xfrm>
        </p:spPr>
        <p:txBody>
          <a:bodyPr/>
          <a:lstStyle/>
          <a:p>
            <a:r>
              <a:rPr lang="fr-BE"/>
              <a:t>Title of the presentation</a:t>
            </a:r>
          </a:p>
        </p:txBody>
      </p:sp>
      <p:sp>
        <p:nvSpPr>
          <p:cNvPr id="6" name="Slide Number Placeholder 5">
            <a:extLst>
              <a:ext uri="{FF2B5EF4-FFF2-40B4-BE49-F238E27FC236}">
                <a16:creationId xmlns:a16="http://schemas.microsoft.com/office/drawing/2014/main" id="{5ABCE68F-B38C-4691-92D9-EBF2E4A29960}"/>
              </a:ext>
            </a:extLst>
          </p:cNvPr>
          <p:cNvSpPr>
            <a:spLocks noGrp="1"/>
          </p:cNvSpPr>
          <p:nvPr>
            <p:ph type="sldNum" sz="quarter" idx="12"/>
          </p:nvPr>
        </p:nvSpPr>
        <p:spPr/>
        <p:txBody>
          <a:bodyPr/>
          <a:lstStyle/>
          <a:p>
            <a:fld id="{820150FD-603F-44AF-ADBB-D2D9D0B3C68D}" type="slidenum">
              <a:rPr lang="fr-BE" smtClean="0"/>
              <a:t>‹#›</a:t>
            </a:fld>
            <a:endParaRPr lang="fr-BE"/>
          </a:p>
        </p:txBody>
      </p:sp>
      <p:sp>
        <p:nvSpPr>
          <p:cNvPr id="9" name="Text Placeholder 8">
            <a:extLst>
              <a:ext uri="{FF2B5EF4-FFF2-40B4-BE49-F238E27FC236}">
                <a16:creationId xmlns:a16="http://schemas.microsoft.com/office/drawing/2014/main" id="{96DF4BB3-4BBE-459F-9A3D-6902F3A2F80C}"/>
              </a:ext>
            </a:extLst>
          </p:cNvPr>
          <p:cNvSpPr>
            <a:spLocks noGrp="1"/>
          </p:cNvSpPr>
          <p:nvPr>
            <p:ph type="body" sz="quarter" idx="13"/>
          </p:nvPr>
        </p:nvSpPr>
        <p:spPr>
          <a:xfrm>
            <a:off x="371475" y="945479"/>
            <a:ext cx="11449050" cy="360099"/>
          </a:xfrm>
        </p:spPr>
        <p:txBody>
          <a:bodyPr rIns="0">
            <a:spAutoFit/>
          </a:bodyPr>
          <a:lstStyle>
            <a:lvl1pPr marL="0" indent="0">
              <a:buNone/>
              <a:defRPr sz="2600" b="0">
                <a:solidFill>
                  <a:schemeClr val="accent1"/>
                </a:solidFill>
              </a:defRPr>
            </a:lvl1pPr>
          </a:lstStyle>
          <a:p>
            <a:pPr lvl="0"/>
            <a:r>
              <a:rPr lang="en-US"/>
              <a:t>Click to edit Master text styles</a:t>
            </a:r>
          </a:p>
        </p:txBody>
      </p:sp>
      <p:sp>
        <p:nvSpPr>
          <p:cNvPr id="20" name="Text Placeholder 8">
            <a:extLst>
              <a:ext uri="{FF2B5EF4-FFF2-40B4-BE49-F238E27FC236}">
                <a16:creationId xmlns:a16="http://schemas.microsoft.com/office/drawing/2014/main" id="{61BD2841-28A9-483D-B724-6F7200EA54E1}"/>
              </a:ext>
            </a:extLst>
          </p:cNvPr>
          <p:cNvSpPr>
            <a:spLocks noGrp="1"/>
          </p:cNvSpPr>
          <p:nvPr>
            <p:ph type="body" sz="quarter" idx="19"/>
          </p:nvPr>
        </p:nvSpPr>
        <p:spPr>
          <a:xfrm>
            <a:off x="1330772" y="3492001"/>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1" name="Text Placeholder 8">
            <a:extLst>
              <a:ext uri="{FF2B5EF4-FFF2-40B4-BE49-F238E27FC236}">
                <a16:creationId xmlns:a16="http://schemas.microsoft.com/office/drawing/2014/main" id="{6E3F7BD7-968B-4062-B124-EEF487AD0EBB}"/>
              </a:ext>
            </a:extLst>
          </p:cNvPr>
          <p:cNvSpPr>
            <a:spLocks noGrp="1"/>
          </p:cNvSpPr>
          <p:nvPr>
            <p:ph type="body" sz="quarter" idx="20" hasCustomPrompt="1"/>
          </p:nvPr>
        </p:nvSpPr>
        <p:spPr>
          <a:xfrm>
            <a:off x="374822" y="3140968"/>
            <a:ext cx="740587" cy="720197"/>
          </a:xfrm>
        </p:spPr>
        <p:txBody>
          <a:bodyPr wrap="none" rIns="0" anchor="b">
            <a:spAutoFit/>
          </a:bodyPr>
          <a:lstStyle>
            <a:lvl1pPr marL="0" indent="0" algn="l">
              <a:buNone/>
              <a:defRPr sz="5200" b="1">
                <a:solidFill>
                  <a:schemeClr val="accent1"/>
                </a:solidFill>
              </a:defRPr>
            </a:lvl1pPr>
          </a:lstStyle>
          <a:p>
            <a:pPr lvl="0"/>
            <a:r>
              <a:rPr lang="en-US"/>
              <a:t>##</a:t>
            </a:r>
          </a:p>
        </p:txBody>
      </p:sp>
      <p:sp>
        <p:nvSpPr>
          <p:cNvPr id="22" name="Text Placeholder 8">
            <a:extLst>
              <a:ext uri="{FF2B5EF4-FFF2-40B4-BE49-F238E27FC236}">
                <a16:creationId xmlns:a16="http://schemas.microsoft.com/office/drawing/2014/main" id="{58AB3217-10D3-4A10-AD87-F5A9F855A98A}"/>
              </a:ext>
            </a:extLst>
          </p:cNvPr>
          <p:cNvSpPr>
            <a:spLocks noGrp="1"/>
          </p:cNvSpPr>
          <p:nvPr>
            <p:ph type="body" sz="quarter" idx="21"/>
          </p:nvPr>
        </p:nvSpPr>
        <p:spPr>
          <a:xfrm>
            <a:off x="7054839" y="3492001"/>
            <a:ext cx="4081721"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3" name="Text Placeholder 8">
            <a:extLst>
              <a:ext uri="{FF2B5EF4-FFF2-40B4-BE49-F238E27FC236}">
                <a16:creationId xmlns:a16="http://schemas.microsoft.com/office/drawing/2014/main" id="{0707CE93-A1C3-4F77-9C09-A5E0C1CC84AB}"/>
              </a:ext>
            </a:extLst>
          </p:cNvPr>
          <p:cNvSpPr>
            <a:spLocks noGrp="1"/>
          </p:cNvSpPr>
          <p:nvPr>
            <p:ph type="body" sz="quarter" idx="22" hasCustomPrompt="1"/>
          </p:nvPr>
        </p:nvSpPr>
        <p:spPr>
          <a:xfrm>
            <a:off x="6098889" y="3140968"/>
            <a:ext cx="740587" cy="720197"/>
          </a:xfrm>
        </p:spPr>
        <p:txBody>
          <a:bodyPr wrap="none" rIns="0" anchor="b">
            <a:spAutoFit/>
          </a:bodyPr>
          <a:lstStyle>
            <a:lvl1pPr marL="0" indent="0" algn="l">
              <a:buNone/>
              <a:defRPr sz="5200" b="1">
                <a:solidFill>
                  <a:schemeClr val="accent4"/>
                </a:solidFill>
              </a:defRPr>
            </a:lvl1pPr>
          </a:lstStyle>
          <a:p>
            <a:pPr lvl="0"/>
            <a:r>
              <a:rPr lang="en-US"/>
              <a:t>##</a:t>
            </a:r>
            <a:endParaRPr lang="fr-BE"/>
          </a:p>
        </p:txBody>
      </p:sp>
      <p:sp>
        <p:nvSpPr>
          <p:cNvPr id="28" name="Text Placeholder 8">
            <a:extLst>
              <a:ext uri="{FF2B5EF4-FFF2-40B4-BE49-F238E27FC236}">
                <a16:creationId xmlns:a16="http://schemas.microsoft.com/office/drawing/2014/main" id="{0A39934C-B52C-4EFF-90AD-F58A818C8CF7}"/>
              </a:ext>
            </a:extLst>
          </p:cNvPr>
          <p:cNvSpPr>
            <a:spLocks noGrp="1"/>
          </p:cNvSpPr>
          <p:nvPr>
            <p:ph type="body" sz="quarter" idx="27" hasCustomPrompt="1"/>
          </p:nvPr>
        </p:nvSpPr>
        <p:spPr>
          <a:xfrm>
            <a:off x="4439816" y="6349531"/>
            <a:ext cx="6120678" cy="153888"/>
          </a:xfrm>
        </p:spPr>
        <p:txBody>
          <a:bodyPr wrap="square" rIns="0" anchor="b">
            <a:spAutoFit/>
          </a:bodyPr>
          <a:lstStyle>
            <a:lvl1pPr marL="0" indent="0" algn="r">
              <a:lnSpc>
                <a:spcPct val="100000"/>
              </a:lnSpc>
              <a:spcBef>
                <a:spcPts val="600"/>
              </a:spcBef>
              <a:buNone/>
              <a:defRPr sz="1000" b="0">
                <a:solidFill>
                  <a:schemeClr val="accent5"/>
                </a:solidFill>
              </a:defRPr>
            </a:lvl1pPr>
          </a:lstStyle>
          <a:p>
            <a:pPr lvl="0"/>
            <a:r>
              <a:rPr lang="en-US"/>
              <a:t>Click to edit Master text styles</a:t>
            </a:r>
            <a:endParaRPr lang="fr-BE"/>
          </a:p>
        </p:txBody>
      </p:sp>
    </p:spTree>
    <p:extLst>
      <p:ext uri="{BB962C8B-B14F-4D97-AF65-F5344CB8AC3E}">
        <p14:creationId xmlns:p14="http://schemas.microsoft.com/office/powerpoint/2010/main" val="20158204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Two Line Title and Subtitle – 3 Column">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12" name="Content Placeholder 2">
            <a:extLst>
              <a:ext uri="{FF2B5EF4-FFF2-40B4-BE49-F238E27FC236}">
                <a16:creationId xmlns:a16="http://schemas.microsoft.com/office/drawing/2014/main" id="{6486AD56-EE40-5844-83C4-379B67D731D1}"/>
              </a:ext>
            </a:extLst>
          </p:cNvPr>
          <p:cNvSpPr>
            <a:spLocks noGrp="1"/>
          </p:cNvSpPr>
          <p:nvPr>
            <p:ph idx="17"/>
          </p:nvPr>
        </p:nvSpPr>
        <p:spPr>
          <a:xfrm>
            <a:off x="457200" y="2039112"/>
            <a:ext cx="3566160" cy="4144963"/>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40AB2ED6-FB63-204F-AFE2-7630DD4A969E}"/>
              </a:ext>
            </a:extLst>
          </p:cNvPr>
          <p:cNvSpPr>
            <a:spLocks noGrp="1"/>
          </p:cNvSpPr>
          <p:nvPr>
            <p:ph idx="18"/>
          </p:nvPr>
        </p:nvSpPr>
        <p:spPr>
          <a:xfrm>
            <a:off x="4306824" y="2039112"/>
            <a:ext cx="3566160" cy="4144963"/>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A8745A70-4F68-5543-9B0E-58A3DEF51D96}"/>
              </a:ext>
            </a:extLst>
          </p:cNvPr>
          <p:cNvSpPr>
            <a:spLocks noGrp="1"/>
          </p:cNvSpPr>
          <p:nvPr>
            <p:ph idx="19"/>
          </p:nvPr>
        </p:nvSpPr>
        <p:spPr>
          <a:xfrm>
            <a:off x="8153400" y="2039112"/>
            <a:ext cx="3566160" cy="4144963"/>
          </a:xfrm>
        </p:spPr>
        <p:txBody>
          <a:bodyPr wrap="square"/>
          <a:lstStyle>
            <a:lvl1pPr>
              <a:buClr>
                <a:srgbClr val="2A7DE1"/>
              </a:buClr>
              <a:defRPr b="0" i="0">
                <a:solidFill>
                  <a:srgbClr val="3F403F"/>
                </a:solidFill>
              </a:defRPr>
            </a:lvl1pPr>
            <a:lvl2pPr>
              <a:buClr>
                <a:srgbClr val="2A7DE1"/>
              </a:buClr>
              <a:defRPr b="0" i="0">
                <a:solidFill>
                  <a:srgbClr val="3F403F"/>
                </a:solidFill>
              </a:defRPr>
            </a:lvl2pPr>
            <a:lvl3pPr>
              <a:buClr>
                <a:srgbClr val="2A7DE1"/>
              </a:buClr>
              <a:defRPr b="0" i="0">
                <a:solidFill>
                  <a:srgbClr val="3F403F"/>
                </a:solidFill>
              </a:defRPr>
            </a:lvl3pPr>
            <a:lvl4pPr>
              <a:buClr>
                <a:srgbClr val="2A7DE1"/>
              </a:buClr>
              <a:defRPr b="0" i="0">
                <a:solidFill>
                  <a:srgbClr val="3F403F"/>
                </a:solidFill>
              </a:defRPr>
            </a:lvl4pPr>
            <a:lvl5pPr>
              <a:buClr>
                <a:srgbClr val="2A7DE1"/>
              </a:buClr>
              <a:defRPr b="0" i="0">
                <a:solidFill>
                  <a:srgbClr val="3F403F"/>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05086883-FEB1-7C14-D392-66F8E1012116}"/>
              </a:ext>
            </a:extLst>
          </p:cNvPr>
          <p:cNvSpPr>
            <a:spLocks noGrp="1"/>
          </p:cNvSpPr>
          <p:nvPr>
            <p:ph type="ftr" sz="quarter" idx="2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401037382"/>
      </p:ext>
    </p:extLst>
  </p:cSld>
  <p:clrMapOvr>
    <a:masterClrMapping/>
  </p:clrMapOvr>
  <p:transition spd="slow"/>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itle and Subtitle – 3 Column">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2580"/>
          </a:xfrm>
        </p:spPr>
        <p:txBody>
          <a:bodyPr wrap="square"/>
          <a:lstStyle/>
          <a:p>
            <a:r>
              <a:rPr lang="en-US"/>
              <a:t>Click to edit Master title style</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12" name="Content Placeholder 2">
            <a:extLst>
              <a:ext uri="{FF2B5EF4-FFF2-40B4-BE49-F238E27FC236}">
                <a16:creationId xmlns:a16="http://schemas.microsoft.com/office/drawing/2014/main" id="{7F6BEFCE-0A8A-C04D-91DE-C4A6A2F59F75}"/>
              </a:ext>
            </a:extLst>
          </p:cNvPr>
          <p:cNvSpPr>
            <a:spLocks noGrp="1"/>
          </p:cNvSpPr>
          <p:nvPr>
            <p:ph idx="17"/>
          </p:nvPr>
        </p:nvSpPr>
        <p:spPr>
          <a:xfrm>
            <a:off x="457200" y="2039112"/>
            <a:ext cx="3566160" cy="4144963"/>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660088B0-D807-7B43-BD1A-9684ACFACA32}"/>
              </a:ext>
            </a:extLst>
          </p:cNvPr>
          <p:cNvSpPr>
            <a:spLocks noGrp="1"/>
          </p:cNvSpPr>
          <p:nvPr>
            <p:ph idx="18"/>
          </p:nvPr>
        </p:nvSpPr>
        <p:spPr>
          <a:xfrm>
            <a:off x="4306824" y="2039112"/>
            <a:ext cx="3566160" cy="4144963"/>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7194FF9F-6549-F743-B7D2-75D51A032F56}"/>
              </a:ext>
            </a:extLst>
          </p:cNvPr>
          <p:cNvSpPr>
            <a:spLocks noGrp="1"/>
          </p:cNvSpPr>
          <p:nvPr>
            <p:ph idx="19"/>
          </p:nvPr>
        </p:nvSpPr>
        <p:spPr>
          <a:xfrm>
            <a:off x="8153400" y="2039112"/>
            <a:ext cx="3566160" cy="4144963"/>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BECE1C6D-A0A2-FC2D-5EFF-2864C608FF8A}"/>
              </a:ext>
            </a:extLst>
          </p:cNvPr>
          <p:cNvSpPr>
            <a:spLocks noGrp="1"/>
          </p:cNvSpPr>
          <p:nvPr>
            <p:ph type="ftr" sz="quarter" idx="2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374956502"/>
      </p:ext>
    </p:extLst>
  </p:cSld>
  <p:clrMapOvr>
    <a:masterClrMapping/>
  </p:clrMapOvr>
  <p:transition spd="slow"/>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Two Line Title – 3 Column 3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3" name="Picture Placeholder 2">
            <a:extLst>
              <a:ext uri="{FF2B5EF4-FFF2-40B4-BE49-F238E27FC236}">
                <a16:creationId xmlns:a16="http://schemas.microsoft.com/office/drawing/2014/main" id="{3C83EEB7-941E-034D-8498-39551464743A}"/>
              </a:ext>
            </a:extLst>
          </p:cNvPr>
          <p:cNvSpPr>
            <a:spLocks noGrp="1"/>
          </p:cNvSpPr>
          <p:nvPr>
            <p:ph type="pic" sz="quarter" idx="14"/>
          </p:nvPr>
        </p:nvSpPr>
        <p:spPr>
          <a:xfrm>
            <a:off x="457200" y="2039112"/>
            <a:ext cx="3566160" cy="1792288"/>
          </a:xfrm>
          <a:solidFill>
            <a:schemeClr val="bg1">
              <a:lumMod val="75000"/>
            </a:schemeClr>
          </a:solidFill>
        </p:spPr>
        <p:txBody>
          <a:bodyPr/>
          <a:lstStyle>
            <a:lvl1pPr>
              <a:defRPr b="0" i="0"/>
            </a:lvl1pPr>
          </a:lstStyle>
          <a:p>
            <a:r>
              <a:rPr lang="en-US"/>
              <a:t>Click icon to add picture</a:t>
            </a:r>
          </a:p>
        </p:txBody>
      </p:sp>
      <p:sp>
        <p:nvSpPr>
          <p:cNvPr id="12" name="Picture Placeholder 2">
            <a:extLst>
              <a:ext uri="{FF2B5EF4-FFF2-40B4-BE49-F238E27FC236}">
                <a16:creationId xmlns:a16="http://schemas.microsoft.com/office/drawing/2014/main" id="{260567A0-497A-E548-A18B-A6A098394A96}"/>
              </a:ext>
            </a:extLst>
          </p:cNvPr>
          <p:cNvSpPr>
            <a:spLocks noGrp="1"/>
          </p:cNvSpPr>
          <p:nvPr>
            <p:ph type="pic" sz="quarter" idx="15"/>
          </p:nvPr>
        </p:nvSpPr>
        <p:spPr>
          <a:xfrm>
            <a:off x="4306824" y="2039112"/>
            <a:ext cx="3566160" cy="1792288"/>
          </a:xfrm>
          <a:solidFill>
            <a:schemeClr val="bg1">
              <a:lumMod val="75000"/>
            </a:schemeClr>
          </a:solidFill>
        </p:spPr>
        <p:txBody>
          <a:bodyPr/>
          <a:lstStyle>
            <a:lvl1pPr>
              <a:defRPr b="0" i="0"/>
            </a:lvl1pPr>
          </a:lstStyle>
          <a:p>
            <a:r>
              <a:rPr lang="en-US"/>
              <a:t>Click icon to add picture</a:t>
            </a:r>
          </a:p>
        </p:txBody>
      </p:sp>
      <p:sp>
        <p:nvSpPr>
          <p:cNvPr id="13" name="Picture Placeholder 2">
            <a:extLst>
              <a:ext uri="{FF2B5EF4-FFF2-40B4-BE49-F238E27FC236}">
                <a16:creationId xmlns:a16="http://schemas.microsoft.com/office/drawing/2014/main" id="{EADF4A49-15E2-0F4E-AD4B-7D655CA52110}"/>
              </a:ext>
            </a:extLst>
          </p:cNvPr>
          <p:cNvSpPr>
            <a:spLocks noGrp="1"/>
          </p:cNvSpPr>
          <p:nvPr>
            <p:ph type="pic" sz="quarter" idx="16"/>
          </p:nvPr>
        </p:nvSpPr>
        <p:spPr>
          <a:xfrm>
            <a:off x="8153400" y="2039112"/>
            <a:ext cx="3566160" cy="1792288"/>
          </a:xfrm>
          <a:solidFill>
            <a:schemeClr val="bg1">
              <a:lumMod val="75000"/>
            </a:schemeClr>
          </a:solidFill>
        </p:spPr>
        <p:txBody>
          <a:bodyPr/>
          <a:lstStyle>
            <a:lvl1pPr>
              <a:defRPr b="0" i="0"/>
            </a:lvl1pPr>
          </a:lstStyle>
          <a:p>
            <a:r>
              <a:rPr lang="en-US"/>
              <a:t>Click icon to add picture</a:t>
            </a:r>
          </a:p>
        </p:txBody>
      </p:sp>
      <p:sp>
        <p:nvSpPr>
          <p:cNvPr id="14" name="Content Placeholder 2">
            <a:extLst>
              <a:ext uri="{FF2B5EF4-FFF2-40B4-BE49-F238E27FC236}">
                <a16:creationId xmlns:a16="http://schemas.microsoft.com/office/drawing/2014/main" id="{01142E34-E2B6-EF41-80ED-A579AD61A17C}"/>
              </a:ext>
            </a:extLst>
          </p:cNvPr>
          <p:cNvSpPr>
            <a:spLocks noGrp="1"/>
          </p:cNvSpPr>
          <p:nvPr>
            <p:ph idx="17"/>
          </p:nvPr>
        </p:nvSpPr>
        <p:spPr>
          <a:xfrm>
            <a:off x="457200"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C811F0FA-4065-C044-AD9C-0BB8C3586B80}"/>
              </a:ext>
            </a:extLst>
          </p:cNvPr>
          <p:cNvSpPr>
            <a:spLocks noGrp="1"/>
          </p:cNvSpPr>
          <p:nvPr>
            <p:ph idx="18"/>
          </p:nvPr>
        </p:nvSpPr>
        <p:spPr>
          <a:xfrm>
            <a:off x="4306824"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72E3B4AF-5E0E-3E40-99BB-8D60DBF5A6E8}"/>
              </a:ext>
            </a:extLst>
          </p:cNvPr>
          <p:cNvSpPr>
            <a:spLocks noGrp="1"/>
          </p:cNvSpPr>
          <p:nvPr>
            <p:ph idx="19"/>
          </p:nvPr>
        </p:nvSpPr>
        <p:spPr>
          <a:xfrm>
            <a:off x="8153400"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4DEDE40A-D7C4-0975-5816-7A6ABE1B0325}"/>
              </a:ext>
            </a:extLst>
          </p:cNvPr>
          <p:cNvSpPr>
            <a:spLocks noGrp="1"/>
          </p:cNvSpPr>
          <p:nvPr>
            <p:ph type="ftr" sz="quarter" idx="2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526309410"/>
      </p:ext>
    </p:extLst>
  </p:cSld>
  <p:clrMapOvr>
    <a:masterClrMapping/>
  </p:clrMapOvr>
  <p:transition spd="slow"/>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wo Line Title and Subtitle – 3 Column 3 Imag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3" name="Picture Placeholder 2">
            <a:extLst>
              <a:ext uri="{FF2B5EF4-FFF2-40B4-BE49-F238E27FC236}">
                <a16:creationId xmlns:a16="http://schemas.microsoft.com/office/drawing/2014/main" id="{A1B63C67-71D9-3045-AAA4-5C9F9C76D47F}"/>
              </a:ext>
            </a:extLst>
          </p:cNvPr>
          <p:cNvSpPr>
            <a:spLocks noGrp="1"/>
          </p:cNvSpPr>
          <p:nvPr>
            <p:ph type="pic" sz="quarter" idx="14"/>
          </p:nvPr>
        </p:nvSpPr>
        <p:spPr>
          <a:xfrm>
            <a:off x="457200" y="2039112"/>
            <a:ext cx="3566160" cy="1792224"/>
          </a:xfrm>
          <a:solidFill>
            <a:schemeClr val="bg1">
              <a:lumMod val="75000"/>
            </a:schemeClr>
          </a:solidFill>
        </p:spPr>
        <p:txBody>
          <a:bodyPr/>
          <a:lstStyle>
            <a:lvl1pPr>
              <a:defRPr b="0" i="0"/>
            </a:lvl1pPr>
          </a:lstStyle>
          <a:p>
            <a:r>
              <a:rPr lang="en-US"/>
              <a:t>Click icon to add picture</a:t>
            </a:r>
          </a:p>
        </p:txBody>
      </p:sp>
      <p:sp>
        <p:nvSpPr>
          <p:cNvPr id="12" name="Picture Placeholder 2">
            <a:extLst>
              <a:ext uri="{FF2B5EF4-FFF2-40B4-BE49-F238E27FC236}">
                <a16:creationId xmlns:a16="http://schemas.microsoft.com/office/drawing/2014/main" id="{9465ABA5-4E13-F644-A27F-12D5B1098496}"/>
              </a:ext>
            </a:extLst>
          </p:cNvPr>
          <p:cNvSpPr>
            <a:spLocks noGrp="1"/>
          </p:cNvSpPr>
          <p:nvPr>
            <p:ph type="pic" sz="quarter" idx="15"/>
          </p:nvPr>
        </p:nvSpPr>
        <p:spPr>
          <a:xfrm>
            <a:off x="4306824" y="2039112"/>
            <a:ext cx="3566160" cy="1792224"/>
          </a:xfrm>
          <a:solidFill>
            <a:schemeClr val="bg1">
              <a:lumMod val="75000"/>
            </a:schemeClr>
          </a:solidFill>
        </p:spPr>
        <p:txBody>
          <a:bodyPr/>
          <a:lstStyle>
            <a:lvl1pPr>
              <a:defRPr b="0" i="0"/>
            </a:lvl1pPr>
          </a:lstStyle>
          <a:p>
            <a:r>
              <a:rPr lang="en-US"/>
              <a:t>Click icon to add picture</a:t>
            </a:r>
          </a:p>
        </p:txBody>
      </p:sp>
      <p:sp>
        <p:nvSpPr>
          <p:cNvPr id="13" name="Picture Placeholder 2">
            <a:extLst>
              <a:ext uri="{FF2B5EF4-FFF2-40B4-BE49-F238E27FC236}">
                <a16:creationId xmlns:a16="http://schemas.microsoft.com/office/drawing/2014/main" id="{AFD990AB-ACE0-4A42-A609-BCEFB37198E1}"/>
              </a:ext>
            </a:extLst>
          </p:cNvPr>
          <p:cNvSpPr>
            <a:spLocks noGrp="1"/>
          </p:cNvSpPr>
          <p:nvPr>
            <p:ph type="pic" sz="quarter" idx="16"/>
          </p:nvPr>
        </p:nvSpPr>
        <p:spPr>
          <a:xfrm>
            <a:off x="8153400" y="2039112"/>
            <a:ext cx="3566160" cy="1792224"/>
          </a:xfrm>
          <a:solidFill>
            <a:schemeClr val="bg1">
              <a:lumMod val="75000"/>
            </a:schemeClr>
          </a:solidFill>
        </p:spPr>
        <p:txBody>
          <a:bodyPr/>
          <a:lstStyle>
            <a:lvl1pPr>
              <a:defRPr b="0" i="0"/>
            </a:lvl1pPr>
          </a:lstStyle>
          <a:p>
            <a:r>
              <a:rPr lang="en-US"/>
              <a:t>Click icon to add picture</a:t>
            </a:r>
          </a:p>
        </p:txBody>
      </p:sp>
      <p:sp>
        <p:nvSpPr>
          <p:cNvPr id="14" name="Content Placeholder 2">
            <a:extLst>
              <a:ext uri="{FF2B5EF4-FFF2-40B4-BE49-F238E27FC236}">
                <a16:creationId xmlns:a16="http://schemas.microsoft.com/office/drawing/2014/main" id="{4AAE0B98-363A-EC46-800B-691C219CC966}"/>
              </a:ext>
            </a:extLst>
          </p:cNvPr>
          <p:cNvSpPr>
            <a:spLocks noGrp="1"/>
          </p:cNvSpPr>
          <p:nvPr>
            <p:ph idx="17"/>
          </p:nvPr>
        </p:nvSpPr>
        <p:spPr>
          <a:xfrm>
            <a:off x="457200"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CBEC1F37-E7A9-6F4C-B44D-84DBE782433A}"/>
              </a:ext>
            </a:extLst>
          </p:cNvPr>
          <p:cNvSpPr>
            <a:spLocks noGrp="1"/>
          </p:cNvSpPr>
          <p:nvPr>
            <p:ph idx="18"/>
          </p:nvPr>
        </p:nvSpPr>
        <p:spPr>
          <a:xfrm>
            <a:off x="4306824" y="4098100"/>
            <a:ext cx="3566160" cy="2075688"/>
          </a:xfrm>
        </p:spPr>
        <p:txBody>
          <a:bodyPr wrap="square"/>
          <a:lstStyle>
            <a:lvl1pPr>
              <a:buClr>
                <a:srgbClr val="2A7DE1"/>
              </a:buClr>
              <a:defRPr b="0" i="0">
                <a:solidFill>
                  <a:srgbClr val="3F403F"/>
                </a:solidFill>
              </a:defRPr>
            </a:lvl1pPr>
            <a:lvl2pPr>
              <a:buClr>
                <a:srgbClr val="2A7DE1"/>
              </a:buClr>
              <a:defRPr b="0" i="0">
                <a:solidFill>
                  <a:srgbClr val="3F403F"/>
                </a:solidFill>
              </a:defRPr>
            </a:lvl2pPr>
            <a:lvl3pPr>
              <a:buClr>
                <a:srgbClr val="2A7DE1"/>
              </a:buClr>
              <a:defRPr b="0" i="0">
                <a:solidFill>
                  <a:srgbClr val="3F403F"/>
                </a:solidFill>
              </a:defRPr>
            </a:lvl3pPr>
            <a:lvl4pPr>
              <a:buClr>
                <a:srgbClr val="2A7DE1"/>
              </a:buClr>
              <a:defRPr b="0" i="0">
                <a:solidFill>
                  <a:srgbClr val="3F403F"/>
                </a:solidFill>
              </a:defRPr>
            </a:lvl4pPr>
            <a:lvl5pPr>
              <a:buClr>
                <a:srgbClr val="2A7DE1"/>
              </a:buClr>
              <a:defRPr b="0" i="0">
                <a:solidFill>
                  <a:srgbClr val="3F403F"/>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6E8D5BFF-586D-D846-A0D8-7787007F1811}"/>
              </a:ext>
            </a:extLst>
          </p:cNvPr>
          <p:cNvSpPr>
            <a:spLocks noGrp="1"/>
          </p:cNvSpPr>
          <p:nvPr>
            <p:ph idx="19"/>
          </p:nvPr>
        </p:nvSpPr>
        <p:spPr>
          <a:xfrm>
            <a:off x="8153400"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17C3BFB2-77C1-D081-C81D-EEDC2A056780}"/>
              </a:ext>
            </a:extLst>
          </p:cNvPr>
          <p:cNvSpPr>
            <a:spLocks noGrp="1"/>
          </p:cNvSpPr>
          <p:nvPr>
            <p:ph type="ftr" sz="quarter" idx="2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824877669"/>
      </p:ext>
    </p:extLst>
  </p:cSld>
  <p:clrMapOvr>
    <a:masterClrMapping/>
  </p:clrMapOvr>
  <p:transition spd="slow"/>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itle and Subtitle – 3 Column 3 Image">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2580"/>
          </a:xfrm>
        </p:spPr>
        <p:txBody>
          <a:bodyPr wrap="square"/>
          <a:lstStyle/>
          <a:p>
            <a:r>
              <a:rPr lang="en-US"/>
              <a:t>Click to edit Master title style</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3" name="Picture Placeholder 2">
            <a:extLst>
              <a:ext uri="{FF2B5EF4-FFF2-40B4-BE49-F238E27FC236}">
                <a16:creationId xmlns:a16="http://schemas.microsoft.com/office/drawing/2014/main" id="{FCAD1737-8888-5446-9E4C-0C08B4B9426F}"/>
              </a:ext>
            </a:extLst>
          </p:cNvPr>
          <p:cNvSpPr>
            <a:spLocks noGrp="1"/>
          </p:cNvSpPr>
          <p:nvPr>
            <p:ph type="pic" sz="quarter" idx="14"/>
          </p:nvPr>
        </p:nvSpPr>
        <p:spPr>
          <a:xfrm>
            <a:off x="457200" y="2039112"/>
            <a:ext cx="3566160" cy="1792224"/>
          </a:xfrm>
          <a:solidFill>
            <a:schemeClr val="bg1">
              <a:lumMod val="75000"/>
            </a:schemeClr>
          </a:solidFill>
        </p:spPr>
        <p:txBody>
          <a:bodyPr/>
          <a:lstStyle>
            <a:lvl1pPr>
              <a:defRPr b="0" i="0"/>
            </a:lvl1pPr>
          </a:lstStyle>
          <a:p>
            <a:r>
              <a:rPr lang="en-US"/>
              <a:t>Click icon to add picture</a:t>
            </a:r>
          </a:p>
        </p:txBody>
      </p:sp>
      <p:sp>
        <p:nvSpPr>
          <p:cNvPr id="12" name="Picture Placeholder 2">
            <a:extLst>
              <a:ext uri="{FF2B5EF4-FFF2-40B4-BE49-F238E27FC236}">
                <a16:creationId xmlns:a16="http://schemas.microsoft.com/office/drawing/2014/main" id="{D3A0190D-73D9-774A-81C8-FD0C29CAD359}"/>
              </a:ext>
            </a:extLst>
          </p:cNvPr>
          <p:cNvSpPr>
            <a:spLocks noGrp="1"/>
          </p:cNvSpPr>
          <p:nvPr>
            <p:ph type="pic" sz="quarter" idx="15"/>
          </p:nvPr>
        </p:nvSpPr>
        <p:spPr>
          <a:xfrm>
            <a:off x="4306824" y="2039112"/>
            <a:ext cx="3566160" cy="1792224"/>
          </a:xfrm>
          <a:solidFill>
            <a:schemeClr val="bg1">
              <a:lumMod val="75000"/>
            </a:schemeClr>
          </a:solidFill>
        </p:spPr>
        <p:txBody>
          <a:bodyPr/>
          <a:lstStyle>
            <a:lvl1pPr>
              <a:defRPr b="0" i="0"/>
            </a:lvl1pPr>
          </a:lstStyle>
          <a:p>
            <a:r>
              <a:rPr lang="en-US"/>
              <a:t>Click icon to add picture</a:t>
            </a:r>
          </a:p>
        </p:txBody>
      </p:sp>
      <p:sp>
        <p:nvSpPr>
          <p:cNvPr id="13" name="Picture Placeholder 2">
            <a:extLst>
              <a:ext uri="{FF2B5EF4-FFF2-40B4-BE49-F238E27FC236}">
                <a16:creationId xmlns:a16="http://schemas.microsoft.com/office/drawing/2014/main" id="{31306D51-C748-C44C-939E-C78317BC56F1}"/>
              </a:ext>
            </a:extLst>
          </p:cNvPr>
          <p:cNvSpPr>
            <a:spLocks noGrp="1"/>
          </p:cNvSpPr>
          <p:nvPr>
            <p:ph type="pic" sz="quarter" idx="16"/>
          </p:nvPr>
        </p:nvSpPr>
        <p:spPr>
          <a:xfrm>
            <a:off x="8156448" y="2039112"/>
            <a:ext cx="3566160" cy="1792224"/>
          </a:xfrm>
          <a:solidFill>
            <a:schemeClr val="bg1">
              <a:lumMod val="75000"/>
            </a:schemeClr>
          </a:solidFill>
        </p:spPr>
        <p:txBody>
          <a:bodyPr/>
          <a:lstStyle>
            <a:lvl1pPr>
              <a:defRPr b="0" i="0"/>
            </a:lvl1pPr>
          </a:lstStyle>
          <a:p>
            <a:r>
              <a:rPr lang="en-US"/>
              <a:t>Click icon to add picture</a:t>
            </a:r>
          </a:p>
        </p:txBody>
      </p:sp>
      <p:sp>
        <p:nvSpPr>
          <p:cNvPr id="14" name="Content Placeholder 2">
            <a:extLst>
              <a:ext uri="{FF2B5EF4-FFF2-40B4-BE49-F238E27FC236}">
                <a16:creationId xmlns:a16="http://schemas.microsoft.com/office/drawing/2014/main" id="{9231A14D-B1E2-9B4A-80AD-48B6B60FFDEB}"/>
              </a:ext>
            </a:extLst>
          </p:cNvPr>
          <p:cNvSpPr>
            <a:spLocks noGrp="1"/>
          </p:cNvSpPr>
          <p:nvPr>
            <p:ph idx="17"/>
          </p:nvPr>
        </p:nvSpPr>
        <p:spPr>
          <a:xfrm>
            <a:off x="457200"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06C29580-6FEF-0749-A540-C47FFD6F3571}"/>
              </a:ext>
            </a:extLst>
          </p:cNvPr>
          <p:cNvSpPr>
            <a:spLocks noGrp="1"/>
          </p:cNvSpPr>
          <p:nvPr>
            <p:ph idx="18"/>
          </p:nvPr>
        </p:nvSpPr>
        <p:spPr>
          <a:xfrm>
            <a:off x="4306824"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73C7A0E1-8582-394E-B666-41EBD8B693CF}"/>
              </a:ext>
            </a:extLst>
          </p:cNvPr>
          <p:cNvSpPr>
            <a:spLocks noGrp="1"/>
          </p:cNvSpPr>
          <p:nvPr>
            <p:ph idx="19"/>
          </p:nvPr>
        </p:nvSpPr>
        <p:spPr>
          <a:xfrm>
            <a:off x="8153400"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6F8DAD5A-FB8C-2A5C-C7FC-DDDC9DF7489C}"/>
              </a:ext>
            </a:extLst>
          </p:cNvPr>
          <p:cNvSpPr>
            <a:spLocks noGrp="1"/>
          </p:cNvSpPr>
          <p:nvPr>
            <p:ph type="ftr" sz="quarter" idx="2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2597304903"/>
      </p:ext>
    </p:extLst>
  </p:cSld>
  <p:clrMapOvr>
    <a:masterClrMapping/>
  </p:clrMapOvr>
  <p:transition spd="slow"/>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wo Line Title – 3 Column 3 Circ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3" name="Picture Placeholder 2">
            <a:extLst>
              <a:ext uri="{FF2B5EF4-FFF2-40B4-BE49-F238E27FC236}">
                <a16:creationId xmlns:a16="http://schemas.microsoft.com/office/drawing/2014/main" id="{3C83EEB7-941E-034D-8498-39551464743A}"/>
              </a:ext>
            </a:extLst>
          </p:cNvPr>
          <p:cNvSpPr>
            <a:spLocks noGrp="1" noChangeAspect="1"/>
          </p:cNvSpPr>
          <p:nvPr>
            <p:ph type="pic" sz="quarter" idx="14"/>
          </p:nvPr>
        </p:nvSpPr>
        <p:spPr>
          <a:xfrm>
            <a:off x="457200" y="2039112"/>
            <a:ext cx="1408176" cy="1408176"/>
          </a:xfrm>
          <a:prstGeom prst="ellipse">
            <a:avLst/>
          </a:prstGeom>
          <a:solidFill>
            <a:schemeClr val="bg1">
              <a:lumMod val="75000"/>
            </a:schemeClr>
          </a:solidFill>
        </p:spPr>
        <p:txBody>
          <a:bodyPr/>
          <a:lstStyle>
            <a:lvl1pPr>
              <a:defRPr b="0" i="0"/>
            </a:lvl1pPr>
          </a:lstStyle>
          <a:p>
            <a:r>
              <a:rPr lang="en-US"/>
              <a:t>Click icon to add picture</a:t>
            </a:r>
          </a:p>
        </p:txBody>
      </p:sp>
      <p:sp>
        <p:nvSpPr>
          <p:cNvPr id="12" name="Picture Placeholder 2">
            <a:extLst>
              <a:ext uri="{FF2B5EF4-FFF2-40B4-BE49-F238E27FC236}">
                <a16:creationId xmlns:a16="http://schemas.microsoft.com/office/drawing/2014/main" id="{260567A0-497A-E548-A18B-A6A098394A96}"/>
              </a:ext>
            </a:extLst>
          </p:cNvPr>
          <p:cNvSpPr>
            <a:spLocks noGrp="1" noChangeAspect="1"/>
          </p:cNvSpPr>
          <p:nvPr>
            <p:ph type="pic" sz="quarter" idx="15"/>
          </p:nvPr>
        </p:nvSpPr>
        <p:spPr>
          <a:xfrm>
            <a:off x="4306824" y="2039112"/>
            <a:ext cx="1408176" cy="1408176"/>
          </a:xfrm>
          <a:prstGeom prst="ellipse">
            <a:avLst/>
          </a:prstGeom>
          <a:solidFill>
            <a:schemeClr val="bg1">
              <a:lumMod val="75000"/>
            </a:schemeClr>
          </a:solidFill>
        </p:spPr>
        <p:txBody>
          <a:bodyPr/>
          <a:lstStyle>
            <a:lvl1pPr>
              <a:defRPr b="0" i="0"/>
            </a:lvl1pPr>
          </a:lstStyle>
          <a:p>
            <a:r>
              <a:rPr lang="en-US"/>
              <a:t>Click icon to add picture</a:t>
            </a:r>
          </a:p>
        </p:txBody>
      </p:sp>
      <p:sp>
        <p:nvSpPr>
          <p:cNvPr id="13" name="Picture Placeholder 2">
            <a:extLst>
              <a:ext uri="{FF2B5EF4-FFF2-40B4-BE49-F238E27FC236}">
                <a16:creationId xmlns:a16="http://schemas.microsoft.com/office/drawing/2014/main" id="{EADF4A49-15E2-0F4E-AD4B-7D655CA52110}"/>
              </a:ext>
            </a:extLst>
          </p:cNvPr>
          <p:cNvSpPr>
            <a:spLocks noGrp="1" noChangeAspect="1"/>
          </p:cNvSpPr>
          <p:nvPr>
            <p:ph type="pic" sz="quarter" idx="16"/>
          </p:nvPr>
        </p:nvSpPr>
        <p:spPr>
          <a:xfrm>
            <a:off x="8153400" y="2039112"/>
            <a:ext cx="1408176" cy="1408176"/>
          </a:xfrm>
          <a:prstGeom prst="ellipse">
            <a:avLst/>
          </a:prstGeom>
          <a:solidFill>
            <a:schemeClr val="bg1">
              <a:lumMod val="75000"/>
            </a:schemeClr>
          </a:solidFill>
        </p:spPr>
        <p:txBody>
          <a:bodyPr/>
          <a:lstStyle>
            <a:lvl1pPr>
              <a:defRPr b="0" i="0"/>
            </a:lvl1pPr>
          </a:lstStyle>
          <a:p>
            <a:r>
              <a:rPr lang="en-US"/>
              <a:t>Click icon to add picture</a:t>
            </a:r>
          </a:p>
        </p:txBody>
      </p:sp>
      <p:sp>
        <p:nvSpPr>
          <p:cNvPr id="14" name="Content Placeholder 2">
            <a:extLst>
              <a:ext uri="{FF2B5EF4-FFF2-40B4-BE49-F238E27FC236}">
                <a16:creationId xmlns:a16="http://schemas.microsoft.com/office/drawing/2014/main" id="{928D131F-0341-574D-BCCB-EC3438F0FBAB}"/>
              </a:ext>
            </a:extLst>
          </p:cNvPr>
          <p:cNvSpPr>
            <a:spLocks noGrp="1"/>
          </p:cNvSpPr>
          <p:nvPr>
            <p:ph idx="17"/>
          </p:nvPr>
        </p:nvSpPr>
        <p:spPr>
          <a:xfrm>
            <a:off x="457200"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7587F38D-1308-5845-8CC5-DEBBF0859EC4}"/>
              </a:ext>
            </a:extLst>
          </p:cNvPr>
          <p:cNvSpPr>
            <a:spLocks noGrp="1"/>
          </p:cNvSpPr>
          <p:nvPr>
            <p:ph idx="18"/>
          </p:nvPr>
        </p:nvSpPr>
        <p:spPr>
          <a:xfrm>
            <a:off x="4306824"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CC9CF2AD-5BB2-3840-B88B-F7D732FF3003}"/>
              </a:ext>
            </a:extLst>
          </p:cNvPr>
          <p:cNvSpPr>
            <a:spLocks noGrp="1"/>
          </p:cNvSpPr>
          <p:nvPr>
            <p:ph idx="19"/>
          </p:nvPr>
        </p:nvSpPr>
        <p:spPr>
          <a:xfrm>
            <a:off x="8153400"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BD06EC4D-0450-3833-0AA6-0063A6168E5F}"/>
              </a:ext>
            </a:extLst>
          </p:cNvPr>
          <p:cNvSpPr>
            <a:spLocks noGrp="1"/>
          </p:cNvSpPr>
          <p:nvPr>
            <p:ph type="ftr" sz="quarter" idx="2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2329277351"/>
      </p:ext>
    </p:extLst>
  </p:cSld>
  <p:clrMapOvr>
    <a:masterClrMapping/>
  </p:clrMapOvr>
  <p:transition spd="slow"/>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Two Line Ttitle and Subtitle – 3 Column 3 Circl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3" name="Picture Placeholder 2">
            <a:extLst>
              <a:ext uri="{FF2B5EF4-FFF2-40B4-BE49-F238E27FC236}">
                <a16:creationId xmlns:a16="http://schemas.microsoft.com/office/drawing/2014/main" id="{A1B63C67-71D9-3045-AAA4-5C9F9C76D47F}"/>
              </a:ext>
            </a:extLst>
          </p:cNvPr>
          <p:cNvSpPr>
            <a:spLocks noGrp="1" noChangeAspect="1"/>
          </p:cNvSpPr>
          <p:nvPr>
            <p:ph type="pic" sz="quarter" idx="14"/>
          </p:nvPr>
        </p:nvSpPr>
        <p:spPr>
          <a:xfrm>
            <a:off x="457200" y="2039112"/>
            <a:ext cx="1408176" cy="1408176"/>
          </a:xfrm>
          <a:prstGeom prst="ellipse">
            <a:avLst/>
          </a:prstGeom>
          <a:solidFill>
            <a:schemeClr val="bg1">
              <a:lumMod val="75000"/>
            </a:schemeClr>
          </a:solidFill>
        </p:spPr>
        <p:txBody>
          <a:bodyPr/>
          <a:lstStyle>
            <a:lvl1pPr>
              <a:defRPr b="0" i="0"/>
            </a:lvl1pPr>
          </a:lstStyle>
          <a:p>
            <a:r>
              <a:rPr lang="en-US"/>
              <a:t>Click icon to add picture</a:t>
            </a:r>
          </a:p>
        </p:txBody>
      </p:sp>
      <p:sp>
        <p:nvSpPr>
          <p:cNvPr id="12" name="Picture Placeholder 2">
            <a:extLst>
              <a:ext uri="{FF2B5EF4-FFF2-40B4-BE49-F238E27FC236}">
                <a16:creationId xmlns:a16="http://schemas.microsoft.com/office/drawing/2014/main" id="{9465ABA5-4E13-F644-A27F-12D5B1098496}"/>
              </a:ext>
            </a:extLst>
          </p:cNvPr>
          <p:cNvSpPr>
            <a:spLocks noGrp="1" noChangeAspect="1"/>
          </p:cNvSpPr>
          <p:nvPr>
            <p:ph type="pic" sz="quarter" idx="15"/>
          </p:nvPr>
        </p:nvSpPr>
        <p:spPr>
          <a:xfrm>
            <a:off x="4306824" y="2039112"/>
            <a:ext cx="1408176" cy="1408176"/>
          </a:xfrm>
          <a:prstGeom prst="ellipse">
            <a:avLst/>
          </a:prstGeom>
          <a:solidFill>
            <a:schemeClr val="bg1">
              <a:lumMod val="75000"/>
            </a:schemeClr>
          </a:solidFill>
        </p:spPr>
        <p:txBody>
          <a:bodyPr/>
          <a:lstStyle>
            <a:lvl1pPr>
              <a:defRPr b="0" i="0"/>
            </a:lvl1pPr>
          </a:lstStyle>
          <a:p>
            <a:r>
              <a:rPr lang="en-US"/>
              <a:t>Click icon to add picture</a:t>
            </a:r>
          </a:p>
        </p:txBody>
      </p:sp>
      <p:sp>
        <p:nvSpPr>
          <p:cNvPr id="13" name="Picture Placeholder 2">
            <a:extLst>
              <a:ext uri="{FF2B5EF4-FFF2-40B4-BE49-F238E27FC236}">
                <a16:creationId xmlns:a16="http://schemas.microsoft.com/office/drawing/2014/main" id="{AFD990AB-ACE0-4A42-A609-BCEFB37198E1}"/>
              </a:ext>
            </a:extLst>
          </p:cNvPr>
          <p:cNvSpPr>
            <a:spLocks noGrp="1" noChangeAspect="1"/>
          </p:cNvSpPr>
          <p:nvPr>
            <p:ph type="pic" sz="quarter" idx="16"/>
          </p:nvPr>
        </p:nvSpPr>
        <p:spPr>
          <a:xfrm>
            <a:off x="8153400" y="2039112"/>
            <a:ext cx="1408176" cy="1408176"/>
          </a:xfrm>
          <a:prstGeom prst="ellipse">
            <a:avLst/>
          </a:prstGeom>
          <a:solidFill>
            <a:schemeClr val="bg1">
              <a:lumMod val="75000"/>
            </a:schemeClr>
          </a:solidFill>
        </p:spPr>
        <p:txBody>
          <a:bodyPr/>
          <a:lstStyle>
            <a:lvl1pPr>
              <a:defRPr b="0" i="0"/>
            </a:lvl1pPr>
          </a:lstStyle>
          <a:p>
            <a:r>
              <a:rPr lang="en-US"/>
              <a:t>Click icon to add picture</a:t>
            </a:r>
          </a:p>
        </p:txBody>
      </p:sp>
      <p:sp>
        <p:nvSpPr>
          <p:cNvPr id="14" name="Content Placeholder 2">
            <a:extLst>
              <a:ext uri="{FF2B5EF4-FFF2-40B4-BE49-F238E27FC236}">
                <a16:creationId xmlns:a16="http://schemas.microsoft.com/office/drawing/2014/main" id="{01EC1E82-8BFF-C446-B362-3B6F66041946}"/>
              </a:ext>
            </a:extLst>
          </p:cNvPr>
          <p:cNvSpPr>
            <a:spLocks noGrp="1"/>
          </p:cNvSpPr>
          <p:nvPr>
            <p:ph idx="17"/>
          </p:nvPr>
        </p:nvSpPr>
        <p:spPr>
          <a:xfrm>
            <a:off x="457200"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AD01B31F-9CE4-A94F-AF78-636396EAB9B5}"/>
              </a:ext>
            </a:extLst>
          </p:cNvPr>
          <p:cNvSpPr>
            <a:spLocks noGrp="1"/>
          </p:cNvSpPr>
          <p:nvPr>
            <p:ph idx="18"/>
          </p:nvPr>
        </p:nvSpPr>
        <p:spPr>
          <a:xfrm>
            <a:off x="4306824"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B216EB35-9D45-E843-AED5-EADC70066430}"/>
              </a:ext>
            </a:extLst>
          </p:cNvPr>
          <p:cNvSpPr>
            <a:spLocks noGrp="1"/>
          </p:cNvSpPr>
          <p:nvPr>
            <p:ph idx="19"/>
          </p:nvPr>
        </p:nvSpPr>
        <p:spPr>
          <a:xfrm>
            <a:off x="8153400"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984689E5-4E11-21EA-E03E-27964B7E9CC7}"/>
              </a:ext>
            </a:extLst>
          </p:cNvPr>
          <p:cNvSpPr>
            <a:spLocks noGrp="1"/>
          </p:cNvSpPr>
          <p:nvPr>
            <p:ph type="ftr" sz="quarter" idx="2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467975363"/>
      </p:ext>
    </p:extLst>
  </p:cSld>
  <p:clrMapOvr>
    <a:masterClrMapping/>
  </p:clrMapOvr>
  <p:transition spd="slow"/>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Title and Subtitle – 3 Column 3 Circle">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2580"/>
          </a:xfrm>
        </p:spPr>
        <p:txBody>
          <a:bodyPr wrap="square"/>
          <a:lstStyle/>
          <a:p>
            <a:r>
              <a:rPr lang="en-US"/>
              <a:t>Click to edit Master title style</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3" name="Picture Placeholder 2">
            <a:extLst>
              <a:ext uri="{FF2B5EF4-FFF2-40B4-BE49-F238E27FC236}">
                <a16:creationId xmlns:a16="http://schemas.microsoft.com/office/drawing/2014/main" id="{FCAD1737-8888-5446-9E4C-0C08B4B9426F}"/>
              </a:ext>
            </a:extLst>
          </p:cNvPr>
          <p:cNvSpPr>
            <a:spLocks noGrp="1" noChangeAspect="1"/>
          </p:cNvSpPr>
          <p:nvPr>
            <p:ph type="pic" sz="quarter" idx="14"/>
          </p:nvPr>
        </p:nvSpPr>
        <p:spPr>
          <a:xfrm>
            <a:off x="457200" y="2039112"/>
            <a:ext cx="1408176" cy="1408176"/>
          </a:xfrm>
          <a:prstGeom prst="ellipse">
            <a:avLst/>
          </a:prstGeom>
          <a:solidFill>
            <a:schemeClr val="bg1">
              <a:lumMod val="75000"/>
            </a:schemeClr>
          </a:solidFill>
        </p:spPr>
        <p:txBody>
          <a:bodyPr/>
          <a:lstStyle>
            <a:lvl1pPr>
              <a:defRPr b="0" i="0"/>
            </a:lvl1pPr>
          </a:lstStyle>
          <a:p>
            <a:r>
              <a:rPr lang="en-US"/>
              <a:t>Click icon to add picture</a:t>
            </a:r>
          </a:p>
        </p:txBody>
      </p:sp>
      <p:sp>
        <p:nvSpPr>
          <p:cNvPr id="12" name="Picture Placeholder 2">
            <a:extLst>
              <a:ext uri="{FF2B5EF4-FFF2-40B4-BE49-F238E27FC236}">
                <a16:creationId xmlns:a16="http://schemas.microsoft.com/office/drawing/2014/main" id="{D3A0190D-73D9-774A-81C8-FD0C29CAD359}"/>
              </a:ext>
            </a:extLst>
          </p:cNvPr>
          <p:cNvSpPr>
            <a:spLocks noGrp="1" noChangeAspect="1"/>
          </p:cNvSpPr>
          <p:nvPr>
            <p:ph type="pic" sz="quarter" idx="15"/>
          </p:nvPr>
        </p:nvSpPr>
        <p:spPr>
          <a:xfrm>
            <a:off x="4306824" y="2039112"/>
            <a:ext cx="1408176" cy="1408176"/>
          </a:xfrm>
          <a:prstGeom prst="ellipse">
            <a:avLst/>
          </a:prstGeom>
          <a:solidFill>
            <a:schemeClr val="bg1">
              <a:lumMod val="75000"/>
            </a:schemeClr>
          </a:solidFill>
        </p:spPr>
        <p:txBody>
          <a:bodyPr/>
          <a:lstStyle>
            <a:lvl1pPr>
              <a:defRPr b="0" i="0"/>
            </a:lvl1pPr>
          </a:lstStyle>
          <a:p>
            <a:r>
              <a:rPr lang="en-US"/>
              <a:t>Click icon to add picture</a:t>
            </a:r>
          </a:p>
        </p:txBody>
      </p:sp>
      <p:sp>
        <p:nvSpPr>
          <p:cNvPr id="13" name="Picture Placeholder 2">
            <a:extLst>
              <a:ext uri="{FF2B5EF4-FFF2-40B4-BE49-F238E27FC236}">
                <a16:creationId xmlns:a16="http://schemas.microsoft.com/office/drawing/2014/main" id="{31306D51-C748-C44C-939E-C78317BC56F1}"/>
              </a:ext>
            </a:extLst>
          </p:cNvPr>
          <p:cNvSpPr>
            <a:spLocks noGrp="1" noChangeAspect="1"/>
          </p:cNvSpPr>
          <p:nvPr>
            <p:ph type="pic" sz="quarter" idx="16"/>
          </p:nvPr>
        </p:nvSpPr>
        <p:spPr>
          <a:xfrm>
            <a:off x="8156448" y="2039112"/>
            <a:ext cx="1408176" cy="1408176"/>
          </a:xfrm>
          <a:prstGeom prst="ellipse">
            <a:avLst/>
          </a:prstGeom>
          <a:solidFill>
            <a:schemeClr val="bg1">
              <a:lumMod val="75000"/>
            </a:schemeClr>
          </a:solidFill>
        </p:spPr>
        <p:txBody>
          <a:bodyPr/>
          <a:lstStyle>
            <a:lvl1pPr>
              <a:defRPr b="0" i="0"/>
            </a:lvl1pPr>
          </a:lstStyle>
          <a:p>
            <a:r>
              <a:rPr lang="en-US"/>
              <a:t>Click icon to add picture</a:t>
            </a:r>
          </a:p>
        </p:txBody>
      </p:sp>
      <p:sp>
        <p:nvSpPr>
          <p:cNvPr id="14" name="Content Placeholder 2">
            <a:extLst>
              <a:ext uri="{FF2B5EF4-FFF2-40B4-BE49-F238E27FC236}">
                <a16:creationId xmlns:a16="http://schemas.microsoft.com/office/drawing/2014/main" id="{E9766C10-A1EC-8846-803A-F6702C73D9C0}"/>
              </a:ext>
            </a:extLst>
          </p:cNvPr>
          <p:cNvSpPr>
            <a:spLocks noGrp="1"/>
          </p:cNvSpPr>
          <p:nvPr>
            <p:ph idx="17"/>
          </p:nvPr>
        </p:nvSpPr>
        <p:spPr>
          <a:xfrm>
            <a:off x="457200"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39C67D48-5099-724E-B7C3-A0AEC54D95E4}"/>
              </a:ext>
            </a:extLst>
          </p:cNvPr>
          <p:cNvSpPr>
            <a:spLocks noGrp="1"/>
          </p:cNvSpPr>
          <p:nvPr>
            <p:ph idx="18"/>
          </p:nvPr>
        </p:nvSpPr>
        <p:spPr>
          <a:xfrm>
            <a:off x="4306824"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518CB84E-77F8-BF4F-9C14-28C12FB246A3}"/>
              </a:ext>
            </a:extLst>
          </p:cNvPr>
          <p:cNvSpPr>
            <a:spLocks noGrp="1"/>
          </p:cNvSpPr>
          <p:nvPr>
            <p:ph idx="19"/>
          </p:nvPr>
        </p:nvSpPr>
        <p:spPr>
          <a:xfrm>
            <a:off x="8153400" y="4098100"/>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36A43F83-8C83-D3FE-9CDE-419D50A73D26}"/>
              </a:ext>
            </a:extLst>
          </p:cNvPr>
          <p:cNvSpPr>
            <a:spLocks noGrp="1"/>
          </p:cNvSpPr>
          <p:nvPr>
            <p:ph type="ftr" sz="quarter" idx="2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780193479"/>
      </p:ext>
    </p:extLst>
  </p:cSld>
  <p:clrMapOvr>
    <a:masterClrMapping/>
  </p:clrMapOvr>
  <p:transition spd="slow"/>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Two Line Title – 3 Column 3 Image Under">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3" name="Picture Placeholder 2">
            <a:extLst>
              <a:ext uri="{FF2B5EF4-FFF2-40B4-BE49-F238E27FC236}">
                <a16:creationId xmlns:a16="http://schemas.microsoft.com/office/drawing/2014/main" id="{3C83EEB7-941E-034D-8498-39551464743A}"/>
              </a:ext>
            </a:extLst>
          </p:cNvPr>
          <p:cNvSpPr>
            <a:spLocks noGrp="1"/>
          </p:cNvSpPr>
          <p:nvPr>
            <p:ph type="pic" sz="quarter" idx="14"/>
          </p:nvPr>
        </p:nvSpPr>
        <p:spPr>
          <a:xfrm>
            <a:off x="457200" y="4381500"/>
            <a:ext cx="3566160" cy="1792288"/>
          </a:xfrm>
          <a:solidFill>
            <a:schemeClr val="bg1">
              <a:lumMod val="75000"/>
            </a:schemeClr>
          </a:solidFill>
        </p:spPr>
        <p:txBody>
          <a:bodyPr/>
          <a:lstStyle>
            <a:lvl1pPr>
              <a:defRPr b="0" i="0"/>
            </a:lvl1pPr>
          </a:lstStyle>
          <a:p>
            <a:r>
              <a:rPr lang="en-US"/>
              <a:t>Click icon to add picture</a:t>
            </a:r>
          </a:p>
        </p:txBody>
      </p:sp>
      <p:sp>
        <p:nvSpPr>
          <p:cNvPr id="12" name="Picture Placeholder 2">
            <a:extLst>
              <a:ext uri="{FF2B5EF4-FFF2-40B4-BE49-F238E27FC236}">
                <a16:creationId xmlns:a16="http://schemas.microsoft.com/office/drawing/2014/main" id="{260567A0-497A-E548-A18B-A6A098394A96}"/>
              </a:ext>
            </a:extLst>
          </p:cNvPr>
          <p:cNvSpPr>
            <a:spLocks noGrp="1"/>
          </p:cNvSpPr>
          <p:nvPr>
            <p:ph type="pic" sz="quarter" idx="15"/>
          </p:nvPr>
        </p:nvSpPr>
        <p:spPr>
          <a:xfrm>
            <a:off x="4306824" y="4381500"/>
            <a:ext cx="3566160" cy="1792288"/>
          </a:xfrm>
          <a:solidFill>
            <a:schemeClr val="bg1">
              <a:lumMod val="75000"/>
            </a:schemeClr>
          </a:solidFill>
        </p:spPr>
        <p:txBody>
          <a:bodyPr/>
          <a:lstStyle>
            <a:lvl1pPr>
              <a:defRPr b="0" i="0"/>
            </a:lvl1pPr>
          </a:lstStyle>
          <a:p>
            <a:r>
              <a:rPr lang="en-US"/>
              <a:t>Click icon to add picture</a:t>
            </a:r>
          </a:p>
        </p:txBody>
      </p:sp>
      <p:sp>
        <p:nvSpPr>
          <p:cNvPr id="13" name="Picture Placeholder 2">
            <a:extLst>
              <a:ext uri="{FF2B5EF4-FFF2-40B4-BE49-F238E27FC236}">
                <a16:creationId xmlns:a16="http://schemas.microsoft.com/office/drawing/2014/main" id="{EADF4A49-15E2-0F4E-AD4B-7D655CA52110}"/>
              </a:ext>
            </a:extLst>
          </p:cNvPr>
          <p:cNvSpPr>
            <a:spLocks noGrp="1"/>
          </p:cNvSpPr>
          <p:nvPr>
            <p:ph type="pic" sz="quarter" idx="16"/>
          </p:nvPr>
        </p:nvSpPr>
        <p:spPr>
          <a:xfrm>
            <a:off x="8153400" y="4381500"/>
            <a:ext cx="3566160" cy="1792288"/>
          </a:xfrm>
          <a:solidFill>
            <a:schemeClr val="bg1">
              <a:lumMod val="75000"/>
            </a:schemeClr>
          </a:solidFill>
        </p:spPr>
        <p:txBody>
          <a:bodyPr/>
          <a:lstStyle>
            <a:lvl1pPr>
              <a:defRPr b="0" i="0"/>
            </a:lvl1pPr>
          </a:lstStyle>
          <a:p>
            <a:r>
              <a:rPr lang="en-US"/>
              <a:t>Click icon to add picture</a:t>
            </a:r>
          </a:p>
        </p:txBody>
      </p:sp>
      <p:sp>
        <p:nvSpPr>
          <p:cNvPr id="14" name="Content Placeholder 2">
            <a:extLst>
              <a:ext uri="{FF2B5EF4-FFF2-40B4-BE49-F238E27FC236}">
                <a16:creationId xmlns:a16="http://schemas.microsoft.com/office/drawing/2014/main" id="{4DAE340E-4704-3A40-8081-1867C99ED659}"/>
              </a:ext>
            </a:extLst>
          </p:cNvPr>
          <p:cNvSpPr>
            <a:spLocks noGrp="1"/>
          </p:cNvSpPr>
          <p:nvPr>
            <p:ph idx="17"/>
          </p:nvPr>
        </p:nvSpPr>
        <p:spPr>
          <a:xfrm>
            <a:off x="457200" y="2039112"/>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EC65BB0C-A212-3542-B304-92BD794480A3}"/>
              </a:ext>
            </a:extLst>
          </p:cNvPr>
          <p:cNvSpPr>
            <a:spLocks noGrp="1"/>
          </p:cNvSpPr>
          <p:nvPr>
            <p:ph idx="18"/>
          </p:nvPr>
        </p:nvSpPr>
        <p:spPr>
          <a:xfrm>
            <a:off x="4306824" y="2039112"/>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604B11DE-9CEC-3644-8EF2-1832022B44D5}"/>
              </a:ext>
            </a:extLst>
          </p:cNvPr>
          <p:cNvSpPr>
            <a:spLocks noGrp="1"/>
          </p:cNvSpPr>
          <p:nvPr>
            <p:ph idx="19"/>
          </p:nvPr>
        </p:nvSpPr>
        <p:spPr>
          <a:xfrm>
            <a:off x="8153400" y="2039112"/>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B1967953-A6C4-92E8-B667-66C38D40525C}"/>
              </a:ext>
            </a:extLst>
          </p:cNvPr>
          <p:cNvSpPr>
            <a:spLocks noGrp="1"/>
          </p:cNvSpPr>
          <p:nvPr>
            <p:ph type="ftr" sz="quarter" idx="2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2291495816"/>
      </p:ext>
    </p:extLst>
  </p:cSld>
  <p:clrMapOvr>
    <a:masterClrMapping/>
  </p:clrMapOvr>
  <p:transition spd="slow"/>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wo Line Title and Subtitle – 3 Column 3 Image Under">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3" name="Picture Placeholder 2">
            <a:extLst>
              <a:ext uri="{FF2B5EF4-FFF2-40B4-BE49-F238E27FC236}">
                <a16:creationId xmlns:a16="http://schemas.microsoft.com/office/drawing/2014/main" id="{A1B63C67-71D9-3045-AAA4-5C9F9C76D47F}"/>
              </a:ext>
            </a:extLst>
          </p:cNvPr>
          <p:cNvSpPr>
            <a:spLocks noGrp="1"/>
          </p:cNvSpPr>
          <p:nvPr>
            <p:ph type="pic" sz="quarter" idx="14"/>
          </p:nvPr>
        </p:nvSpPr>
        <p:spPr>
          <a:xfrm>
            <a:off x="457200" y="4381564"/>
            <a:ext cx="3566160" cy="1792224"/>
          </a:xfrm>
          <a:solidFill>
            <a:schemeClr val="bg1">
              <a:lumMod val="75000"/>
            </a:schemeClr>
          </a:solidFill>
        </p:spPr>
        <p:txBody>
          <a:bodyPr/>
          <a:lstStyle>
            <a:lvl1pPr>
              <a:defRPr b="0" i="0"/>
            </a:lvl1pPr>
          </a:lstStyle>
          <a:p>
            <a:r>
              <a:rPr lang="en-US"/>
              <a:t>Click icon to add picture</a:t>
            </a:r>
          </a:p>
        </p:txBody>
      </p:sp>
      <p:sp>
        <p:nvSpPr>
          <p:cNvPr id="12" name="Picture Placeholder 2">
            <a:extLst>
              <a:ext uri="{FF2B5EF4-FFF2-40B4-BE49-F238E27FC236}">
                <a16:creationId xmlns:a16="http://schemas.microsoft.com/office/drawing/2014/main" id="{9465ABA5-4E13-F644-A27F-12D5B1098496}"/>
              </a:ext>
            </a:extLst>
          </p:cNvPr>
          <p:cNvSpPr>
            <a:spLocks noGrp="1"/>
          </p:cNvSpPr>
          <p:nvPr>
            <p:ph type="pic" sz="quarter" idx="15"/>
          </p:nvPr>
        </p:nvSpPr>
        <p:spPr>
          <a:xfrm>
            <a:off x="4306824" y="4381564"/>
            <a:ext cx="3566160" cy="1792224"/>
          </a:xfrm>
          <a:solidFill>
            <a:schemeClr val="bg1">
              <a:lumMod val="75000"/>
            </a:schemeClr>
          </a:solidFill>
        </p:spPr>
        <p:txBody>
          <a:bodyPr/>
          <a:lstStyle>
            <a:lvl1pPr>
              <a:defRPr b="0" i="0"/>
            </a:lvl1pPr>
          </a:lstStyle>
          <a:p>
            <a:r>
              <a:rPr lang="en-US"/>
              <a:t>Click icon to add picture</a:t>
            </a:r>
          </a:p>
        </p:txBody>
      </p:sp>
      <p:sp>
        <p:nvSpPr>
          <p:cNvPr id="13" name="Picture Placeholder 2">
            <a:extLst>
              <a:ext uri="{FF2B5EF4-FFF2-40B4-BE49-F238E27FC236}">
                <a16:creationId xmlns:a16="http://schemas.microsoft.com/office/drawing/2014/main" id="{AFD990AB-ACE0-4A42-A609-BCEFB37198E1}"/>
              </a:ext>
            </a:extLst>
          </p:cNvPr>
          <p:cNvSpPr>
            <a:spLocks noGrp="1"/>
          </p:cNvSpPr>
          <p:nvPr>
            <p:ph type="pic" sz="quarter" idx="16"/>
          </p:nvPr>
        </p:nvSpPr>
        <p:spPr>
          <a:xfrm>
            <a:off x="8153400" y="4381564"/>
            <a:ext cx="3566160" cy="1792224"/>
          </a:xfrm>
          <a:solidFill>
            <a:schemeClr val="bg1">
              <a:lumMod val="75000"/>
            </a:schemeClr>
          </a:solidFill>
        </p:spPr>
        <p:txBody>
          <a:bodyPr/>
          <a:lstStyle>
            <a:lvl1pPr>
              <a:defRPr b="0" i="0"/>
            </a:lvl1pPr>
          </a:lstStyle>
          <a:p>
            <a:r>
              <a:rPr lang="en-US"/>
              <a:t>Click icon to add picture</a:t>
            </a:r>
          </a:p>
        </p:txBody>
      </p:sp>
      <p:sp>
        <p:nvSpPr>
          <p:cNvPr id="14" name="Content Placeholder 2">
            <a:extLst>
              <a:ext uri="{FF2B5EF4-FFF2-40B4-BE49-F238E27FC236}">
                <a16:creationId xmlns:a16="http://schemas.microsoft.com/office/drawing/2014/main" id="{A66AD08B-206E-634A-B326-C0DE8B4BE5B3}"/>
              </a:ext>
            </a:extLst>
          </p:cNvPr>
          <p:cNvSpPr>
            <a:spLocks noGrp="1"/>
          </p:cNvSpPr>
          <p:nvPr>
            <p:ph idx="17"/>
          </p:nvPr>
        </p:nvSpPr>
        <p:spPr>
          <a:xfrm>
            <a:off x="457200" y="2039112"/>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771067FC-36A2-F44C-B497-DC38C53F0F31}"/>
              </a:ext>
            </a:extLst>
          </p:cNvPr>
          <p:cNvSpPr>
            <a:spLocks noGrp="1"/>
          </p:cNvSpPr>
          <p:nvPr>
            <p:ph idx="18"/>
          </p:nvPr>
        </p:nvSpPr>
        <p:spPr>
          <a:xfrm>
            <a:off x="4306824" y="2039112"/>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5D764F8E-800B-4341-9CB7-1DC35591B616}"/>
              </a:ext>
            </a:extLst>
          </p:cNvPr>
          <p:cNvSpPr>
            <a:spLocks noGrp="1"/>
          </p:cNvSpPr>
          <p:nvPr>
            <p:ph idx="19"/>
          </p:nvPr>
        </p:nvSpPr>
        <p:spPr>
          <a:xfrm>
            <a:off x="8153400" y="2039112"/>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FEF715A3-960E-93DD-35FD-1CBD7F907BE8}"/>
              </a:ext>
            </a:extLst>
          </p:cNvPr>
          <p:cNvSpPr>
            <a:spLocks noGrp="1"/>
          </p:cNvSpPr>
          <p:nvPr>
            <p:ph type="ftr" sz="quarter" idx="2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2533011912"/>
      </p:ext>
    </p:extLst>
  </p:cSld>
  <p:clrMapOvr>
    <a:masterClrMapping/>
  </p:clrMapOvr>
  <p:transition spd="slow"/>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s - 2 Chapters 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70BE56-AFAF-4CD1-8444-B79DDCE8BC73}"/>
              </a:ext>
            </a:extLst>
          </p:cNvPr>
          <p:cNvSpPr>
            <a:spLocks noGrp="1"/>
          </p:cNvSpPr>
          <p:nvPr>
            <p:ph type="title"/>
          </p:nvPr>
        </p:nvSpPr>
        <p:spPr/>
        <p:txBody>
          <a:bodyPr anchor="b"/>
          <a:lstStyle/>
          <a:p>
            <a:r>
              <a:rPr lang="en-US"/>
              <a:t>Click to edit Master title style</a:t>
            </a:r>
            <a:endParaRPr lang="fr-BE"/>
          </a:p>
        </p:txBody>
      </p:sp>
      <p:sp>
        <p:nvSpPr>
          <p:cNvPr id="5" name="Footer Placeholder 4">
            <a:extLst>
              <a:ext uri="{FF2B5EF4-FFF2-40B4-BE49-F238E27FC236}">
                <a16:creationId xmlns:a16="http://schemas.microsoft.com/office/drawing/2014/main" id="{7D5DA016-2634-427D-87D9-40B8ADD1E4DA}"/>
              </a:ext>
            </a:extLst>
          </p:cNvPr>
          <p:cNvSpPr>
            <a:spLocks noGrp="1"/>
          </p:cNvSpPr>
          <p:nvPr>
            <p:ph type="ftr" sz="quarter" idx="11"/>
          </p:nvPr>
        </p:nvSpPr>
        <p:spPr>
          <a:xfrm>
            <a:off x="839416" y="6349531"/>
            <a:ext cx="3401588" cy="153888"/>
          </a:xfrm>
        </p:spPr>
        <p:txBody>
          <a:bodyPr/>
          <a:lstStyle/>
          <a:p>
            <a:r>
              <a:rPr lang="fr-BE"/>
              <a:t>Title of the presentation</a:t>
            </a:r>
          </a:p>
        </p:txBody>
      </p:sp>
      <p:sp>
        <p:nvSpPr>
          <p:cNvPr id="6" name="Slide Number Placeholder 5">
            <a:extLst>
              <a:ext uri="{FF2B5EF4-FFF2-40B4-BE49-F238E27FC236}">
                <a16:creationId xmlns:a16="http://schemas.microsoft.com/office/drawing/2014/main" id="{5ABCE68F-B38C-4691-92D9-EBF2E4A29960}"/>
              </a:ext>
            </a:extLst>
          </p:cNvPr>
          <p:cNvSpPr>
            <a:spLocks noGrp="1"/>
          </p:cNvSpPr>
          <p:nvPr>
            <p:ph type="sldNum" sz="quarter" idx="12"/>
          </p:nvPr>
        </p:nvSpPr>
        <p:spPr/>
        <p:txBody>
          <a:bodyPr/>
          <a:lstStyle/>
          <a:p>
            <a:fld id="{820150FD-603F-44AF-ADBB-D2D9D0B3C68D}" type="slidenum">
              <a:rPr lang="fr-BE" smtClean="0"/>
              <a:t>‹#›</a:t>
            </a:fld>
            <a:endParaRPr lang="fr-BE"/>
          </a:p>
        </p:txBody>
      </p:sp>
      <p:sp>
        <p:nvSpPr>
          <p:cNvPr id="9" name="Text Placeholder 8">
            <a:extLst>
              <a:ext uri="{FF2B5EF4-FFF2-40B4-BE49-F238E27FC236}">
                <a16:creationId xmlns:a16="http://schemas.microsoft.com/office/drawing/2014/main" id="{96DF4BB3-4BBE-459F-9A3D-6902F3A2F80C}"/>
              </a:ext>
            </a:extLst>
          </p:cNvPr>
          <p:cNvSpPr>
            <a:spLocks noGrp="1"/>
          </p:cNvSpPr>
          <p:nvPr>
            <p:ph type="body" sz="quarter" idx="13"/>
          </p:nvPr>
        </p:nvSpPr>
        <p:spPr>
          <a:xfrm>
            <a:off x="371475" y="945479"/>
            <a:ext cx="11449050" cy="360099"/>
          </a:xfrm>
        </p:spPr>
        <p:txBody>
          <a:bodyPr rIns="0">
            <a:spAutoFit/>
          </a:bodyPr>
          <a:lstStyle>
            <a:lvl1pPr marL="0" indent="0">
              <a:buNone/>
              <a:defRPr sz="2600" b="0">
                <a:solidFill>
                  <a:schemeClr val="accent1"/>
                </a:solidFill>
              </a:defRPr>
            </a:lvl1pPr>
          </a:lstStyle>
          <a:p>
            <a:pPr lvl="0"/>
            <a:r>
              <a:rPr lang="en-US"/>
              <a:t>Click to edit Master text styles</a:t>
            </a:r>
          </a:p>
        </p:txBody>
      </p:sp>
      <p:sp>
        <p:nvSpPr>
          <p:cNvPr id="13" name="Text Placeholder 8">
            <a:extLst>
              <a:ext uri="{FF2B5EF4-FFF2-40B4-BE49-F238E27FC236}">
                <a16:creationId xmlns:a16="http://schemas.microsoft.com/office/drawing/2014/main" id="{2B2907A2-432F-42D2-96E3-CC564DEAAD46}"/>
              </a:ext>
            </a:extLst>
          </p:cNvPr>
          <p:cNvSpPr>
            <a:spLocks noGrp="1"/>
          </p:cNvSpPr>
          <p:nvPr>
            <p:ph type="body" sz="quarter" idx="15"/>
          </p:nvPr>
        </p:nvSpPr>
        <p:spPr>
          <a:xfrm>
            <a:off x="1330772" y="2915820"/>
            <a:ext cx="10489753"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14" name="Text Placeholder 8">
            <a:extLst>
              <a:ext uri="{FF2B5EF4-FFF2-40B4-BE49-F238E27FC236}">
                <a16:creationId xmlns:a16="http://schemas.microsoft.com/office/drawing/2014/main" id="{76924CEC-C8B2-4028-A9D6-A30951AFD283}"/>
              </a:ext>
            </a:extLst>
          </p:cNvPr>
          <p:cNvSpPr>
            <a:spLocks noGrp="1"/>
          </p:cNvSpPr>
          <p:nvPr>
            <p:ph type="body" sz="quarter" idx="16" hasCustomPrompt="1"/>
          </p:nvPr>
        </p:nvSpPr>
        <p:spPr>
          <a:xfrm>
            <a:off x="374822" y="2564787"/>
            <a:ext cx="740587" cy="720197"/>
          </a:xfrm>
        </p:spPr>
        <p:txBody>
          <a:bodyPr wrap="none" rIns="0" anchor="b">
            <a:spAutoFit/>
          </a:bodyPr>
          <a:lstStyle>
            <a:lvl1pPr marL="0" indent="0" algn="l">
              <a:buNone/>
              <a:defRPr sz="5200" b="1">
                <a:solidFill>
                  <a:schemeClr val="accent1"/>
                </a:solidFill>
              </a:defRPr>
            </a:lvl1pPr>
          </a:lstStyle>
          <a:p>
            <a:pPr lvl="0"/>
            <a:r>
              <a:rPr lang="en-US"/>
              <a:t>##</a:t>
            </a:r>
            <a:endParaRPr lang="fr-BE"/>
          </a:p>
        </p:txBody>
      </p:sp>
      <p:sp>
        <p:nvSpPr>
          <p:cNvPr id="20" name="Text Placeholder 8">
            <a:extLst>
              <a:ext uri="{FF2B5EF4-FFF2-40B4-BE49-F238E27FC236}">
                <a16:creationId xmlns:a16="http://schemas.microsoft.com/office/drawing/2014/main" id="{61BD2841-28A9-483D-B724-6F7200EA54E1}"/>
              </a:ext>
            </a:extLst>
          </p:cNvPr>
          <p:cNvSpPr>
            <a:spLocks noGrp="1"/>
          </p:cNvSpPr>
          <p:nvPr>
            <p:ph type="body" sz="quarter" idx="19"/>
          </p:nvPr>
        </p:nvSpPr>
        <p:spPr>
          <a:xfrm>
            <a:off x="1330772" y="4212081"/>
            <a:ext cx="10489753" cy="276999"/>
          </a:xfrm>
        </p:spPr>
        <p:txBody>
          <a:bodyPr rIns="0" anchor="b">
            <a:spAutoFit/>
          </a:bodyPr>
          <a:lstStyle>
            <a:lvl1pPr marL="0" indent="0">
              <a:buNone/>
              <a:defRPr sz="2000" b="0">
                <a:solidFill>
                  <a:schemeClr val="tx1"/>
                </a:solidFill>
              </a:defRPr>
            </a:lvl1pPr>
          </a:lstStyle>
          <a:p>
            <a:pPr lvl="0"/>
            <a:r>
              <a:rPr lang="en-US"/>
              <a:t>Click to edit Master text styles</a:t>
            </a:r>
          </a:p>
        </p:txBody>
      </p:sp>
      <p:sp>
        <p:nvSpPr>
          <p:cNvPr id="21" name="Text Placeholder 8">
            <a:extLst>
              <a:ext uri="{FF2B5EF4-FFF2-40B4-BE49-F238E27FC236}">
                <a16:creationId xmlns:a16="http://schemas.microsoft.com/office/drawing/2014/main" id="{6E3F7BD7-968B-4062-B124-EEF487AD0EBB}"/>
              </a:ext>
            </a:extLst>
          </p:cNvPr>
          <p:cNvSpPr>
            <a:spLocks noGrp="1"/>
          </p:cNvSpPr>
          <p:nvPr>
            <p:ph type="body" sz="quarter" idx="20" hasCustomPrompt="1"/>
          </p:nvPr>
        </p:nvSpPr>
        <p:spPr>
          <a:xfrm>
            <a:off x="374822" y="3861048"/>
            <a:ext cx="740587" cy="720197"/>
          </a:xfrm>
        </p:spPr>
        <p:txBody>
          <a:bodyPr wrap="none" rIns="0" anchor="b">
            <a:spAutoFit/>
          </a:bodyPr>
          <a:lstStyle>
            <a:lvl1pPr marL="0" indent="0" algn="l">
              <a:buNone/>
              <a:defRPr sz="5200" b="1">
                <a:solidFill>
                  <a:schemeClr val="accent1">
                    <a:alpha val="40000"/>
                  </a:schemeClr>
                </a:solidFill>
              </a:defRPr>
            </a:lvl1pPr>
          </a:lstStyle>
          <a:p>
            <a:pPr lvl="0"/>
            <a:r>
              <a:rPr lang="en-US"/>
              <a:t>##</a:t>
            </a:r>
            <a:endParaRPr lang="fr-BE"/>
          </a:p>
        </p:txBody>
      </p:sp>
      <p:sp>
        <p:nvSpPr>
          <p:cNvPr id="28" name="Text Placeholder 8">
            <a:extLst>
              <a:ext uri="{FF2B5EF4-FFF2-40B4-BE49-F238E27FC236}">
                <a16:creationId xmlns:a16="http://schemas.microsoft.com/office/drawing/2014/main" id="{0A39934C-B52C-4EFF-90AD-F58A818C8CF7}"/>
              </a:ext>
            </a:extLst>
          </p:cNvPr>
          <p:cNvSpPr>
            <a:spLocks noGrp="1"/>
          </p:cNvSpPr>
          <p:nvPr>
            <p:ph type="body" sz="quarter" idx="27" hasCustomPrompt="1"/>
          </p:nvPr>
        </p:nvSpPr>
        <p:spPr>
          <a:xfrm>
            <a:off x="4439816" y="6349531"/>
            <a:ext cx="6120678" cy="153888"/>
          </a:xfrm>
        </p:spPr>
        <p:txBody>
          <a:bodyPr wrap="square" rIns="0" anchor="b">
            <a:spAutoFit/>
          </a:bodyPr>
          <a:lstStyle>
            <a:lvl1pPr marL="0" indent="0" algn="r">
              <a:lnSpc>
                <a:spcPct val="100000"/>
              </a:lnSpc>
              <a:spcBef>
                <a:spcPts val="600"/>
              </a:spcBef>
              <a:buNone/>
              <a:defRPr sz="1000" b="0">
                <a:solidFill>
                  <a:schemeClr val="accent5"/>
                </a:solidFill>
              </a:defRPr>
            </a:lvl1pPr>
          </a:lstStyle>
          <a:p>
            <a:pPr lvl="0"/>
            <a:r>
              <a:rPr lang="en-US"/>
              <a:t>Click to edit Master text styles</a:t>
            </a:r>
            <a:endParaRPr lang="fr-BE"/>
          </a:p>
        </p:txBody>
      </p:sp>
    </p:spTree>
    <p:extLst>
      <p:ext uri="{BB962C8B-B14F-4D97-AF65-F5344CB8AC3E}">
        <p14:creationId xmlns:p14="http://schemas.microsoft.com/office/powerpoint/2010/main" val="40326083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and Subtitle – 3 Column 3 Image Under">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2580"/>
          </a:xfrm>
        </p:spPr>
        <p:txBody>
          <a:bodyPr wrap="square"/>
          <a:lstStyle>
            <a:lvl1pPr>
              <a:defRPr>
                <a:solidFill>
                  <a:schemeClr val="accent1"/>
                </a:solidFill>
              </a:defRPr>
            </a:lvl1pPr>
          </a:lstStyle>
          <a:p>
            <a:r>
              <a:rPr lang="en-US"/>
              <a:t>Click to edit Master title style</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3" name="Picture Placeholder 2">
            <a:extLst>
              <a:ext uri="{FF2B5EF4-FFF2-40B4-BE49-F238E27FC236}">
                <a16:creationId xmlns:a16="http://schemas.microsoft.com/office/drawing/2014/main" id="{FCAD1737-8888-5446-9E4C-0C08B4B9426F}"/>
              </a:ext>
            </a:extLst>
          </p:cNvPr>
          <p:cNvSpPr>
            <a:spLocks noGrp="1"/>
          </p:cNvSpPr>
          <p:nvPr>
            <p:ph type="pic" sz="quarter" idx="14"/>
          </p:nvPr>
        </p:nvSpPr>
        <p:spPr>
          <a:xfrm>
            <a:off x="457200" y="4381564"/>
            <a:ext cx="3566160" cy="1792224"/>
          </a:xfrm>
          <a:solidFill>
            <a:schemeClr val="bg1">
              <a:lumMod val="75000"/>
            </a:schemeClr>
          </a:solidFill>
        </p:spPr>
        <p:txBody>
          <a:bodyPr/>
          <a:lstStyle>
            <a:lvl1pPr>
              <a:defRPr b="0" i="0"/>
            </a:lvl1pPr>
          </a:lstStyle>
          <a:p>
            <a:r>
              <a:rPr lang="en-US"/>
              <a:t>Click icon to add picture</a:t>
            </a:r>
          </a:p>
        </p:txBody>
      </p:sp>
      <p:sp>
        <p:nvSpPr>
          <p:cNvPr id="12" name="Picture Placeholder 2">
            <a:extLst>
              <a:ext uri="{FF2B5EF4-FFF2-40B4-BE49-F238E27FC236}">
                <a16:creationId xmlns:a16="http://schemas.microsoft.com/office/drawing/2014/main" id="{D3A0190D-73D9-774A-81C8-FD0C29CAD359}"/>
              </a:ext>
            </a:extLst>
          </p:cNvPr>
          <p:cNvSpPr>
            <a:spLocks noGrp="1"/>
          </p:cNvSpPr>
          <p:nvPr>
            <p:ph type="pic" sz="quarter" idx="15"/>
          </p:nvPr>
        </p:nvSpPr>
        <p:spPr>
          <a:xfrm>
            <a:off x="4306824" y="4381564"/>
            <a:ext cx="3566160" cy="1792224"/>
          </a:xfrm>
          <a:solidFill>
            <a:schemeClr val="bg1">
              <a:lumMod val="75000"/>
            </a:schemeClr>
          </a:solidFill>
        </p:spPr>
        <p:txBody>
          <a:bodyPr/>
          <a:lstStyle>
            <a:lvl1pPr>
              <a:defRPr b="0" i="0"/>
            </a:lvl1pPr>
          </a:lstStyle>
          <a:p>
            <a:r>
              <a:rPr lang="en-US"/>
              <a:t>Click icon to add picture</a:t>
            </a:r>
          </a:p>
        </p:txBody>
      </p:sp>
      <p:sp>
        <p:nvSpPr>
          <p:cNvPr id="13" name="Picture Placeholder 2">
            <a:extLst>
              <a:ext uri="{FF2B5EF4-FFF2-40B4-BE49-F238E27FC236}">
                <a16:creationId xmlns:a16="http://schemas.microsoft.com/office/drawing/2014/main" id="{31306D51-C748-C44C-939E-C78317BC56F1}"/>
              </a:ext>
            </a:extLst>
          </p:cNvPr>
          <p:cNvSpPr>
            <a:spLocks noGrp="1"/>
          </p:cNvSpPr>
          <p:nvPr>
            <p:ph type="pic" sz="quarter" idx="16"/>
          </p:nvPr>
        </p:nvSpPr>
        <p:spPr>
          <a:xfrm>
            <a:off x="8156448" y="4381564"/>
            <a:ext cx="3566160" cy="1792224"/>
          </a:xfrm>
          <a:solidFill>
            <a:schemeClr val="bg1">
              <a:lumMod val="75000"/>
            </a:schemeClr>
          </a:solidFill>
        </p:spPr>
        <p:txBody>
          <a:bodyPr/>
          <a:lstStyle>
            <a:lvl1pPr>
              <a:defRPr b="0" i="0"/>
            </a:lvl1pPr>
          </a:lstStyle>
          <a:p>
            <a:r>
              <a:rPr lang="en-US"/>
              <a:t>Click icon to add picture</a:t>
            </a:r>
          </a:p>
        </p:txBody>
      </p:sp>
      <p:sp>
        <p:nvSpPr>
          <p:cNvPr id="14" name="Content Placeholder 2">
            <a:extLst>
              <a:ext uri="{FF2B5EF4-FFF2-40B4-BE49-F238E27FC236}">
                <a16:creationId xmlns:a16="http://schemas.microsoft.com/office/drawing/2014/main" id="{0C272533-269E-8E4A-9AA5-8268D80DC7EC}"/>
              </a:ext>
            </a:extLst>
          </p:cNvPr>
          <p:cNvSpPr>
            <a:spLocks noGrp="1"/>
          </p:cNvSpPr>
          <p:nvPr>
            <p:ph idx="17"/>
          </p:nvPr>
        </p:nvSpPr>
        <p:spPr>
          <a:xfrm>
            <a:off x="457200" y="2039112"/>
            <a:ext cx="3566160" cy="2075688"/>
          </a:xfrm>
        </p:spPr>
        <p:txBody>
          <a:bodyPr wrap="square"/>
          <a:lstStyle>
            <a:lvl1pPr>
              <a:buClr>
                <a:srgbClr val="2A7DE1"/>
              </a:buClr>
              <a:defRPr b="0" i="0">
                <a:solidFill>
                  <a:srgbClr val="3F403F"/>
                </a:solidFill>
              </a:defRPr>
            </a:lvl1pPr>
            <a:lvl2pPr>
              <a:buClr>
                <a:srgbClr val="2A7DE1"/>
              </a:buClr>
              <a:defRPr b="0" i="0">
                <a:solidFill>
                  <a:srgbClr val="3F403F"/>
                </a:solidFill>
              </a:defRPr>
            </a:lvl2pPr>
            <a:lvl3pPr>
              <a:buClr>
                <a:srgbClr val="2A7DE1"/>
              </a:buClr>
              <a:defRPr b="0" i="0">
                <a:solidFill>
                  <a:srgbClr val="3F403F"/>
                </a:solidFill>
              </a:defRPr>
            </a:lvl3pPr>
            <a:lvl4pPr>
              <a:buClr>
                <a:srgbClr val="2A7DE1"/>
              </a:buClr>
              <a:defRPr b="0" i="0">
                <a:solidFill>
                  <a:srgbClr val="3F403F"/>
                </a:solidFill>
              </a:defRPr>
            </a:lvl4pPr>
            <a:lvl5pPr>
              <a:buClr>
                <a:srgbClr val="2A7DE1"/>
              </a:buClr>
              <a:defRPr b="0" i="0">
                <a:solidFill>
                  <a:srgbClr val="3F403F"/>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B6132535-5056-3B44-9ED1-182759174D78}"/>
              </a:ext>
            </a:extLst>
          </p:cNvPr>
          <p:cNvSpPr>
            <a:spLocks noGrp="1"/>
          </p:cNvSpPr>
          <p:nvPr>
            <p:ph idx="18"/>
          </p:nvPr>
        </p:nvSpPr>
        <p:spPr>
          <a:xfrm>
            <a:off x="4306824" y="2039112"/>
            <a:ext cx="3566160" cy="2075688"/>
          </a:xfrm>
        </p:spPr>
        <p:txBody>
          <a:bodyPr wrap="square"/>
          <a:lstStyle>
            <a:lvl1pPr>
              <a:buClr>
                <a:srgbClr val="2A7DE1"/>
              </a:buClr>
              <a:defRPr b="0" i="0">
                <a:solidFill>
                  <a:srgbClr val="3F403F"/>
                </a:solidFill>
              </a:defRPr>
            </a:lvl1pPr>
            <a:lvl2pPr>
              <a:buClr>
                <a:srgbClr val="2A7DE1"/>
              </a:buClr>
              <a:defRPr b="0" i="0">
                <a:solidFill>
                  <a:srgbClr val="3F403F"/>
                </a:solidFill>
              </a:defRPr>
            </a:lvl2pPr>
            <a:lvl3pPr>
              <a:buClr>
                <a:srgbClr val="2A7DE1"/>
              </a:buClr>
              <a:defRPr b="0" i="0">
                <a:solidFill>
                  <a:srgbClr val="3F403F"/>
                </a:solidFill>
              </a:defRPr>
            </a:lvl3pPr>
            <a:lvl4pPr>
              <a:buClr>
                <a:srgbClr val="2A7DE1"/>
              </a:buClr>
              <a:defRPr b="0" i="0">
                <a:solidFill>
                  <a:srgbClr val="3F403F"/>
                </a:solidFill>
              </a:defRPr>
            </a:lvl4pPr>
            <a:lvl5pPr>
              <a:buClr>
                <a:srgbClr val="2A7DE1"/>
              </a:buClr>
              <a:defRPr b="0" i="0">
                <a:solidFill>
                  <a:srgbClr val="3F403F"/>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2">
            <a:extLst>
              <a:ext uri="{FF2B5EF4-FFF2-40B4-BE49-F238E27FC236}">
                <a16:creationId xmlns:a16="http://schemas.microsoft.com/office/drawing/2014/main" id="{890BE23F-01E0-B943-B18E-287A5001F86C}"/>
              </a:ext>
            </a:extLst>
          </p:cNvPr>
          <p:cNvSpPr>
            <a:spLocks noGrp="1"/>
          </p:cNvSpPr>
          <p:nvPr>
            <p:ph idx="19"/>
          </p:nvPr>
        </p:nvSpPr>
        <p:spPr>
          <a:xfrm>
            <a:off x="8153400" y="2039112"/>
            <a:ext cx="3566160" cy="2075688"/>
          </a:xfrm>
        </p:spPr>
        <p:txBody>
          <a:bodyPr wrap="square"/>
          <a:lstStyle>
            <a:lvl1pPr>
              <a:buClr>
                <a:srgbClr val="2A7DE1"/>
              </a:buClr>
              <a:defRPr b="0" i="0">
                <a:solidFill>
                  <a:schemeClr val="tx1"/>
                </a:solidFill>
              </a:defRPr>
            </a:lvl1pPr>
            <a:lvl2pPr>
              <a:buClr>
                <a:srgbClr val="2A7DE1"/>
              </a:buClr>
              <a:defRPr b="0" i="0">
                <a:solidFill>
                  <a:schemeClr val="tx1"/>
                </a:solidFill>
              </a:defRPr>
            </a:lvl2pPr>
            <a:lvl3pPr>
              <a:buClr>
                <a:srgbClr val="2A7DE1"/>
              </a:buClr>
              <a:defRPr b="0" i="0">
                <a:solidFill>
                  <a:schemeClr val="tx1"/>
                </a:solidFill>
              </a:defRPr>
            </a:lvl3pPr>
            <a:lvl4pPr>
              <a:buClr>
                <a:srgbClr val="2A7DE1"/>
              </a:buClr>
              <a:defRPr b="0" i="0">
                <a:solidFill>
                  <a:schemeClr val="tx1"/>
                </a:solidFill>
              </a:defRPr>
            </a:lvl4pPr>
            <a:lvl5pPr>
              <a:buClr>
                <a:srgbClr val="2A7DE1"/>
              </a:buClr>
              <a:defRPr b="0" i="0">
                <a:solidFill>
                  <a:schemeClr val="tx1"/>
                </a:solidFill>
              </a:defRPr>
            </a:lvl5pPr>
            <a:lvl6pPr>
              <a:buClr>
                <a:srgbClr val="2A7DE1"/>
              </a:buClr>
              <a:defRPr>
                <a:solidFill>
                  <a:srgbClr val="3F403F"/>
                </a:solidFill>
              </a:defRPr>
            </a:lvl6pPr>
            <a:lvl7pPr>
              <a:buClr>
                <a:srgbClr val="2A7DE1"/>
              </a:buClr>
              <a:defRPr>
                <a:solidFill>
                  <a:srgbClr val="3F403F"/>
                </a:solidFill>
              </a:defRPr>
            </a:lvl7pPr>
            <a:lvl8pPr>
              <a:buClr>
                <a:srgbClr val="2A7DE1"/>
              </a:buClr>
              <a:defRPr>
                <a:solidFill>
                  <a:srgbClr val="3F403F"/>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a:extLst>
              <a:ext uri="{FF2B5EF4-FFF2-40B4-BE49-F238E27FC236}">
                <a16:creationId xmlns:a16="http://schemas.microsoft.com/office/drawing/2014/main" id="{34F9C9CF-627E-0589-735F-FD9387C4DE97}"/>
              </a:ext>
            </a:extLst>
          </p:cNvPr>
          <p:cNvSpPr>
            <a:spLocks noGrp="1"/>
          </p:cNvSpPr>
          <p:nvPr>
            <p:ph type="ftr" sz="quarter" idx="2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1801942060"/>
      </p:ext>
    </p:extLst>
  </p:cSld>
  <p:clrMapOvr>
    <a:masterClrMapping/>
  </p:clrMapOvr>
  <p:transition spd="slow"/>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wo Line Title – Chart">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3" name="Chart Placeholder 2">
            <a:extLst>
              <a:ext uri="{FF2B5EF4-FFF2-40B4-BE49-F238E27FC236}">
                <a16:creationId xmlns:a16="http://schemas.microsoft.com/office/drawing/2014/main" id="{EFC878DA-6BD7-B048-A131-A2BA1574BE26}"/>
              </a:ext>
            </a:extLst>
          </p:cNvPr>
          <p:cNvSpPr>
            <a:spLocks noGrp="1"/>
          </p:cNvSpPr>
          <p:nvPr>
            <p:ph type="chart" sz="quarter" idx="12"/>
          </p:nvPr>
        </p:nvSpPr>
        <p:spPr>
          <a:xfrm>
            <a:off x="457200" y="2039112"/>
            <a:ext cx="11277600" cy="4133087"/>
          </a:xfrm>
        </p:spPr>
        <p:txBody>
          <a:bodyPr/>
          <a:lstStyle>
            <a:lvl1pPr>
              <a:defRPr b="0" i="0"/>
            </a:lvl1pPr>
          </a:lstStyle>
          <a:p>
            <a:r>
              <a:rPr lang="en-US"/>
              <a:t>Click icon to add chart</a:t>
            </a:r>
          </a:p>
        </p:txBody>
      </p:sp>
      <p:sp>
        <p:nvSpPr>
          <p:cNvPr id="2" name="Footer Placeholder 1">
            <a:extLst>
              <a:ext uri="{FF2B5EF4-FFF2-40B4-BE49-F238E27FC236}">
                <a16:creationId xmlns:a16="http://schemas.microsoft.com/office/drawing/2014/main" id="{6311BBCB-6D38-B3B9-6285-26AD745DC89E}"/>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553034357"/>
      </p:ext>
    </p:extLst>
  </p:cSld>
  <p:clrMapOvr>
    <a:masterClrMapping/>
  </p:clrMapOvr>
  <p:transition spd="slow"/>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wo Line Title and Subtitle – Chart">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3" name="Chart Placeholder 2">
            <a:extLst>
              <a:ext uri="{FF2B5EF4-FFF2-40B4-BE49-F238E27FC236}">
                <a16:creationId xmlns:a16="http://schemas.microsoft.com/office/drawing/2014/main" id="{5E611C37-8406-3A47-B715-155932F80E39}"/>
              </a:ext>
            </a:extLst>
          </p:cNvPr>
          <p:cNvSpPr>
            <a:spLocks noGrp="1"/>
          </p:cNvSpPr>
          <p:nvPr>
            <p:ph type="chart" sz="quarter" idx="12"/>
          </p:nvPr>
        </p:nvSpPr>
        <p:spPr>
          <a:xfrm>
            <a:off x="457200" y="2039112"/>
            <a:ext cx="11277600" cy="4133087"/>
          </a:xfrm>
        </p:spPr>
        <p:txBody>
          <a:bodyPr/>
          <a:lstStyle>
            <a:lvl1pPr>
              <a:defRPr b="0" i="0"/>
            </a:lvl1pPr>
          </a:lstStyle>
          <a:p>
            <a:r>
              <a:rPr lang="en-US"/>
              <a:t>Click icon to add chart</a:t>
            </a:r>
          </a:p>
        </p:txBody>
      </p:sp>
      <p:sp>
        <p:nvSpPr>
          <p:cNvPr id="2" name="Footer Placeholder 1">
            <a:extLst>
              <a:ext uri="{FF2B5EF4-FFF2-40B4-BE49-F238E27FC236}">
                <a16:creationId xmlns:a16="http://schemas.microsoft.com/office/drawing/2014/main" id="{B1A9B3BE-70E8-81BE-F861-E94C292EA569}"/>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1205895276"/>
      </p:ext>
    </p:extLst>
  </p:cSld>
  <p:clrMapOvr>
    <a:masterClrMapping/>
  </p:clrMapOvr>
  <p:transition spd="slow"/>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Title and Subtitle – Chart">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2580"/>
          </a:xfrm>
        </p:spPr>
        <p:txBody>
          <a:bodyPr wrap="square"/>
          <a:lstStyle/>
          <a:p>
            <a:r>
              <a:rPr lang="en-US"/>
              <a:t>Click to edit Master title style</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3" name="Chart Placeholder 2">
            <a:extLst>
              <a:ext uri="{FF2B5EF4-FFF2-40B4-BE49-F238E27FC236}">
                <a16:creationId xmlns:a16="http://schemas.microsoft.com/office/drawing/2014/main" id="{C3C03B09-4395-CD4B-AD76-DF6BBFA725E8}"/>
              </a:ext>
            </a:extLst>
          </p:cNvPr>
          <p:cNvSpPr>
            <a:spLocks noGrp="1"/>
          </p:cNvSpPr>
          <p:nvPr>
            <p:ph type="chart" sz="quarter" idx="12"/>
          </p:nvPr>
        </p:nvSpPr>
        <p:spPr>
          <a:xfrm>
            <a:off x="457200" y="2039112"/>
            <a:ext cx="11277600" cy="4133087"/>
          </a:xfrm>
        </p:spPr>
        <p:txBody>
          <a:bodyPr/>
          <a:lstStyle>
            <a:lvl1pPr>
              <a:defRPr b="0" i="0"/>
            </a:lvl1pPr>
          </a:lstStyle>
          <a:p>
            <a:r>
              <a:rPr lang="en-US"/>
              <a:t>Click icon to add chart</a:t>
            </a:r>
          </a:p>
        </p:txBody>
      </p:sp>
      <p:sp>
        <p:nvSpPr>
          <p:cNvPr id="2" name="Footer Placeholder 1">
            <a:extLst>
              <a:ext uri="{FF2B5EF4-FFF2-40B4-BE49-F238E27FC236}">
                <a16:creationId xmlns:a16="http://schemas.microsoft.com/office/drawing/2014/main" id="{E7DB8629-EE34-433D-B9A1-175A523FF689}"/>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1766603934"/>
      </p:ext>
    </p:extLst>
  </p:cSld>
  <p:clrMapOvr>
    <a:masterClrMapping/>
  </p:clrMapOvr>
  <p:transition spd="slow"/>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Two Line Title – Tabl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4" name="Table Placeholder 3">
            <a:extLst>
              <a:ext uri="{FF2B5EF4-FFF2-40B4-BE49-F238E27FC236}">
                <a16:creationId xmlns:a16="http://schemas.microsoft.com/office/drawing/2014/main" id="{C306B196-E7AC-7A46-B620-A0C4D90D2E05}"/>
              </a:ext>
            </a:extLst>
          </p:cNvPr>
          <p:cNvSpPr>
            <a:spLocks noGrp="1"/>
          </p:cNvSpPr>
          <p:nvPr>
            <p:ph type="tbl" sz="quarter" idx="12"/>
          </p:nvPr>
        </p:nvSpPr>
        <p:spPr>
          <a:xfrm>
            <a:off x="457200" y="2039112"/>
            <a:ext cx="11277600" cy="4133087"/>
          </a:xfrm>
        </p:spPr>
        <p:txBody>
          <a:bodyPr/>
          <a:lstStyle>
            <a:lvl1pPr>
              <a:defRPr b="0" i="0"/>
            </a:lvl1pPr>
          </a:lstStyle>
          <a:p>
            <a:r>
              <a:rPr lang="en-US"/>
              <a:t>Click icon to add table</a:t>
            </a:r>
          </a:p>
        </p:txBody>
      </p:sp>
      <p:sp>
        <p:nvSpPr>
          <p:cNvPr id="2" name="Footer Placeholder 1">
            <a:extLst>
              <a:ext uri="{FF2B5EF4-FFF2-40B4-BE49-F238E27FC236}">
                <a16:creationId xmlns:a16="http://schemas.microsoft.com/office/drawing/2014/main" id="{6270F4D0-2E6B-EAB2-13A3-BA6051F773FA}"/>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2262235108"/>
      </p:ext>
    </p:extLst>
  </p:cSld>
  <p:clrMapOvr>
    <a:masterClrMapping/>
  </p:clrMapOvr>
  <p:transition spd="slow"/>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Two Line Title and Subtitle – Tabl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4" name="Table Placeholder 3">
            <a:extLst>
              <a:ext uri="{FF2B5EF4-FFF2-40B4-BE49-F238E27FC236}">
                <a16:creationId xmlns:a16="http://schemas.microsoft.com/office/drawing/2014/main" id="{C5ABDC86-9062-D545-AA17-D30EF6E927DB}"/>
              </a:ext>
            </a:extLst>
          </p:cNvPr>
          <p:cNvSpPr>
            <a:spLocks noGrp="1"/>
          </p:cNvSpPr>
          <p:nvPr>
            <p:ph type="tbl" sz="quarter" idx="12"/>
          </p:nvPr>
        </p:nvSpPr>
        <p:spPr>
          <a:xfrm>
            <a:off x="457200" y="2039112"/>
            <a:ext cx="11277600" cy="4133087"/>
          </a:xfrm>
        </p:spPr>
        <p:txBody>
          <a:bodyPr/>
          <a:lstStyle>
            <a:lvl1pPr>
              <a:defRPr b="0" i="0"/>
            </a:lvl1pPr>
          </a:lstStyle>
          <a:p>
            <a:r>
              <a:rPr lang="en-US"/>
              <a:t>Click icon to add table</a:t>
            </a:r>
          </a:p>
        </p:txBody>
      </p:sp>
      <p:sp>
        <p:nvSpPr>
          <p:cNvPr id="2" name="Footer Placeholder 1">
            <a:extLst>
              <a:ext uri="{FF2B5EF4-FFF2-40B4-BE49-F238E27FC236}">
                <a16:creationId xmlns:a16="http://schemas.microsoft.com/office/drawing/2014/main" id="{A2C66342-509E-F494-EB30-EB1DEE04CA2A}"/>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1564051033"/>
      </p:ext>
    </p:extLst>
  </p:cSld>
  <p:clrMapOvr>
    <a:masterClrMapping/>
  </p:clrMapOvr>
  <p:transition spd="slow"/>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and Subtitle – Table">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2580"/>
          </a:xfrm>
        </p:spPr>
        <p:txBody>
          <a:bodyPr wrap="square"/>
          <a:lstStyle/>
          <a:p>
            <a:r>
              <a:rPr lang="en-US"/>
              <a:t>Click to edit Master title style</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4" name="Table Placeholder 3">
            <a:extLst>
              <a:ext uri="{FF2B5EF4-FFF2-40B4-BE49-F238E27FC236}">
                <a16:creationId xmlns:a16="http://schemas.microsoft.com/office/drawing/2014/main" id="{6930647E-2E84-F647-AB63-F1E26C43D6D9}"/>
              </a:ext>
            </a:extLst>
          </p:cNvPr>
          <p:cNvSpPr>
            <a:spLocks noGrp="1"/>
          </p:cNvSpPr>
          <p:nvPr>
            <p:ph type="tbl" sz="quarter" idx="12"/>
          </p:nvPr>
        </p:nvSpPr>
        <p:spPr>
          <a:xfrm>
            <a:off x="457200" y="2039112"/>
            <a:ext cx="11277600" cy="4133087"/>
          </a:xfrm>
        </p:spPr>
        <p:txBody>
          <a:bodyPr/>
          <a:lstStyle>
            <a:lvl1pPr>
              <a:defRPr b="0" i="0"/>
            </a:lvl1pPr>
          </a:lstStyle>
          <a:p>
            <a:r>
              <a:rPr lang="en-US"/>
              <a:t>Click icon to add table</a:t>
            </a:r>
          </a:p>
        </p:txBody>
      </p:sp>
    </p:spTree>
    <p:extLst>
      <p:ext uri="{BB962C8B-B14F-4D97-AF65-F5344CB8AC3E}">
        <p14:creationId xmlns:p14="http://schemas.microsoft.com/office/powerpoint/2010/main" val="1633146652"/>
      </p:ext>
    </p:extLst>
  </p:cSld>
  <p:clrMapOvr>
    <a:masterClrMapping/>
  </p:clrMapOvr>
  <p:transition spd="slow"/>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Two Line Title – Imag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3" name="Picture Placeholder 2">
            <a:extLst>
              <a:ext uri="{FF2B5EF4-FFF2-40B4-BE49-F238E27FC236}">
                <a16:creationId xmlns:a16="http://schemas.microsoft.com/office/drawing/2014/main" id="{1EE8084A-4287-B64B-A3D5-AFFA0055BA8E}"/>
              </a:ext>
            </a:extLst>
          </p:cNvPr>
          <p:cNvSpPr>
            <a:spLocks noGrp="1"/>
          </p:cNvSpPr>
          <p:nvPr>
            <p:ph type="pic" sz="quarter" idx="12"/>
          </p:nvPr>
        </p:nvSpPr>
        <p:spPr>
          <a:xfrm>
            <a:off x="457200" y="2039112"/>
            <a:ext cx="11277600" cy="4133087"/>
          </a:xfrm>
          <a:solidFill>
            <a:schemeClr val="bg1">
              <a:lumMod val="75000"/>
            </a:schemeClr>
          </a:solidFill>
        </p:spPr>
        <p:txBody>
          <a:bodyPr/>
          <a:lstStyle>
            <a:lvl1pPr>
              <a:defRPr b="0" i="0"/>
            </a:lvl1pPr>
          </a:lstStyle>
          <a:p>
            <a:r>
              <a:rPr lang="en-US"/>
              <a:t>Click icon to add picture</a:t>
            </a:r>
          </a:p>
        </p:txBody>
      </p:sp>
      <p:sp>
        <p:nvSpPr>
          <p:cNvPr id="2" name="Footer Placeholder 1">
            <a:extLst>
              <a:ext uri="{FF2B5EF4-FFF2-40B4-BE49-F238E27FC236}">
                <a16:creationId xmlns:a16="http://schemas.microsoft.com/office/drawing/2014/main" id="{FADCE00E-0605-FE6D-149C-ED37864AB40A}"/>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146886992"/>
      </p:ext>
    </p:extLst>
  </p:cSld>
  <p:clrMapOvr>
    <a:masterClrMapping/>
  </p:clrMapOvr>
  <p:transition spd="slow"/>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Two Line Title and Subtitle – Image">
    <p:spTree>
      <p:nvGrpSpPr>
        <p:cNvPr id="1" name=""/>
        <p:cNvGrpSpPr/>
        <p:nvPr/>
      </p:nvGrpSpPr>
      <p:grpSpPr>
        <a:xfrm>
          <a:off x="0" y="0"/>
          <a:ext cx="0" cy="0"/>
          <a:chOff x="0" y="0"/>
          <a:chExt cx="0" cy="0"/>
        </a:xfrm>
      </p:grpSpPr>
      <p:sp>
        <p:nvSpPr>
          <p:cNvPr id="7" name="Title 1"/>
          <p:cNvSpPr>
            <a:spLocks noGrp="1"/>
          </p:cNvSpPr>
          <p:nvPr>
            <p:ph type="title" hasCustomPrompt="1"/>
          </p:nvPr>
        </p:nvSpPr>
        <p:spPr>
          <a:xfrm>
            <a:off x="457200" y="731520"/>
            <a:ext cx="8375904" cy="667512"/>
          </a:xfrm>
        </p:spPr>
        <p:txBody>
          <a:bodyPr wrap="square"/>
          <a:lstStyle/>
          <a:p>
            <a:r>
              <a:rPr lang="en-US"/>
              <a:t>Click to edit Master </a:t>
            </a:r>
            <a:br>
              <a:rPr lang="en-US"/>
            </a:br>
            <a:r>
              <a:rPr lang="en-US"/>
              <a:t>title style</a:t>
            </a:r>
          </a:p>
        </p:txBody>
      </p:sp>
      <p:sp>
        <p:nvSpPr>
          <p:cNvPr id="9" name="Text Placeholder 12"/>
          <p:cNvSpPr>
            <a:spLocks noGrp="1"/>
          </p:cNvSpPr>
          <p:nvPr>
            <p:ph type="body" sz="quarter" idx="10"/>
          </p:nvPr>
        </p:nvSpPr>
        <p:spPr>
          <a:xfrm>
            <a:off x="457200" y="1444752"/>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3" name="Picture Placeholder 2">
            <a:extLst>
              <a:ext uri="{FF2B5EF4-FFF2-40B4-BE49-F238E27FC236}">
                <a16:creationId xmlns:a16="http://schemas.microsoft.com/office/drawing/2014/main" id="{B5E70628-F739-E74D-B661-7B110FAA42DC}"/>
              </a:ext>
            </a:extLst>
          </p:cNvPr>
          <p:cNvSpPr>
            <a:spLocks noGrp="1"/>
          </p:cNvSpPr>
          <p:nvPr>
            <p:ph type="pic" sz="quarter" idx="12"/>
          </p:nvPr>
        </p:nvSpPr>
        <p:spPr>
          <a:xfrm>
            <a:off x="457200" y="2039112"/>
            <a:ext cx="11277600" cy="4133087"/>
          </a:xfrm>
          <a:solidFill>
            <a:schemeClr val="bg1">
              <a:lumMod val="75000"/>
            </a:schemeClr>
          </a:solidFill>
        </p:spPr>
        <p:txBody>
          <a:bodyPr/>
          <a:lstStyle>
            <a:lvl1pPr>
              <a:defRPr b="0" i="0"/>
            </a:lvl1pPr>
          </a:lstStyle>
          <a:p>
            <a:r>
              <a:rPr lang="en-US"/>
              <a:t>Click icon to add picture</a:t>
            </a:r>
          </a:p>
        </p:txBody>
      </p:sp>
      <p:sp>
        <p:nvSpPr>
          <p:cNvPr id="2" name="Footer Placeholder 1">
            <a:extLst>
              <a:ext uri="{FF2B5EF4-FFF2-40B4-BE49-F238E27FC236}">
                <a16:creationId xmlns:a16="http://schemas.microsoft.com/office/drawing/2014/main" id="{B84A4B06-F447-2D2A-2D4A-6E709DC629AC}"/>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4212122122"/>
      </p:ext>
    </p:extLst>
  </p:cSld>
  <p:clrMapOvr>
    <a:masterClrMapping/>
  </p:clrMapOvr>
  <p:transition spd="slow"/>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Title and Subtitle – Image">
    <p:spTree>
      <p:nvGrpSpPr>
        <p:cNvPr id="1" name=""/>
        <p:cNvGrpSpPr/>
        <p:nvPr/>
      </p:nvGrpSpPr>
      <p:grpSpPr>
        <a:xfrm>
          <a:off x="0" y="0"/>
          <a:ext cx="0" cy="0"/>
          <a:chOff x="0" y="0"/>
          <a:chExt cx="0" cy="0"/>
        </a:xfrm>
      </p:grpSpPr>
      <p:sp>
        <p:nvSpPr>
          <p:cNvPr id="7" name="Title 1"/>
          <p:cNvSpPr>
            <a:spLocks noGrp="1"/>
          </p:cNvSpPr>
          <p:nvPr>
            <p:ph type="title"/>
          </p:nvPr>
        </p:nvSpPr>
        <p:spPr>
          <a:xfrm>
            <a:off x="457200" y="731520"/>
            <a:ext cx="8375904" cy="302580"/>
          </a:xfrm>
        </p:spPr>
        <p:txBody>
          <a:bodyPr wrap="square"/>
          <a:lstStyle/>
          <a:p>
            <a:r>
              <a:rPr lang="en-US"/>
              <a:t>Click to edit Master title style</a:t>
            </a:r>
          </a:p>
        </p:txBody>
      </p:sp>
      <p:sp>
        <p:nvSpPr>
          <p:cNvPr id="9" name="Text Placeholder 12"/>
          <p:cNvSpPr>
            <a:spLocks noGrp="1"/>
          </p:cNvSpPr>
          <p:nvPr>
            <p:ph type="body" sz="quarter" idx="10"/>
          </p:nvPr>
        </p:nvSpPr>
        <p:spPr>
          <a:xfrm>
            <a:off x="457200" y="1106424"/>
            <a:ext cx="8375904" cy="319090"/>
          </a:xfrm>
        </p:spPr>
        <p:txBody>
          <a:bodyPr anchor="t" anchorCtr="0"/>
          <a:lstStyle>
            <a:lvl1pPr marL="0" indent="0">
              <a:buNone/>
              <a:defRPr sz="2000" b="0" i="0">
                <a:solidFill>
                  <a:schemeClr val="accent3"/>
                </a:solidFill>
                <a:latin typeface="Roboto Medium" panose="02000000000000000000" pitchFamily="2" charset="0"/>
                <a:ea typeface="Roboto Medium" panose="02000000000000000000" pitchFamily="2" charset="0"/>
              </a:defRPr>
            </a:lvl1pPr>
          </a:lstStyle>
          <a:p>
            <a:pPr lvl="0"/>
            <a:r>
              <a:rPr lang="en-US"/>
              <a:t>Click to edit Master text styles</a:t>
            </a:r>
          </a:p>
        </p:txBody>
      </p:sp>
      <p:sp>
        <p:nvSpPr>
          <p:cNvPr id="3" name="Picture Placeholder 2">
            <a:extLst>
              <a:ext uri="{FF2B5EF4-FFF2-40B4-BE49-F238E27FC236}">
                <a16:creationId xmlns:a16="http://schemas.microsoft.com/office/drawing/2014/main" id="{EE1CE73E-564C-3742-8772-BA467747C37E}"/>
              </a:ext>
            </a:extLst>
          </p:cNvPr>
          <p:cNvSpPr>
            <a:spLocks noGrp="1"/>
          </p:cNvSpPr>
          <p:nvPr>
            <p:ph type="pic" sz="quarter" idx="12"/>
          </p:nvPr>
        </p:nvSpPr>
        <p:spPr>
          <a:xfrm>
            <a:off x="457200" y="2039112"/>
            <a:ext cx="11277600" cy="4133087"/>
          </a:xfrm>
          <a:solidFill>
            <a:schemeClr val="bg1">
              <a:lumMod val="75000"/>
            </a:schemeClr>
          </a:solidFill>
        </p:spPr>
        <p:txBody>
          <a:bodyPr/>
          <a:lstStyle>
            <a:lvl1pPr>
              <a:defRPr b="0" i="0"/>
            </a:lvl1pPr>
          </a:lstStyle>
          <a:p>
            <a:r>
              <a:rPr lang="en-US"/>
              <a:t>Click icon to add picture</a:t>
            </a:r>
          </a:p>
        </p:txBody>
      </p:sp>
      <p:sp>
        <p:nvSpPr>
          <p:cNvPr id="2" name="Footer Placeholder 1">
            <a:extLst>
              <a:ext uri="{FF2B5EF4-FFF2-40B4-BE49-F238E27FC236}">
                <a16:creationId xmlns:a16="http://schemas.microsoft.com/office/drawing/2014/main" id="{2D45A486-9787-FA98-9898-5458F67AA274}"/>
              </a:ext>
            </a:extLst>
          </p:cNvPr>
          <p:cNvSpPr>
            <a:spLocks noGrp="1"/>
          </p:cNvSpPr>
          <p:nvPr>
            <p:ph type="ftr" sz="quarter" idx="13"/>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323659513"/>
      </p:ext>
    </p:extLst>
  </p:cSld>
  <p:clrMapOvr>
    <a:masterClrMapping/>
  </p:clrMapOvr>
  <p:transition spd="slow"/>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8.xml"/><Relationship Id="rId18" Type="http://schemas.openxmlformats.org/officeDocument/2006/relationships/slideLayout" Target="../slideLayouts/slideLayout43.xml"/><Relationship Id="rId26" Type="http://schemas.openxmlformats.org/officeDocument/2006/relationships/slideLayout" Target="../slideLayouts/slideLayout51.xml"/><Relationship Id="rId39" Type="http://schemas.openxmlformats.org/officeDocument/2006/relationships/image" Target="../media/image3.emf"/><Relationship Id="rId21" Type="http://schemas.openxmlformats.org/officeDocument/2006/relationships/slideLayout" Target="../slideLayouts/slideLayout46.xml"/><Relationship Id="rId34" Type="http://schemas.openxmlformats.org/officeDocument/2006/relationships/slideLayout" Target="../slideLayouts/slideLayout59.xml"/><Relationship Id="rId7" Type="http://schemas.openxmlformats.org/officeDocument/2006/relationships/slideLayout" Target="../slideLayouts/slideLayout3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slideLayout" Target="../slideLayouts/slideLayout45.xml"/><Relationship Id="rId29" Type="http://schemas.openxmlformats.org/officeDocument/2006/relationships/slideLayout" Target="../slideLayouts/slideLayout54.xml"/><Relationship Id="rId41" Type="http://schemas.openxmlformats.org/officeDocument/2006/relationships/image" Target="../media/image5.svg"/><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slideLayout" Target="../slideLayouts/slideLayout49.xml"/><Relationship Id="rId32" Type="http://schemas.openxmlformats.org/officeDocument/2006/relationships/slideLayout" Target="../slideLayouts/slideLayout57.xml"/><Relationship Id="rId37" Type="http://schemas.openxmlformats.org/officeDocument/2006/relationships/tags" Target="../tags/tag1.xml"/><Relationship Id="rId40" Type="http://schemas.openxmlformats.org/officeDocument/2006/relationships/image" Target="../media/image4.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slideLayout" Target="../slideLayouts/slideLayout48.xml"/><Relationship Id="rId28" Type="http://schemas.openxmlformats.org/officeDocument/2006/relationships/slideLayout" Target="../slideLayouts/slideLayout53.xml"/><Relationship Id="rId36" Type="http://schemas.openxmlformats.org/officeDocument/2006/relationships/theme" Target="../theme/theme2.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31" Type="http://schemas.openxmlformats.org/officeDocument/2006/relationships/slideLayout" Target="../slideLayouts/slideLayout56.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slideLayout" Target="../slideLayouts/slideLayout47.xml"/><Relationship Id="rId27" Type="http://schemas.openxmlformats.org/officeDocument/2006/relationships/slideLayout" Target="../slideLayouts/slideLayout52.xml"/><Relationship Id="rId30" Type="http://schemas.openxmlformats.org/officeDocument/2006/relationships/slideLayout" Target="../slideLayouts/slideLayout55.xml"/><Relationship Id="rId35" Type="http://schemas.openxmlformats.org/officeDocument/2006/relationships/slideLayout" Target="../slideLayouts/slideLayout60.xml"/><Relationship Id="rId8" Type="http://schemas.openxmlformats.org/officeDocument/2006/relationships/slideLayout" Target="../slideLayouts/slideLayout33.xml"/><Relationship Id="rId3" Type="http://schemas.openxmlformats.org/officeDocument/2006/relationships/slideLayout" Target="../slideLayouts/slideLayout28.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slideLayout" Target="../slideLayouts/slideLayout50.xml"/><Relationship Id="rId33" Type="http://schemas.openxmlformats.org/officeDocument/2006/relationships/slideLayout" Target="../slideLayouts/slideLayout58.xml"/><Relationship Id="rId38"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slideLayout" Target="../slideLayouts/slideLayout86.xml"/><Relationship Id="rId39" Type="http://schemas.openxmlformats.org/officeDocument/2006/relationships/slideLayout" Target="../slideLayouts/slideLayout99.xml"/><Relationship Id="rId21" Type="http://schemas.openxmlformats.org/officeDocument/2006/relationships/slideLayout" Target="../slideLayouts/slideLayout81.xml"/><Relationship Id="rId34" Type="http://schemas.openxmlformats.org/officeDocument/2006/relationships/slideLayout" Target="../slideLayouts/slideLayout94.xml"/><Relationship Id="rId42" Type="http://schemas.openxmlformats.org/officeDocument/2006/relationships/slideLayout" Target="../slideLayouts/slideLayout102.xml"/><Relationship Id="rId47" Type="http://schemas.openxmlformats.org/officeDocument/2006/relationships/slideLayout" Target="../slideLayouts/slideLayout107.xml"/><Relationship Id="rId50" Type="http://schemas.openxmlformats.org/officeDocument/2006/relationships/slideLayout" Target="../slideLayouts/slideLayout110.xml"/><Relationship Id="rId7" Type="http://schemas.openxmlformats.org/officeDocument/2006/relationships/slideLayout" Target="../slideLayouts/slideLayout67.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9" Type="http://schemas.openxmlformats.org/officeDocument/2006/relationships/slideLayout" Target="../slideLayouts/slideLayout89.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32" Type="http://schemas.openxmlformats.org/officeDocument/2006/relationships/slideLayout" Target="../slideLayouts/slideLayout92.xml"/><Relationship Id="rId37" Type="http://schemas.openxmlformats.org/officeDocument/2006/relationships/slideLayout" Target="../slideLayouts/slideLayout97.xml"/><Relationship Id="rId40" Type="http://schemas.openxmlformats.org/officeDocument/2006/relationships/slideLayout" Target="../slideLayouts/slideLayout100.xml"/><Relationship Id="rId45" Type="http://schemas.openxmlformats.org/officeDocument/2006/relationships/slideLayout" Target="../slideLayouts/slideLayout105.xml"/><Relationship Id="rId53" Type="http://schemas.openxmlformats.org/officeDocument/2006/relationships/image" Target="../media/image15.png"/><Relationship Id="rId5" Type="http://schemas.openxmlformats.org/officeDocument/2006/relationships/slideLayout" Target="../slideLayouts/slideLayout65.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31" Type="http://schemas.openxmlformats.org/officeDocument/2006/relationships/slideLayout" Target="../slideLayouts/slideLayout91.xml"/><Relationship Id="rId44" Type="http://schemas.openxmlformats.org/officeDocument/2006/relationships/slideLayout" Target="../slideLayouts/slideLayout104.xml"/><Relationship Id="rId52" Type="http://schemas.openxmlformats.org/officeDocument/2006/relationships/theme" Target="../theme/theme3.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 Id="rId27" Type="http://schemas.openxmlformats.org/officeDocument/2006/relationships/slideLayout" Target="../slideLayouts/slideLayout87.xml"/><Relationship Id="rId30" Type="http://schemas.openxmlformats.org/officeDocument/2006/relationships/slideLayout" Target="../slideLayouts/slideLayout90.xml"/><Relationship Id="rId35" Type="http://schemas.openxmlformats.org/officeDocument/2006/relationships/slideLayout" Target="../slideLayouts/slideLayout95.xml"/><Relationship Id="rId43" Type="http://schemas.openxmlformats.org/officeDocument/2006/relationships/slideLayout" Target="../slideLayouts/slideLayout103.xml"/><Relationship Id="rId48" Type="http://schemas.openxmlformats.org/officeDocument/2006/relationships/slideLayout" Target="../slideLayouts/slideLayout108.xml"/><Relationship Id="rId8" Type="http://schemas.openxmlformats.org/officeDocument/2006/relationships/slideLayout" Target="../slideLayouts/slideLayout68.xml"/><Relationship Id="rId51" Type="http://schemas.openxmlformats.org/officeDocument/2006/relationships/slideLayout" Target="../slideLayouts/slideLayout111.xml"/><Relationship Id="rId3" Type="http://schemas.openxmlformats.org/officeDocument/2006/relationships/slideLayout" Target="../slideLayouts/slideLayout63.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slideLayout" Target="../slideLayouts/slideLayout85.xml"/><Relationship Id="rId33" Type="http://schemas.openxmlformats.org/officeDocument/2006/relationships/slideLayout" Target="../slideLayouts/slideLayout93.xml"/><Relationship Id="rId38" Type="http://schemas.openxmlformats.org/officeDocument/2006/relationships/slideLayout" Target="../slideLayouts/slideLayout98.xml"/><Relationship Id="rId46" Type="http://schemas.openxmlformats.org/officeDocument/2006/relationships/slideLayout" Target="../slideLayouts/slideLayout106.xml"/><Relationship Id="rId20" Type="http://schemas.openxmlformats.org/officeDocument/2006/relationships/slideLayout" Target="../slideLayouts/slideLayout80.xml"/><Relationship Id="rId41" Type="http://schemas.openxmlformats.org/officeDocument/2006/relationships/slideLayout" Target="../slideLayouts/slideLayout101.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28" Type="http://schemas.openxmlformats.org/officeDocument/2006/relationships/slideLayout" Target="../slideLayouts/slideLayout88.xml"/><Relationship Id="rId36" Type="http://schemas.openxmlformats.org/officeDocument/2006/relationships/slideLayout" Target="../slideLayouts/slideLayout96.xml"/><Relationship Id="rId49" Type="http://schemas.openxmlformats.org/officeDocument/2006/relationships/slideLayout" Target="../slideLayouts/slideLayout10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9.xml"/><Relationship Id="rId13" Type="http://schemas.openxmlformats.org/officeDocument/2006/relationships/slideLayout" Target="../slideLayouts/slideLayout124.xml"/><Relationship Id="rId18" Type="http://schemas.openxmlformats.org/officeDocument/2006/relationships/slideLayout" Target="../slideLayouts/slideLayout129.xml"/><Relationship Id="rId3" Type="http://schemas.openxmlformats.org/officeDocument/2006/relationships/slideLayout" Target="../slideLayouts/slideLayout114.xml"/><Relationship Id="rId7" Type="http://schemas.openxmlformats.org/officeDocument/2006/relationships/slideLayout" Target="../slideLayouts/slideLayout118.xml"/><Relationship Id="rId12" Type="http://schemas.openxmlformats.org/officeDocument/2006/relationships/slideLayout" Target="../slideLayouts/slideLayout123.xml"/><Relationship Id="rId17" Type="http://schemas.openxmlformats.org/officeDocument/2006/relationships/slideLayout" Target="../slideLayouts/slideLayout128.xml"/><Relationship Id="rId2" Type="http://schemas.openxmlformats.org/officeDocument/2006/relationships/slideLayout" Target="../slideLayouts/slideLayout113.xml"/><Relationship Id="rId16" Type="http://schemas.openxmlformats.org/officeDocument/2006/relationships/slideLayout" Target="../slideLayouts/slideLayout127.xml"/><Relationship Id="rId1" Type="http://schemas.openxmlformats.org/officeDocument/2006/relationships/slideLayout" Target="../slideLayouts/slideLayout112.xml"/><Relationship Id="rId6" Type="http://schemas.openxmlformats.org/officeDocument/2006/relationships/slideLayout" Target="../slideLayouts/slideLayout117.xml"/><Relationship Id="rId11" Type="http://schemas.openxmlformats.org/officeDocument/2006/relationships/slideLayout" Target="../slideLayouts/slideLayout122.xml"/><Relationship Id="rId5" Type="http://schemas.openxmlformats.org/officeDocument/2006/relationships/slideLayout" Target="../slideLayouts/slideLayout116.xml"/><Relationship Id="rId15" Type="http://schemas.openxmlformats.org/officeDocument/2006/relationships/slideLayout" Target="../slideLayouts/slideLayout126.xml"/><Relationship Id="rId10" Type="http://schemas.openxmlformats.org/officeDocument/2006/relationships/slideLayout" Target="../slideLayouts/slideLayout121.xml"/><Relationship Id="rId19" Type="http://schemas.openxmlformats.org/officeDocument/2006/relationships/theme" Target="../theme/theme4.xml"/><Relationship Id="rId4" Type="http://schemas.openxmlformats.org/officeDocument/2006/relationships/slideLayout" Target="../slideLayouts/slideLayout115.xml"/><Relationship Id="rId9" Type="http://schemas.openxmlformats.org/officeDocument/2006/relationships/slideLayout" Target="../slideLayouts/slideLayout120.xml"/><Relationship Id="rId14" Type="http://schemas.openxmlformats.org/officeDocument/2006/relationships/slideLayout" Target="../slideLayouts/slideLayout12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F52130C-6FB2-417A-B3B0-A616E2F6B1A5}"/>
              </a:ext>
            </a:extLst>
          </p:cNvPr>
          <p:cNvSpPr>
            <a:spLocks noGrp="1"/>
          </p:cNvSpPr>
          <p:nvPr>
            <p:ph type="title"/>
          </p:nvPr>
        </p:nvSpPr>
        <p:spPr>
          <a:xfrm>
            <a:off x="371475" y="625314"/>
            <a:ext cx="11449049" cy="360099"/>
          </a:xfrm>
          <a:prstGeom prst="rect">
            <a:avLst/>
          </a:prstGeom>
        </p:spPr>
        <p:txBody>
          <a:bodyPr vert="horz" lIns="0" tIns="0" rIns="0" bIns="0" rtlCol="0" anchor="ctr">
            <a:spAutoFit/>
          </a:bodyPr>
          <a:lstStyle/>
          <a:p>
            <a:r>
              <a:rPr lang="fr-FR"/>
              <a:t>Modifiez le style du titre</a:t>
            </a:r>
            <a:endParaRPr lang="fr-BE"/>
          </a:p>
        </p:txBody>
      </p:sp>
      <p:sp>
        <p:nvSpPr>
          <p:cNvPr id="3" name="Text Placeholder 2">
            <a:extLst>
              <a:ext uri="{FF2B5EF4-FFF2-40B4-BE49-F238E27FC236}">
                <a16:creationId xmlns:a16="http://schemas.microsoft.com/office/drawing/2014/main" id="{46297351-2E45-4431-B0F4-A712F370291D}"/>
              </a:ext>
            </a:extLst>
          </p:cNvPr>
          <p:cNvSpPr>
            <a:spLocks noGrp="1"/>
          </p:cNvSpPr>
          <p:nvPr>
            <p:ph type="body" idx="1"/>
          </p:nvPr>
        </p:nvSpPr>
        <p:spPr>
          <a:xfrm>
            <a:off x="371475" y="1772816"/>
            <a:ext cx="11449049" cy="4104456"/>
          </a:xfrm>
          <a:prstGeom prst="rect">
            <a:avLst/>
          </a:prstGeom>
        </p:spPr>
        <p:txBody>
          <a:bodyPr vert="horz" lIns="0" tIns="0" rIns="360000" bIns="0" rtlCol="0">
            <a:no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Footer Placeholder 4">
            <a:extLst>
              <a:ext uri="{FF2B5EF4-FFF2-40B4-BE49-F238E27FC236}">
                <a16:creationId xmlns:a16="http://schemas.microsoft.com/office/drawing/2014/main" id="{984A4153-33AE-45AB-99AA-2FAC1FB750B2}"/>
              </a:ext>
            </a:extLst>
          </p:cNvPr>
          <p:cNvSpPr>
            <a:spLocks noGrp="1"/>
          </p:cNvSpPr>
          <p:nvPr>
            <p:ph type="ftr" sz="quarter" idx="3"/>
          </p:nvPr>
        </p:nvSpPr>
        <p:spPr>
          <a:xfrm>
            <a:off x="839416" y="6349531"/>
            <a:ext cx="3401588" cy="153888"/>
          </a:xfrm>
          <a:prstGeom prst="rect">
            <a:avLst/>
          </a:prstGeom>
        </p:spPr>
        <p:txBody>
          <a:bodyPr vert="horz" wrap="square" lIns="0" tIns="0" rIns="36000" bIns="0" rtlCol="0" anchor="ctr">
            <a:spAutoFit/>
          </a:bodyPr>
          <a:lstStyle>
            <a:lvl1pPr algn="l">
              <a:defRPr sz="1000">
                <a:solidFill>
                  <a:schemeClr val="tx1"/>
                </a:solidFill>
              </a:defRPr>
            </a:lvl1pPr>
          </a:lstStyle>
          <a:p>
            <a:r>
              <a:rPr lang="fr-BE"/>
              <a:t>Title of the presentation</a:t>
            </a:r>
          </a:p>
        </p:txBody>
      </p:sp>
      <p:sp>
        <p:nvSpPr>
          <p:cNvPr id="6" name="Slide Number Placeholder 5">
            <a:extLst>
              <a:ext uri="{FF2B5EF4-FFF2-40B4-BE49-F238E27FC236}">
                <a16:creationId xmlns:a16="http://schemas.microsoft.com/office/drawing/2014/main" id="{003FE1E7-40A6-42E5-8BC6-07AEF25D88B4}"/>
              </a:ext>
            </a:extLst>
          </p:cNvPr>
          <p:cNvSpPr>
            <a:spLocks noGrp="1"/>
          </p:cNvSpPr>
          <p:nvPr>
            <p:ph type="sldNum" sz="quarter" idx="4"/>
          </p:nvPr>
        </p:nvSpPr>
        <p:spPr>
          <a:xfrm>
            <a:off x="263352" y="6349531"/>
            <a:ext cx="301335" cy="153888"/>
          </a:xfrm>
          <a:prstGeom prst="rect">
            <a:avLst/>
          </a:prstGeom>
        </p:spPr>
        <p:txBody>
          <a:bodyPr vert="horz" wrap="square" lIns="36000" tIns="0" rIns="36000" bIns="0" rtlCol="0" anchor="ctr">
            <a:spAutoFit/>
          </a:bodyPr>
          <a:lstStyle>
            <a:lvl1pPr algn="r">
              <a:defRPr sz="1000">
                <a:solidFill>
                  <a:schemeClr val="tx1"/>
                </a:solidFill>
              </a:defRPr>
            </a:lvl1pPr>
          </a:lstStyle>
          <a:p>
            <a:fld id="{820150FD-603F-44AF-ADBB-D2D9D0B3C68D}" type="slidenum">
              <a:rPr lang="fr-BE" smtClean="0"/>
              <a:pPr/>
              <a:t>‹#›</a:t>
            </a:fld>
            <a:endParaRPr lang="fr-BE"/>
          </a:p>
        </p:txBody>
      </p:sp>
      <p:grpSp>
        <p:nvGrpSpPr>
          <p:cNvPr id="8" name="Groupe 22">
            <a:extLst>
              <a:ext uri="{FF2B5EF4-FFF2-40B4-BE49-F238E27FC236}">
                <a16:creationId xmlns:a16="http://schemas.microsoft.com/office/drawing/2014/main" id="{647BA397-091E-4B74-9409-2F81565347A8}"/>
              </a:ext>
            </a:extLst>
          </p:cNvPr>
          <p:cNvGrpSpPr/>
          <p:nvPr userDrawn="1"/>
        </p:nvGrpSpPr>
        <p:grpSpPr>
          <a:xfrm>
            <a:off x="10746581" y="6172768"/>
            <a:ext cx="1062036" cy="301675"/>
            <a:chOff x="-838200" y="8253511"/>
            <a:chExt cx="12192000" cy="3463176"/>
          </a:xfrm>
          <a:solidFill>
            <a:schemeClr val="accent1"/>
          </a:solidFill>
        </p:grpSpPr>
        <p:sp>
          <p:nvSpPr>
            <p:cNvPr id="9" name="Forme libre : forme 23">
              <a:extLst>
                <a:ext uri="{FF2B5EF4-FFF2-40B4-BE49-F238E27FC236}">
                  <a16:creationId xmlns:a16="http://schemas.microsoft.com/office/drawing/2014/main" id="{A2E81C20-B915-45BD-BBE6-EFBB00E2A1CD}"/>
                </a:ext>
              </a:extLst>
            </p:cNvPr>
            <p:cNvSpPr/>
            <p:nvPr/>
          </p:nvSpPr>
          <p:spPr>
            <a:xfrm>
              <a:off x="-838200" y="10819488"/>
              <a:ext cx="12192000" cy="897199"/>
            </a:xfrm>
            <a:custGeom>
              <a:avLst/>
              <a:gdLst>
                <a:gd name="connsiteX0" fmla="*/ 12198649 w 12192000"/>
                <a:gd name="connsiteY0" fmla="*/ 885124 h 897199"/>
                <a:gd name="connsiteX1" fmla="*/ 12097839 w 12192000"/>
                <a:gd name="connsiteY1" fmla="*/ 885124 h 897199"/>
                <a:gd name="connsiteX2" fmla="*/ 11805730 w 12192000"/>
                <a:gd name="connsiteY2" fmla="*/ 581421 h 897199"/>
                <a:gd name="connsiteX3" fmla="*/ 11805730 w 12192000"/>
                <a:gd name="connsiteY3" fmla="*/ 885124 h 897199"/>
                <a:gd name="connsiteX4" fmla="*/ 11732688 w 12192000"/>
                <a:gd name="connsiteY4" fmla="*/ 885124 h 897199"/>
                <a:gd name="connsiteX5" fmla="*/ 11732688 w 12192000"/>
                <a:gd name="connsiteY5" fmla="*/ 15789 h 897199"/>
                <a:gd name="connsiteX6" fmla="*/ 11805730 w 12192000"/>
                <a:gd name="connsiteY6" fmla="*/ 15789 h 897199"/>
                <a:gd name="connsiteX7" fmla="*/ 11805730 w 12192000"/>
                <a:gd name="connsiteY7" fmla="*/ 536236 h 897199"/>
                <a:gd name="connsiteX8" fmla="*/ 12070007 w 12192000"/>
                <a:gd name="connsiteY8" fmla="*/ 293982 h 897199"/>
                <a:gd name="connsiteX9" fmla="*/ 12163887 w 12192000"/>
                <a:gd name="connsiteY9" fmla="*/ 293982 h 897199"/>
                <a:gd name="connsiteX10" fmla="*/ 11875270 w 12192000"/>
                <a:gd name="connsiteY10" fmla="*/ 555961 h 897199"/>
                <a:gd name="connsiteX11" fmla="*/ 12198649 w 12192000"/>
                <a:gd name="connsiteY11" fmla="*/ 885124 h 897199"/>
                <a:gd name="connsiteX12" fmla="*/ 11444120 w 12192000"/>
                <a:gd name="connsiteY12" fmla="*/ 342661 h 897199"/>
                <a:gd name="connsiteX13" fmla="*/ 11316608 w 12192000"/>
                <a:gd name="connsiteY13" fmla="*/ 441203 h 897199"/>
                <a:gd name="connsiteX14" fmla="*/ 11607548 w 12192000"/>
                <a:gd name="connsiteY14" fmla="*/ 730989 h 897199"/>
                <a:gd name="connsiteX15" fmla="*/ 11401218 w 12192000"/>
                <a:gd name="connsiteY15" fmla="*/ 899088 h 897199"/>
                <a:gd name="connsiteX16" fmla="*/ 11235475 w 12192000"/>
                <a:gd name="connsiteY16" fmla="*/ 871248 h 897199"/>
                <a:gd name="connsiteX17" fmla="*/ 11242445 w 12192000"/>
                <a:gd name="connsiteY17" fmla="*/ 799384 h 897199"/>
                <a:gd name="connsiteX18" fmla="*/ 11396595 w 12192000"/>
                <a:gd name="connsiteY18" fmla="*/ 836485 h 897199"/>
                <a:gd name="connsiteX19" fmla="*/ 11527584 w 12192000"/>
                <a:gd name="connsiteY19" fmla="*/ 730989 h 897199"/>
                <a:gd name="connsiteX20" fmla="*/ 11243590 w 12192000"/>
                <a:gd name="connsiteY20" fmla="*/ 441203 h 897199"/>
                <a:gd name="connsiteX21" fmla="*/ 11436004 w 12192000"/>
                <a:gd name="connsiteY21" fmla="*/ 280106 h 897199"/>
                <a:gd name="connsiteX22" fmla="*/ 11582055 w 12192000"/>
                <a:gd name="connsiteY22" fmla="*/ 306761 h 897199"/>
                <a:gd name="connsiteX23" fmla="*/ 11575085 w 12192000"/>
                <a:gd name="connsiteY23" fmla="*/ 370533 h 897199"/>
                <a:gd name="connsiteX24" fmla="*/ 11444120 w 12192000"/>
                <a:gd name="connsiteY24" fmla="*/ 342701 h 897199"/>
                <a:gd name="connsiteX25" fmla="*/ 11036115 w 12192000"/>
                <a:gd name="connsiteY25" fmla="*/ 38950 h 897199"/>
                <a:gd name="connsiteX26" fmla="*/ 11109148 w 12192000"/>
                <a:gd name="connsiteY26" fmla="*/ 38950 h 897199"/>
                <a:gd name="connsiteX27" fmla="*/ 11109148 w 12192000"/>
                <a:gd name="connsiteY27" fmla="*/ 136339 h 897199"/>
                <a:gd name="connsiteX28" fmla="*/ 11036115 w 12192000"/>
                <a:gd name="connsiteY28" fmla="*/ 136339 h 897199"/>
                <a:gd name="connsiteX29" fmla="*/ 11036115 w 12192000"/>
                <a:gd name="connsiteY29" fmla="*/ 38950 h 897199"/>
                <a:gd name="connsiteX30" fmla="*/ 11036115 w 12192000"/>
                <a:gd name="connsiteY30" fmla="*/ 885124 h 897199"/>
                <a:gd name="connsiteX31" fmla="*/ 11036115 w 12192000"/>
                <a:gd name="connsiteY31" fmla="*/ 293982 h 897199"/>
                <a:gd name="connsiteX32" fmla="*/ 11109148 w 12192000"/>
                <a:gd name="connsiteY32" fmla="*/ 293982 h 897199"/>
                <a:gd name="connsiteX33" fmla="*/ 11109148 w 12192000"/>
                <a:gd name="connsiteY33" fmla="*/ 885124 h 897199"/>
                <a:gd name="connsiteX34" fmla="*/ 10570226 w 12192000"/>
                <a:gd name="connsiteY34" fmla="*/ 145600 h 897199"/>
                <a:gd name="connsiteX35" fmla="*/ 10487892 w 12192000"/>
                <a:gd name="connsiteY35" fmla="*/ 145600 h 897199"/>
                <a:gd name="connsiteX36" fmla="*/ 10487892 w 12192000"/>
                <a:gd name="connsiteY36" fmla="*/ 434217 h 897199"/>
                <a:gd name="connsiteX37" fmla="*/ 10572525 w 12192000"/>
                <a:gd name="connsiteY37" fmla="*/ 434217 h 897199"/>
                <a:gd name="connsiteX38" fmla="*/ 10774209 w 12192000"/>
                <a:gd name="connsiteY38" fmla="*/ 285859 h 897199"/>
                <a:gd name="connsiteX39" fmla="*/ 10570226 w 12192000"/>
                <a:gd name="connsiteY39" fmla="*/ 145600 h 897199"/>
                <a:gd name="connsiteX40" fmla="*/ 10674529 w 12192000"/>
                <a:gd name="connsiteY40" fmla="*/ 472472 h 897199"/>
                <a:gd name="connsiteX41" fmla="*/ 10674529 w 12192000"/>
                <a:gd name="connsiteY41" fmla="*/ 474795 h 897199"/>
                <a:gd name="connsiteX42" fmla="*/ 10778855 w 12192000"/>
                <a:gd name="connsiteY42" fmla="*/ 572176 h 897199"/>
                <a:gd name="connsiteX43" fmla="*/ 10916799 w 12192000"/>
                <a:gd name="connsiteY43" fmla="*/ 885124 h 897199"/>
                <a:gd name="connsiteX44" fmla="*/ 10828671 w 12192000"/>
                <a:gd name="connsiteY44" fmla="*/ 885124 h 897199"/>
                <a:gd name="connsiteX45" fmla="*/ 10711598 w 12192000"/>
                <a:gd name="connsiteY45" fmla="*/ 611561 h 897199"/>
                <a:gd name="connsiteX46" fmla="*/ 10553987 w 12192000"/>
                <a:gd name="connsiteY46" fmla="*/ 503757 h 897199"/>
                <a:gd name="connsiteX47" fmla="*/ 10487892 w 12192000"/>
                <a:gd name="connsiteY47" fmla="*/ 503757 h 897199"/>
                <a:gd name="connsiteX48" fmla="*/ 10487892 w 12192000"/>
                <a:gd name="connsiteY48" fmla="*/ 885108 h 897199"/>
                <a:gd name="connsiteX49" fmla="*/ 10407928 w 12192000"/>
                <a:gd name="connsiteY49" fmla="*/ 885108 h 897199"/>
                <a:gd name="connsiteX50" fmla="*/ 10407928 w 12192000"/>
                <a:gd name="connsiteY50" fmla="*/ 76060 h 897199"/>
                <a:gd name="connsiteX51" fmla="*/ 10616581 w 12192000"/>
                <a:gd name="connsiteY51" fmla="*/ 76060 h 897199"/>
                <a:gd name="connsiteX52" fmla="*/ 10854188 w 12192000"/>
                <a:gd name="connsiteY52" fmla="*/ 285859 h 897199"/>
                <a:gd name="connsiteX53" fmla="*/ 10674529 w 12192000"/>
                <a:gd name="connsiteY53" fmla="*/ 472472 h 897199"/>
                <a:gd name="connsiteX54" fmla="*/ 9970977 w 12192000"/>
                <a:gd name="connsiteY54" fmla="*/ 77229 h 897199"/>
                <a:gd name="connsiteX55" fmla="*/ 9913053 w 12192000"/>
                <a:gd name="connsiteY55" fmla="*/ 64483 h 897199"/>
                <a:gd name="connsiteX56" fmla="*/ 9823773 w 12192000"/>
                <a:gd name="connsiteY56" fmla="*/ 242981 h 897199"/>
                <a:gd name="connsiteX57" fmla="*/ 9823773 w 12192000"/>
                <a:gd name="connsiteY57" fmla="*/ 293982 h 897199"/>
                <a:gd name="connsiteX58" fmla="*/ 9957061 w 12192000"/>
                <a:gd name="connsiteY58" fmla="*/ 293982 h 897199"/>
                <a:gd name="connsiteX59" fmla="*/ 9957061 w 12192000"/>
                <a:gd name="connsiteY59" fmla="*/ 356577 h 897199"/>
                <a:gd name="connsiteX60" fmla="*/ 9823773 w 12192000"/>
                <a:gd name="connsiteY60" fmla="*/ 356577 h 897199"/>
                <a:gd name="connsiteX61" fmla="*/ 9823773 w 12192000"/>
                <a:gd name="connsiteY61" fmla="*/ 885124 h 897199"/>
                <a:gd name="connsiteX62" fmla="*/ 9750755 w 12192000"/>
                <a:gd name="connsiteY62" fmla="*/ 885124 h 897199"/>
                <a:gd name="connsiteX63" fmla="*/ 9750755 w 12192000"/>
                <a:gd name="connsiteY63" fmla="*/ 356577 h 897199"/>
                <a:gd name="connsiteX64" fmla="*/ 9631383 w 12192000"/>
                <a:gd name="connsiteY64" fmla="*/ 356577 h 897199"/>
                <a:gd name="connsiteX65" fmla="*/ 9631383 w 12192000"/>
                <a:gd name="connsiteY65" fmla="*/ 293982 h 897199"/>
                <a:gd name="connsiteX66" fmla="*/ 9750755 w 12192000"/>
                <a:gd name="connsiteY66" fmla="*/ 293982 h 897199"/>
                <a:gd name="connsiteX67" fmla="*/ 9750755 w 12192000"/>
                <a:gd name="connsiteY67" fmla="*/ 251096 h 897199"/>
                <a:gd name="connsiteX68" fmla="*/ 9907229 w 12192000"/>
                <a:gd name="connsiteY68" fmla="*/ 1889 h 897199"/>
                <a:gd name="connsiteX69" fmla="*/ 9975624 w 12192000"/>
                <a:gd name="connsiteY69" fmla="*/ 13465 h 897199"/>
                <a:gd name="connsiteX70" fmla="*/ 9970977 w 12192000"/>
                <a:gd name="connsiteY70" fmla="*/ 77229 h 897199"/>
                <a:gd name="connsiteX71" fmla="*/ 9292942 w 12192000"/>
                <a:gd name="connsiteY71" fmla="*/ 342661 h 897199"/>
                <a:gd name="connsiteX72" fmla="*/ 9097060 w 12192000"/>
                <a:gd name="connsiteY72" fmla="*/ 589545 h 897199"/>
                <a:gd name="connsiteX73" fmla="*/ 9292942 w 12192000"/>
                <a:gd name="connsiteY73" fmla="*/ 836446 h 897199"/>
                <a:gd name="connsiteX74" fmla="*/ 9488825 w 12192000"/>
                <a:gd name="connsiteY74" fmla="*/ 589545 h 897199"/>
                <a:gd name="connsiteX75" fmla="*/ 9292942 w 12192000"/>
                <a:gd name="connsiteY75" fmla="*/ 342661 h 897199"/>
                <a:gd name="connsiteX76" fmla="*/ 9292942 w 12192000"/>
                <a:gd name="connsiteY76" fmla="*/ 899048 h 897199"/>
                <a:gd name="connsiteX77" fmla="*/ 9017048 w 12192000"/>
                <a:gd name="connsiteY77" fmla="*/ 589545 h 897199"/>
                <a:gd name="connsiteX78" fmla="*/ 9292942 w 12192000"/>
                <a:gd name="connsiteY78" fmla="*/ 280066 h 897199"/>
                <a:gd name="connsiteX79" fmla="*/ 9568813 w 12192000"/>
                <a:gd name="connsiteY79" fmla="*/ 589545 h 897199"/>
                <a:gd name="connsiteX80" fmla="*/ 9292942 w 12192000"/>
                <a:gd name="connsiteY80" fmla="*/ 899040 h 897199"/>
                <a:gd name="connsiteX81" fmla="*/ 8381940 w 12192000"/>
                <a:gd name="connsiteY81" fmla="*/ 342661 h 897199"/>
                <a:gd name="connsiteX82" fmla="*/ 8208089 w 12192000"/>
                <a:gd name="connsiteY82" fmla="*/ 547813 h 897199"/>
                <a:gd name="connsiteX83" fmla="*/ 8532661 w 12192000"/>
                <a:gd name="connsiteY83" fmla="*/ 547813 h 897199"/>
                <a:gd name="connsiteX84" fmla="*/ 8381956 w 12192000"/>
                <a:gd name="connsiteY84" fmla="*/ 342661 h 897199"/>
                <a:gd name="connsiteX85" fmla="*/ 8208089 w 12192000"/>
                <a:gd name="connsiteY85" fmla="*/ 610407 h 897199"/>
                <a:gd name="connsiteX86" fmla="*/ 8402826 w 12192000"/>
                <a:gd name="connsiteY86" fmla="*/ 836446 h 897199"/>
                <a:gd name="connsiteX87" fmla="*/ 8568569 w 12192000"/>
                <a:gd name="connsiteY87" fmla="*/ 792382 h 897199"/>
                <a:gd name="connsiteX88" fmla="*/ 8568569 w 12192000"/>
                <a:gd name="connsiteY88" fmla="*/ 866545 h 897199"/>
                <a:gd name="connsiteX89" fmla="*/ 8397025 w 12192000"/>
                <a:gd name="connsiteY89" fmla="*/ 899032 h 897199"/>
                <a:gd name="connsiteX90" fmla="*/ 8128125 w 12192000"/>
                <a:gd name="connsiteY90" fmla="*/ 589529 h 897199"/>
                <a:gd name="connsiteX91" fmla="*/ 8377333 w 12192000"/>
                <a:gd name="connsiteY91" fmla="*/ 280050 h 897199"/>
                <a:gd name="connsiteX92" fmla="*/ 8612624 w 12192000"/>
                <a:gd name="connsiteY92" fmla="*/ 573274 h 897199"/>
                <a:gd name="connsiteX93" fmla="*/ 8612624 w 12192000"/>
                <a:gd name="connsiteY93" fmla="*/ 610383 h 897199"/>
                <a:gd name="connsiteX94" fmla="*/ 7921843 w 12192000"/>
                <a:gd name="connsiteY94" fmla="*/ 342661 h 897199"/>
                <a:gd name="connsiteX95" fmla="*/ 7699274 w 12192000"/>
                <a:gd name="connsiteY95" fmla="*/ 589545 h 897199"/>
                <a:gd name="connsiteX96" fmla="*/ 7913720 w 12192000"/>
                <a:gd name="connsiteY96" fmla="*/ 836446 h 897199"/>
                <a:gd name="connsiteX97" fmla="*/ 8047008 w 12192000"/>
                <a:gd name="connsiteY97" fmla="*/ 809767 h 897199"/>
                <a:gd name="connsiteX98" fmla="*/ 8053978 w 12192000"/>
                <a:gd name="connsiteY98" fmla="*/ 878178 h 897199"/>
                <a:gd name="connsiteX99" fmla="*/ 7902127 w 12192000"/>
                <a:gd name="connsiteY99" fmla="*/ 899048 h 897199"/>
                <a:gd name="connsiteX100" fmla="*/ 7619319 w 12192000"/>
                <a:gd name="connsiteY100" fmla="*/ 589545 h 897199"/>
                <a:gd name="connsiteX101" fmla="*/ 7911428 w 12192000"/>
                <a:gd name="connsiteY101" fmla="*/ 280066 h 897199"/>
                <a:gd name="connsiteX102" fmla="*/ 8054034 w 12192000"/>
                <a:gd name="connsiteY102" fmla="*/ 303228 h 897199"/>
                <a:gd name="connsiteX103" fmla="*/ 8048242 w 12192000"/>
                <a:gd name="connsiteY103" fmla="*/ 372768 h 897199"/>
                <a:gd name="connsiteX104" fmla="*/ 7921899 w 12192000"/>
                <a:gd name="connsiteY104" fmla="*/ 342661 h 897199"/>
                <a:gd name="connsiteX105" fmla="*/ 7413005 w 12192000"/>
                <a:gd name="connsiteY105" fmla="*/ 885124 h 897199"/>
                <a:gd name="connsiteX106" fmla="*/ 7413005 w 12192000"/>
                <a:gd name="connsiteY106" fmla="*/ 525773 h 897199"/>
                <a:gd name="connsiteX107" fmla="*/ 7272746 w 12192000"/>
                <a:gd name="connsiteY107" fmla="*/ 342661 h 897199"/>
                <a:gd name="connsiteX108" fmla="*/ 7097726 w 12192000"/>
                <a:gd name="connsiteY108" fmla="*/ 558252 h 897199"/>
                <a:gd name="connsiteX109" fmla="*/ 7097726 w 12192000"/>
                <a:gd name="connsiteY109" fmla="*/ 885124 h 897199"/>
                <a:gd name="connsiteX110" fmla="*/ 7024708 w 12192000"/>
                <a:gd name="connsiteY110" fmla="*/ 885124 h 897199"/>
                <a:gd name="connsiteX111" fmla="*/ 7024708 w 12192000"/>
                <a:gd name="connsiteY111" fmla="*/ 433063 h 897199"/>
                <a:gd name="connsiteX112" fmla="*/ 7020062 w 12192000"/>
                <a:gd name="connsiteY112" fmla="*/ 293982 h 897199"/>
                <a:gd name="connsiteX113" fmla="*/ 7090756 w 12192000"/>
                <a:gd name="connsiteY113" fmla="*/ 293982 h 897199"/>
                <a:gd name="connsiteX114" fmla="*/ 7090756 w 12192000"/>
                <a:gd name="connsiteY114" fmla="*/ 399431 h 897199"/>
                <a:gd name="connsiteX115" fmla="*/ 7093103 w 12192000"/>
                <a:gd name="connsiteY115" fmla="*/ 399431 h 897199"/>
                <a:gd name="connsiteX116" fmla="*/ 7284363 w 12192000"/>
                <a:gd name="connsiteY116" fmla="*/ 280058 h 897199"/>
                <a:gd name="connsiteX117" fmla="*/ 7486046 w 12192000"/>
                <a:gd name="connsiteY117" fmla="*/ 507250 h 897199"/>
                <a:gd name="connsiteX118" fmla="*/ 7486046 w 12192000"/>
                <a:gd name="connsiteY118" fmla="*/ 885116 h 897199"/>
                <a:gd name="connsiteX119" fmla="*/ 6660783 w 12192000"/>
                <a:gd name="connsiteY119" fmla="*/ 342661 h 897199"/>
                <a:gd name="connsiteX120" fmla="*/ 6486932 w 12192000"/>
                <a:gd name="connsiteY120" fmla="*/ 547813 h 897199"/>
                <a:gd name="connsiteX121" fmla="*/ 6811464 w 12192000"/>
                <a:gd name="connsiteY121" fmla="*/ 547813 h 897199"/>
                <a:gd name="connsiteX122" fmla="*/ 6660807 w 12192000"/>
                <a:gd name="connsiteY122" fmla="*/ 342661 h 897199"/>
                <a:gd name="connsiteX123" fmla="*/ 6486932 w 12192000"/>
                <a:gd name="connsiteY123" fmla="*/ 610407 h 897199"/>
                <a:gd name="connsiteX124" fmla="*/ 6681669 w 12192000"/>
                <a:gd name="connsiteY124" fmla="*/ 836446 h 897199"/>
                <a:gd name="connsiteX125" fmla="*/ 6847412 w 12192000"/>
                <a:gd name="connsiteY125" fmla="*/ 792382 h 897199"/>
                <a:gd name="connsiteX126" fmla="*/ 6847412 w 12192000"/>
                <a:gd name="connsiteY126" fmla="*/ 866545 h 897199"/>
                <a:gd name="connsiteX127" fmla="*/ 6675869 w 12192000"/>
                <a:gd name="connsiteY127" fmla="*/ 899032 h 897199"/>
                <a:gd name="connsiteX128" fmla="*/ 6406969 w 12192000"/>
                <a:gd name="connsiteY128" fmla="*/ 589529 h 897199"/>
                <a:gd name="connsiteX129" fmla="*/ 6656128 w 12192000"/>
                <a:gd name="connsiteY129" fmla="*/ 280050 h 897199"/>
                <a:gd name="connsiteX130" fmla="*/ 6891436 w 12192000"/>
                <a:gd name="connsiteY130" fmla="*/ 573274 h 897199"/>
                <a:gd name="connsiteX131" fmla="*/ 6891436 w 12192000"/>
                <a:gd name="connsiteY131" fmla="*/ 610383 h 897199"/>
                <a:gd name="connsiteX132" fmla="*/ 6199429 w 12192000"/>
                <a:gd name="connsiteY132" fmla="*/ 38950 h 897199"/>
                <a:gd name="connsiteX133" fmla="*/ 6272494 w 12192000"/>
                <a:gd name="connsiteY133" fmla="*/ 38950 h 897199"/>
                <a:gd name="connsiteX134" fmla="*/ 6272494 w 12192000"/>
                <a:gd name="connsiteY134" fmla="*/ 136339 h 897199"/>
                <a:gd name="connsiteX135" fmla="*/ 6199429 w 12192000"/>
                <a:gd name="connsiteY135" fmla="*/ 136339 h 897199"/>
                <a:gd name="connsiteX136" fmla="*/ 6199429 w 12192000"/>
                <a:gd name="connsiteY136" fmla="*/ 38950 h 897199"/>
                <a:gd name="connsiteX137" fmla="*/ 6199429 w 12192000"/>
                <a:gd name="connsiteY137" fmla="*/ 885124 h 897199"/>
                <a:gd name="connsiteX138" fmla="*/ 6199429 w 12192000"/>
                <a:gd name="connsiteY138" fmla="*/ 293982 h 897199"/>
                <a:gd name="connsiteX139" fmla="*/ 6272494 w 12192000"/>
                <a:gd name="connsiteY139" fmla="*/ 293982 h 897199"/>
                <a:gd name="connsiteX140" fmla="*/ 6272494 w 12192000"/>
                <a:gd name="connsiteY140" fmla="*/ 885124 h 897199"/>
                <a:gd name="connsiteX141" fmla="*/ 5949116 w 12192000"/>
                <a:gd name="connsiteY141" fmla="*/ 342661 h 897199"/>
                <a:gd name="connsiteX142" fmla="*/ 5726570 w 12192000"/>
                <a:gd name="connsiteY142" fmla="*/ 589545 h 897199"/>
                <a:gd name="connsiteX143" fmla="*/ 5940992 w 12192000"/>
                <a:gd name="connsiteY143" fmla="*/ 836446 h 897199"/>
                <a:gd name="connsiteX144" fmla="*/ 6074280 w 12192000"/>
                <a:gd name="connsiteY144" fmla="*/ 809767 h 897199"/>
                <a:gd name="connsiteX145" fmla="*/ 6081250 w 12192000"/>
                <a:gd name="connsiteY145" fmla="*/ 878178 h 897199"/>
                <a:gd name="connsiteX146" fmla="*/ 5929399 w 12192000"/>
                <a:gd name="connsiteY146" fmla="*/ 899040 h 897199"/>
                <a:gd name="connsiteX147" fmla="*/ 5646591 w 12192000"/>
                <a:gd name="connsiteY147" fmla="*/ 589537 h 897199"/>
                <a:gd name="connsiteX148" fmla="*/ 5938701 w 12192000"/>
                <a:gd name="connsiteY148" fmla="*/ 280058 h 897199"/>
                <a:gd name="connsiteX149" fmla="*/ 6081306 w 12192000"/>
                <a:gd name="connsiteY149" fmla="*/ 303220 h 897199"/>
                <a:gd name="connsiteX150" fmla="*/ 6075514 w 12192000"/>
                <a:gd name="connsiteY150" fmla="*/ 372760 h 897199"/>
                <a:gd name="connsiteX151" fmla="*/ 5949172 w 12192000"/>
                <a:gd name="connsiteY151" fmla="*/ 342653 h 897199"/>
                <a:gd name="connsiteX152" fmla="*/ 5347551 w 12192000"/>
                <a:gd name="connsiteY152" fmla="*/ 131708 h 897199"/>
                <a:gd name="connsiteX153" fmla="*/ 5172555 w 12192000"/>
                <a:gd name="connsiteY153" fmla="*/ 270789 h 897199"/>
                <a:gd name="connsiteX154" fmla="*/ 5543434 w 12192000"/>
                <a:gd name="connsiteY154" fmla="*/ 670678 h 897199"/>
                <a:gd name="connsiteX155" fmla="*/ 5278003 w 12192000"/>
                <a:gd name="connsiteY155" fmla="*/ 899040 h 897199"/>
                <a:gd name="connsiteX156" fmla="*/ 5094890 w 12192000"/>
                <a:gd name="connsiteY156" fmla="*/ 864254 h 897199"/>
                <a:gd name="connsiteX157" fmla="*/ 5103006 w 12192000"/>
                <a:gd name="connsiteY157" fmla="*/ 781943 h 897199"/>
                <a:gd name="connsiteX158" fmla="*/ 5281504 w 12192000"/>
                <a:gd name="connsiteY158" fmla="*/ 829467 h 897199"/>
                <a:gd name="connsiteX159" fmla="*/ 5463463 w 12192000"/>
                <a:gd name="connsiteY159" fmla="*/ 663700 h 897199"/>
                <a:gd name="connsiteX160" fmla="*/ 5092567 w 12192000"/>
                <a:gd name="connsiteY160" fmla="*/ 273104 h 897199"/>
                <a:gd name="connsiteX161" fmla="*/ 5348721 w 12192000"/>
                <a:gd name="connsiteY161" fmla="*/ 62136 h 897199"/>
                <a:gd name="connsiteX162" fmla="*/ 5507494 w 12192000"/>
                <a:gd name="connsiteY162" fmla="*/ 88798 h 897199"/>
                <a:gd name="connsiteX163" fmla="*/ 5494756 w 12192000"/>
                <a:gd name="connsiteY163" fmla="*/ 161831 h 897199"/>
                <a:gd name="connsiteX164" fmla="*/ 5347551 w 12192000"/>
                <a:gd name="connsiteY164" fmla="*/ 131700 h 897199"/>
                <a:gd name="connsiteX165" fmla="*/ 4231388 w 12192000"/>
                <a:gd name="connsiteY165" fmla="*/ 482895 h 897199"/>
                <a:gd name="connsiteX166" fmla="*/ 4079561 w 12192000"/>
                <a:gd name="connsiteY166" fmla="*/ 669565 h 897199"/>
                <a:gd name="connsiteX167" fmla="*/ 4267320 w 12192000"/>
                <a:gd name="connsiteY167" fmla="*/ 836477 h 897199"/>
                <a:gd name="connsiteX168" fmla="*/ 4466680 w 12192000"/>
                <a:gd name="connsiteY168" fmla="*/ 742574 h 897199"/>
                <a:gd name="connsiteX169" fmla="*/ 4231388 w 12192000"/>
                <a:gd name="connsiteY169" fmla="*/ 482927 h 897199"/>
                <a:gd name="connsiteX170" fmla="*/ 4413379 w 12192000"/>
                <a:gd name="connsiteY170" fmla="*/ 241803 h 897199"/>
                <a:gd name="connsiteX171" fmla="*/ 4298605 w 12192000"/>
                <a:gd name="connsiteY171" fmla="*/ 124738 h 897199"/>
                <a:gd name="connsiteX172" fmla="*/ 4165316 w 12192000"/>
                <a:gd name="connsiteY172" fmla="*/ 242981 h 897199"/>
                <a:gd name="connsiteX173" fmla="*/ 4256881 w 12192000"/>
                <a:gd name="connsiteY173" fmla="*/ 407554 h 897199"/>
                <a:gd name="connsiteX174" fmla="*/ 4413379 w 12192000"/>
                <a:gd name="connsiteY174" fmla="*/ 241803 h 897199"/>
                <a:gd name="connsiteX175" fmla="*/ 4698518 w 12192000"/>
                <a:gd name="connsiteY175" fmla="*/ 882800 h 897199"/>
                <a:gd name="connsiteX176" fmla="*/ 4596539 w 12192000"/>
                <a:gd name="connsiteY176" fmla="*/ 882800 h 897199"/>
                <a:gd name="connsiteX177" fmla="*/ 4510751 w 12192000"/>
                <a:gd name="connsiteY177" fmla="*/ 792398 h 897199"/>
                <a:gd name="connsiteX178" fmla="*/ 4264996 w 12192000"/>
                <a:gd name="connsiteY178" fmla="*/ 899048 h 897199"/>
                <a:gd name="connsiteX179" fmla="*/ 3999573 w 12192000"/>
                <a:gd name="connsiteY179" fmla="*/ 673002 h 897199"/>
                <a:gd name="connsiteX180" fmla="*/ 4190833 w 12192000"/>
                <a:gd name="connsiteY180" fmla="*/ 437710 h 897199"/>
                <a:gd name="connsiteX181" fmla="*/ 4085353 w 12192000"/>
                <a:gd name="connsiteY181" fmla="*/ 238334 h 897199"/>
                <a:gd name="connsiteX182" fmla="*/ 4303268 w 12192000"/>
                <a:gd name="connsiteY182" fmla="*/ 62144 h 897199"/>
                <a:gd name="connsiteX183" fmla="*/ 4493334 w 12192000"/>
                <a:gd name="connsiteY183" fmla="*/ 229065 h 897199"/>
                <a:gd name="connsiteX184" fmla="*/ 4298597 w 12192000"/>
                <a:gd name="connsiteY184" fmla="*/ 449286 h 897199"/>
                <a:gd name="connsiteX185" fmla="*/ 4511897 w 12192000"/>
                <a:gd name="connsiteY185" fmla="*/ 686902 h 897199"/>
                <a:gd name="connsiteX186" fmla="*/ 4581437 w 12192000"/>
                <a:gd name="connsiteY186" fmla="*/ 441163 h 897199"/>
                <a:gd name="connsiteX187" fmla="*/ 4650986 w 12192000"/>
                <a:gd name="connsiteY187" fmla="*/ 441163 h 897199"/>
                <a:gd name="connsiteX188" fmla="*/ 4560575 w 12192000"/>
                <a:gd name="connsiteY188" fmla="*/ 733249 h 897199"/>
                <a:gd name="connsiteX189" fmla="*/ 4698510 w 12192000"/>
                <a:gd name="connsiteY189" fmla="*/ 882800 h 897199"/>
                <a:gd name="connsiteX190" fmla="*/ 3535960 w 12192000"/>
                <a:gd name="connsiteY190" fmla="*/ 836446 h 897199"/>
                <a:gd name="connsiteX191" fmla="*/ 3603201 w 12192000"/>
                <a:gd name="connsiteY191" fmla="*/ 822529 h 897199"/>
                <a:gd name="connsiteX192" fmla="*/ 3607824 w 12192000"/>
                <a:gd name="connsiteY192" fmla="*/ 882800 h 897199"/>
                <a:gd name="connsiteX193" fmla="*/ 3518591 w 12192000"/>
                <a:gd name="connsiteY193" fmla="*/ 899048 h 897199"/>
                <a:gd name="connsiteX194" fmla="*/ 3384109 w 12192000"/>
                <a:gd name="connsiteY194" fmla="*/ 701963 h 897199"/>
                <a:gd name="connsiteX195" fmla="*/ 3384109 w 12192000"/>
                <a:gd name="connsiteY195" fmla="*/ 356577 h 897199"/>
                <a:gd name="connsiteX196" fmla="*/ 3268213 w 12192000"/>
                <a:gd name="connsiteY196" fmla="*/ 356577 h 897199"/>
                <a:gd name="connsiteX197" fmla="*/ 3268213 w 12192000"/>
                <a:gd name="connsiteY197" fmla="*/ 293982 h 897199"/>
                <a:gd name="connsiteX198" fmla="*/ 3384109 w 12192000"/>
                <a:gd name="connsiteY198" fmla="*/ 293982 h 897199"/>
                <a:gd name="connsiteX199" fmla="*/ 3384109 w 12192000"/>
                <a:gd name="connsiteY199" fmla="*/ 151376 h 897199"/>
                <a:gd name="connsiteX200" fmla="*/ 3457150 w 12192000"/>
                <a:gd name="connsiteY200" fmla="*/ 125884 h 897199"/>
                <a:gd name="connsiteX201" fmla="*/ 3457150 w 12192000"/>
                <a:gd name="connsiteY201" fmla="*/ 293958 h 897199"/>
                <a:gd name="connsiteX202" fmla="*/ 3591584 w 12192000"/>
                <a:gd name="connsiteY202" fmla="*/ 293958 h 897199"/>
                <a:gd name="connsiteX203" fmla="*/ 3591584 w 12192000"/>
                <a:gd name="connsiteY203" fmla="*/ 356553 h 897199"/>
                <a:gd name="connsiteX204" fmla="*/ 3457150 w 12192000"/>
                <a:gd name="connsiteY204" fmla="*/ 356553 h 897199"/>
                <a:gd name="connsiteX205" fmla="*/ 3457150 w 12192000"/>
                <a:gd name="connsiteY205" fmla="*/ 739049 h 897199"/>
                <a:gd name="connsiteX206" fmla="*/ 3535960 w 12192000"/>
                <a:gd name="connsiteY206" fmla="*/ 836421 h 897199"/>
                <a:gd name="connsiteX207" fmla="*/ 3176673 w 12192000"/>
                <a:gd name="connsiteY207" fmla="*/ 356553 h 897199"/>
                <a:gd name="connsiteX208" fmla="*/ 3029469 w 12192000"/>
                <a:gd name="connsiteY208" fmla="*/ 593014 h 897199"/>
                <a:gd name="connsiteX209" fmla="*/ 3029469 w 12192000"/>
                <a:gd name="connsiteY209" fmla="*/ 885100 h 897199"/>
                <a:gd name="connsiteX210" fmla="*/ 2956451 w 12192000"/>
                <a:gd name="connsiteY210" fmla="*/ 885100 h 897199"/>
                <a:gd name="connsiteX211" fmla="*/ 2956451 w 12192000"/>
                <a:gd name="connsiteY211" fmla="*/ 426117 h 897199"/>
                <a:gd name="connsiteX212" fmla="*/ 2951789 w 12192000"/>
                <a:gd name="connsiteY212" fmla="*/ 293982 h 897199"/>
                <a:gd name="connsiteX213" fmla="*/ 3024822 w 12192000"/>
                <a:gd name="connsiteY213" fmla="*/ 293982 h 897199"/>
                <a:gd name="connsiteX214" fmla="*/ 3024822 w 12192000"/>
                <a:gd name="connsiteY214" fmla="*/ 407554 h 897199"/>
                <a:gd name="connsiteX215" fmla="*/ 3027169 w 12192000"/>
                <a:gd name="connsiteY215" fmla="*/ 407554 h 897199"/>
                <a:gd name="connsiteX216" fmla="*/ 3178997 w 12192000"/>
                <a:gd name="connsiteY216" fmla="*/ 280066 h 897199"/>
                <a:gd name="connsiteX217" fmla="*/ 3229974 w 12192000"/>
                <a:gd name="connsiteY217" fmla="*/ 287036 h 897199"/>
                <a:gd name="connsiteX218" fmla="*/ 3229974 w 12192000"/>
                <a:gd name="connsiteY218" fmla="*/ 363523 h 897199"/>
                <a:gd name="connsiteX219" fmla="*/ 3176673 w 12192000"/>
                <a:gd name="connsiteY219" fmla="*/ 356577 h 897199"/>
                <a:gd name="connsiteX220" fmla="*/ 2483569 w 12192000"/>
                <a:gd name="connsiteY220" fmla="*/ 152546 h 897199"/>
                <a:gd name="connsiteX221" fmla="*/ 2307402 w 12192000"/>
                <a:gd name="connsiteY221" fmla="*/ 598790 h 897199"/>
                <a:gd name="connsiteX222" fmla="*/ 2658589 w 12192000"/>
                <a:gd name="connsiteY222" fmla="*/ 598790 h 897199"/>
                <a:gd name="connsiteX223" fmla="*/ 2483569 w 12192000"/>
                <a:gd name="connsiteY223" fmla="*/ 152546 h 897199"/>
                <a:gd name="connsiteX224" fmla="*/ 2772185 w 12192000"/>
                <a:gd name="connsiteY224" fmla="*/ 885100 h 897199"/>
                <a:gd name="connsiteX225" fmla="*/ 2685252 w 12192000"/>
                <a:gd name="connsiteY225" fmla="*/ 668355 h 897199"/>
                <a:gd name="connsiteX226" fmla="*/ 2277247 w 12192000"/>
                <a:gd name="connsiteY226" fmla="*/ 668355 h 897199"/>
                <a:gd name="connsiteX227" fmla="*/ 2190297 w 12192000"/>
                <a:gd name="connsiteY227" fmla="*/ 885100 h 897199"/>
                <a:gd name="connsiteX228" fmla="*/ 2112665 w 12192000"/>
                <a:gd name="connsiteY228" fmla="*/ 885100 h 897199"/>
                <a:gd name="connsiteX229" fmla="*/ 2444168 w 12192000"/>
                <a:gd name="connsiteY229" fmla="*/ 76036 h 897199"/>
                <a:gd name="connsiteX230" fmla="*/ 2534570 w 12192000"/>
                <a:gd name="connsiteY230" fmla="*/ 76036 h 897199"/>
                <a:gd name="connsiteX231" fmla="*/ 2855650 w 12192000"/>
                <a:gd name="connsiteY231" fmla="*/ 885100 h 897199"/>
                <a:gd name="connsiteX232" fmla="*/ 1508762 w 12192000"/>
                <a:gd name="connsiteY232" fmla="*/ 342637 h 897199"/>
                <a:gd name="connsiteX233" fmla="*/ 1334911 w 12192000"/>
                <a:gd name="connsiteY233" fmla="*/ 547789 h 897199"/>
                <a:gd name="connsiteX234" fmla="*/ 1659451 w 12192000"/>
                <a:gd name="connsiteY234" fmla="*/ 547789 h 897199"/>
                <a:gd name="connsiteX235" fmla="*/ 1508778 w 12192000"/>
                <a:gd name="connsiteY235" fmla="*/ 342637 h 897199"/>
                <a:gd name="connsiteX236" fmla="*/ 1334911 w 12192000"/>
                <a:gd name="connsiteY236" fmla="*/ 610383 h 897199"/>
                <a:gd name="connsiteX237" fmla="*/ 1529640 w 12192000"/>
                <a:gd name="connsiteY237" fmla="*/ 836421 h 897199"/>
                <a:gd name="connsiteX238" fmla="*/ 1695391 w 12192000"/>
                <a:gd name="connsiteY238" fmla="*/ 792358 h 897199"/>
                <a:gd name="connsiteX239" fmla="*/ 1695391 w 12192000"/>
                <a:gd name="connsiteY239" fmla="*/ 866521 h 897199"/>
                <a:gd name="connsiteX240" fmla="*/ 1523847 w 12192000"/>
                <a:gd name="connsiteY240" fmla="*/ 899008 h 897199"/>
                <a:gd name="connsiteX241" fmla="*/ 1254915 w 12192000"/>
                <a:gd name="connsiteY241" fmla="*/ 589505 h 897199"/>
                <a:gd name="connsiteX242" fmla="*/ 1504147 w 12192000"/>
                <a:gd name="connsiteY242" fmla="*/ 280026 h 897199"/>
                <a:gd name="connsiteX243" fmla="*/ 1739447 w 12192000"/>
                <a:gd name="connsiteY243" fmla="*/ 573249 h 897199"/>
                <a:gd name="connsiteX244" fmla="*/ 1739447 w 12192000"/>
                <a:gd name="connsiteY244" fmla="*/ 610359 h 897199"/>
                <a:gd name="connsiteX245" fmla="*/ 1048633 w 12192000"/>
                <a:gd name="connsiteY245" fmla="*/ 885100 h 897199"/>
                <a:gd name="connsiteX246" fmla="*/ 1048633 w 12192000"/>
                <a:gd name="connsiteY246" fmla="*/ 532743 h 897199"/>
                <a:gd name="connsiteX247" fmla="*/ 908375 w 12192000"/>
                <a:gd name="connsiteY247" fmla="*/ 342661 h 897199"/>
                <a:gd name="connsiteX248" fmla="*/ 733346 w 12192000"/>
                <a:gd name="connsiteY248" fmla="*/ 568675 h 897199"/>
                <a:gd name="connsiteX249" fmla="*/ 733346 w 12192000"/>
                <a:gd name="connsiteY249" fmla="*/ 885132 h 897199"/>
                <a:gd name="connsiteX250" fmla="*/ 660393 w 12192000"/>
                <a:gd name="connsiteY250" fmla="*/ 885132 h 897199"/>
                <a:gd name="connsiteX251" fmla="*/ 660393 w 12192000"/>
                <a:gd name="connsiteY251" fmla="*/ 15789 h 897199"/>
                <a:gd name="connsiteX252" fmla="*/ 733402 w 12192000"/>
                <a:gd name="connsiteY252" fmla="*/ 15789 h 897199"/>
                <a:gd name="connsiteX253" fmla="*/ 733402 w 12192000"/>
                <a:gd name="connsiteY253" fmla="*/ 393638 h 897199"/>
                <a:gd name="connsiteX254" fmla="*/ 735734 w 12192000"/>
                <a:gd name="connsiteY254" fmla="*/ 393638 h 897199"/>
                <a:gd name="connsiteX255" fmla="*/ 920039 w 12192000"/>
                <a:gd name="connsiteY255" fmla="*/ 280066 h 897199"/>
                <a:gd name="connsiteX256" fmla="*/ 1121731 w 12192000"/>
                <a:gd name="connsiteY256" fmla="*/ 531573 h 897199"/>
                <a:gd name="connsiteX257" fmla="*/ 1121731 w 12192000"/>
                <a:gd name="connsiteY257" fmla="*/ 885124 h 897199"/>
                <a:gd name="connsiteX258" fmla="*/ 325373 w 12192000"/>
                <a:gd name="connsiteY258" fmla="*/ 145576 h 897199"/>
                <a:gd name="connsiteX259" fmla="*/ 325373 w 12192000"/>
                <a:gd name="connsiteY259" fmla="*/ 885100 h 897199"/>
                <a:gd name="connsiteX260" fmla="*/ 245410 w 12192000"/>
                <a:gd name="connsiteY260" fmla="*/ 885100 h 897199"/>
                <a:gd name="connsiteX261" fmla="*/ 245410 w 12192000"/>
                <a:gd name="connsiteY261" fmla="*/ 145600 h 897199"/>
                <a:gd name="connsiteX262" fmla="*/ 6649 w 12192000"/>
                <a:gd name="connsiteY262" fmla="*/ 145600 h 897199"/>
                <a:gd name="connsiteX263" fmla="*/ 6649 w 12192000"/>
                <a:gd name="connsiteY263" fmla="*/ 76060 h 897199"/>
                <a:gd name="connsiteX264" fmla="*/ 564190 w 12192000"/>
                <a:gd name="connsiteY264" fmla="*/ 76060 h 897199"/>
                <a:gd name="connsiteX265" fmla="*/ 564190 w 12192000"/>
                <a:gd name="connsiteY265" fmla="*/ 145600 h 897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Lst>
              <a:rect l="l" t="t" r="r" b="b"/>
              <a:pathLst>
                <a:path w="12192000" h="897199">
                  <a:moveTo>
                    <a:pt x="12198649" y="885124"/>
                  </a:moveTo>
                  <a:lnTo>
                    <a:pt x="12097839" y="885124"/>
                  </a:lnTo>
                  <a:lnTo>
                    <a:pt x="11805730" y="581421"/>
                  </a:lnTo>
                  <a:lnTo>
                    <a:pt x="11805730" y="885124"/>
                  </a:lnTo>
                  <a:lnTo>
                    <a:pt x="11732688" y="885124"/>
                  </a:lnTo>
                  <a:lnTo>
                    <a:pt x="11732688" y="15789"/>
                  </a:lnTo>
                  <a:lnTo>
                    <a:pt x="11805730" y="15789"/>
                  </a:lnTo>
                  <a:lnTo>
                    <a:pt x="11805730" y="536236"/>
                  </a:lnTo>
                  <a:lnTo>
                    <a:pt x="12070007" y="293982"/>
                  </a:lnTo>
                  <a:lnTo>
                    <a:pt x="12163887" y="293982"/>
                  </a:lnTo>
                  <a:lnTo>
                    <a:pt x="11875270" y="555961"/>
                  </a:lnTo>
                  <a:lnTo>
                    <a:pt x="12198649" y="885124"/>
                  </a:lnTo>
                  <a:close/>
                  <a:moveTo>
                    <a:pt x="11444120" y="342661"/>
                  </a:moveTo>
                  <a:cubicBezTo>
                    <a:pt x="11368811" y="342661"/>
                    <a:pt x="11316608" y="365822"/>
                    <a:pt x="11316608" y="441203"/>
                  </a:cubicBezTo>
                  <a:cubicBezTo>
                    <a:pt x="11316608" y="551346"/>
                    <a:pt x="11607548" y="537430"/>
                    <a:pt x="11607548" y="730989"/>
                  </a:cubicBezTo>
                  <a:cubicBezTo>
                    <a:pt x="11607548" y="856178"/>
                    <a:pt x="11490475" y="899088"/>
                    <a:pt x="11401218" y="899088"/>
                  </a:cubicBezTo>
                  <a:cubicBezTo>
                    <a:pt x="11344424" y="899088"/>
                    <a:pt x="11287622" y="892118"/>
                    <a:pt x="11235475" y="871248"/>
                  </a:cubicBezTo>
                  <a:lnTo>
                    <a:pt x="11242445" y="799384"/>
                  </a:lnTo>
                  <a:cubicBezTo>
                    <a:pt x="11286468" y="821424"/>
                    <a:pt x="11339793" y="836485"/>
                    <a:pt x="11396595" y="836485"/>
                  </a:cubicBezTo>
                  <a:cubicBezTo>
                    <a:pt x="11466136" y="836485"/>
                    <a:pt x="11527584" y="798214"/>
                    <a:pt x="11527584" y="730989"/>
                  </a:cubicBezTo>
                  <a:cubicBezTo>
                    <a:pt x="11527584" y="590731"/>
                    <a:pt x="11243590" y="612770"/>
                    <a:pt x="11243590" y="441203"/>
                  </a:cubicBezTo>
                  <a:cubicBezTo>
                    <a:pt x="11243590" y="324130"/>
                    <a:pt x="11338647" y="280106"/>
                    <a:pt x="11436004" y="280106"/>
                  </a:cubicBezTo>
                  <a:cubicBezTo>
                    <a:pt x="11467289" y="280106"/>
                    <a:pt x="11529884" y="287076"/>
                    <a:pt x="11582055" y="306761"/>
                  </a:cubicBezTo>
                  <a:lnTo>
                    <a:pt x="11575085" y="370533"/>
                  </a:lnTo>
                  <a:cubicBezTo>
                    <a:pt x="11536830" y="353116"/>
                    <a:pt x="11484682" y="342701"/>
                    <a:pt x="11444120" y="342701"/>
                  </a:cubicBezTo>
                  <a:close/>
                  <a:moveTo>
                    <a:pt x="11036115" y="38950"/>
                  </a:moveTo>
                  <a:lnTo>
                    <a:pt x="11109148" y="38950"/>
                  </a:lnTo>
                  <a:lnTo>
                    <a:pt x="11109148" y="136339"/>
                  </a:lnTo>
                  <a:lnTo>
                    <a:pt x="11036115" y="136339"/>
                  </a:lnTo>
                  <a:lnTo>
                    <a:pt x="11036115" y="38950"/>
                  </a:lnTo>
                  <a:close/>
                  <a:moveTo>
                    <a:pt x="11036115" y="885124"/>
                  </a:moveTo>
                  <a:lnTo>
                    <a:pt x="11036115" y="293982"/>
                  </a:lnTo>
                  <a:lnTo>
                    <a:pt x="11109148" y="293982"/>
                  </a:lnTo>
                  <a:lnTo>
                    <a:pt x="11109148" y="885124"/>
                  </a:lnTo>
                  <a:close/>
                  <a:moveTo>
                    <a:pt x="10570226" y="145600"/>
                  </a:moveTo>
                  <a:lnTo>
                    <a:pt x="10487892" y="145600"/>
                  </a:lnTo>
                  <a:lnTo>
                    <a:pt x="10487892" y="434217"/>
                  </a:lnTo>
                  <a:lnTo>
                    <a:pt x="10572525" y="434217"/>
                  </a:lnTo>
                  <a:cubicBezTo>
                    <a:pt x="10666405" y="434217"/>
                    <a:pt x="10774209" y="398309"/>
                    <a:pt x="10774209" y="285859"/>
                  </a:cubicBezTo>
                  <a:cubicBezTo>
                    <a:pt x="10774209" y="153724"/>
                    <a:pt x="10680321" y="145600"/>
                    <a:pt x="10570226" y="145600"/>
                  </a:cubicBezTo>
                  <a:close/>
                  <a:moveTo>
                    <a:pt x="10674529" y="472472"/>
                  </a:moveTo>
                  <a:lnTo>
                    <a:pt x="10674529" y="474795"/>
                  </a:lnTo>
                  <a:cubicBezTo>
                    <a:pt x="10739423" y="482895"/>
                    <a:pt x="10753339" y="517673"/>
                    <a:pt x="10778855" y="572176"/>
                  </a:cubicBezTo>
                  <a:lnTo>
                    <a:pt x="10916799" y="885124"/>
                  </a:lnTo>
                  <a:lnTo>
                    <a:pt x="10828671" y="885124"/>
                  </a:lnTo>
                  <a:lnTo>
                    <a:pt x="10711598" y="611561"/>
                  </a:lnTo>
                  <a:cubicBezTo>
                    <a:pt x="10665235" y="507274"/>
                    <a:pt x="10630473" y="503757"/>
                    <a:pt x="10553987" y="503757"/>
                  </a:cubicBezTo>
                  <a:lnTo>
                    <a:pt x="10487892" y="503757"/>
                  </a:lnTo>
                  <a:lnTo>
                    <a:pt x="10487892" y="885108"/>
                  </a:lnTo>
                  <a:lnTo>
                    <a:pt x="10407928" y="885108"/>
                  </a:lnTo>
                  <a:lnTo>
                    <a:pt x="10407928" y="76060"/>
                  </a:lnTo>
                  <a:lnTo>
                    <a:pt x="10616581" y="76060"/>
                  </a:lnTo>
                  <a:cubicBezTo>
                    <a:pt x="10760285" y="76060"/>
                    <a:pt x="10854188" y="137484"/>
                    <a:pt x="10854188" y="285859"/>
                  </a:cubicBezTo>
                  <a:cubicBezTo>
                    <a:pt x="10854188" y="390185"/>
                    <a:pt x="10774209" y="459710"/>
                    <a:pt x="10674529" y="472472"/>
                  </a:cubicBezTo>
                  <a:close/>
                  <a:moveTo>
                    <a:pt x="9970977" y="77229"/>
                  </a:moveTo>
                  <a:cubicBezTo>
                    <a:pt x="9955908" y="69114"/>
                    <a:pt x="9933916" y="64483"/>
                    <a:pt x="9913053" y="64483"/>
                  </a:cubicBezTo>
                  <a:cubicBezTo>
                    <a:pt x="9813350" y="64483"/>
                    <a:pt x="9823773" y="172263"/>
                    <a:pt x="9823773" y="242981"/>
                  </a:cubicBezTo>
                  <a:lnTo>
                    <a:pt x="9823773" y="293982"/>
                  </a:lnTo>
                  <a:lnTo>
                    <a:pt x="9957061" y="293982"/>
                  </a:lnTo>
                  <a:lnTo>
                    <a:pt x="9957061" y="356577"/>
                  </a:lnTo>
                  <a:lnTo>
                    <a:pt x="9823773" y="356577"/>
                  </a:lnTo>
                  <a:lnTo>
                    <a:pt x="9823773" y="885124"/>
                  </a:lnTo>
                  <a:lnTo>
                    <a:pt x="9750755" y="885124"/>
                  </a:lnTo>
                  <a:lnTo>
                    <a:pt x="9750755" y="356577"/>
                  </a:lnTo>
                  <a:lnTo>
                    <a:pt x="9631383" y="356577"/>
                  </a:lnTo>
                  <a:lnTo>
                    <a:pt x="9631383" y="293982"/>
                  </a:lnTo>
                  <a:lnTo>
                    <a:pt x="9750755" y="293982"/>
                  </a:lnTo>
                  <a:lnTo>
                    <a:pt x="9750755" y="251096"/>
                  </a:lnTo>
                  <a:cubicBezTo>
                    <a:pt x="9750755" y="127061"/>
                    <a:pt x="9755378" y="1889"/>
                    <a:pt x="9907229" y="1889"/>
                  </a:cubicBezTo>
                  <a:cubicBezTo>
                    <a:pt x="9930463" y="1889"/>
                    <a:pt x="9961708" y="5342"/>
                    <a:pt x="9975624" y="13465"/>
                  </a:cubicBezTo>
                  <a:lnTo>
                    <a:pt x="9970977" y="77229"/>
                  </a:lnTo>
                  <a:close/>
                  <a:moveTo>
                    <a:pt x="9292942" y="342661"/>
                  </a:moveTo>
                  <a:cubicBezTo>
                    <a:pt x="9165430" y="342661"/>
                    <a:pt x="9097060" y="452780"/>
                    <a:pt x="9097060" y="589545"/>
                  </a:cubicBezTo>
                  <a:cubicBezTo>
                    <a:pt x="9097060" y="726310"/>
                    <a:pt x="9165430" y="836446"/>
                    <a:pt x="9292942" y="836446"/>
                  </a:cubicBezTo>
                  <a:cubicBezTo>
                    <a:pt x="9420454" y="836446"/>
                    <a:pt x="9488825" y="726302"/>
                    <a:pt x="9488825" y="589545"/>
                  </a:cubicBezTo>
                  <a:cubicBezTo>
                    <a:pt x="9488825" y="452788"/>
                    <a:pt x="9420431" y="342661"/>
                    <a:pt x="9292942" y="342661"/>
                  </a:cubicBezTo>
                  <a:close/>
                  <a:moveTo>
                    <a:pt x="9292942" y="899048"/>
                  </a:moveTo>
                  <a:cubicBezTo>
                    <a:pt x="9101682" y="899048"/>
                    <a:pt x="9017048" y="750666"/>
                    <a:pt x="9017048" y="589545"/>
                  </a:cubicBezTo>
                  <a:cubicBezTo>
                    <a:pt x="9017048" y="428424"/>
                    <a:pt x="9101682" y="280066"/>
                    <a:pt x="9292942" y="280066"/>
                  </a:cubicBezTo>
                  <a:cubicBezTo>
                    <a:pt x="9484202" y="280066"/>
                    <a:pt x="9568813" y="428416"/>
                    <a:pt x="9568813" y="589545"/>
                  </a:cubicBezTo>
                  <a:cubicBezTo>
                    <a:pt x="9568813" y="750674"/>
                    <a:pt x="9484179" y="899040"/>
                    <a:pt x="9292942" y="899040"/>
                  </a:cubicBezTo>
                  <a:close/>
                  <a:moveTo>
                    <a:pt x="8381940" y="342661"/>
                  </a:moveTo>
                  <a:cubicBezTo>
                    <a:pt x="8274144" y="342661"/>
                    <a:pt x="8208089" y="450432"/>
                    <a:pt x="8208089" y="547813"/>
                  </a:cubicBezTo>
                  <a:lnTo>
                    <a:pt x="8532661" y="547813"/>
                  </a:lnTo>
                  <a:cubicBezTo>
                    <a:pt x="8532661" y="444656"/>
                    <a:pt x="8490929" y="342661"/>
                    <a:pt x="8381956" y="342661"/>
                  </a:cubicBezTo>
                  <a:close/>
                  <a:moveTo>
                    <a:pt x="8208089" y="610407"/>
                  </a:moveTo>
                  <a:cubicBezTo>
                    <a:pt x="8208089" y="735596"/>
                    <a:pt x="8275306" y="836446"/>
                    <a:pt x="8402826" y="836446"/>
                  </a:cubicBezTo>
                  <a:cubicBezTo>
                    <a:pt x="8456143" y="836446"/>
                    <a:pt x="8533791" y="814414"/>
                    <a:pt x="8568569" y="792382"/>
                  </a:cubicBezTo>
                  <a:lnTo>
                    <a:pt x="8568569" y="866545"/>
                  </a:lnTo>
                  <a:cubicBezTo>
                    <a:pt x="8517591" y="887415"/>
                    <a:pt x="8451496" y="899032"/>
                    <a:pt x="8397025" y="899032"/>
                  </a:cubicBezTo>
                  <a:cubicBezTo>
                    <a:pt x="8201119" y="899032"/>
                    <a:pt x="8128125" y="766889"/>
                    <a:pt x="8128125" y="589529"/>
                  </a:cubicBezTo>
                  <a:cubicBezTo>
                    <a:pt x="8128125" y="408708"/>
                    <a:pt x="8227781" y="280050"/>
                    <a:pt x="8377333" y="280050"/>
                  </a:cubicBezTo>
                  <a:cubicBezTo>
                    <a:pt x="8544230" y="280050"/>
                    <a:pt x="8612624" y="414484"/>
                    <a:pt x="8612624" y="573274"/>
                  </a:cubicBezTo>
                  <a:lnTo>
                    <a:pt x="8612624" y="610383"/>
                  </a:lnTo>
                  <a:close/>
                  <a:moveTo>
                    <a:pt x="7921843" y="342661"/>
                  </a:moveTo>
                  <a:cubicBezTo>
                    <a:pt x="7779237" y="342661"/>
                    <a:pt x="7699274" y="445810"/>
                    <a:pt x="7699274" y="589545"/>
                  </a:cubicBezTo>
                  <a:cubicBezTo>
                    <a:pt x="7699274" y="724003"/>
                    <a:pt x="7780415" y="836446"/>
                    <a:pt x="7913720" y="836446"/>
                  </a:cubicBezTo>
                  <a:cubicBezTo>
                    <a:pt x="7960075" y="836446"/>
                    <a:pt x="8002960" y="826030"/>
                    <a:pt x="8047008" y="809767"/>
                  </a:cubicBezTo>
                  <a:lnTo>
                    <a:pt x="8053978" y="878178"/>
                  </a:lnTo>
                  <a:cubicBezTo>
                    <a:pt x="8004130" y="895547"/>
                    <a:pt x="7957775" y="899048"/>
                    <a:pt x="7902127" y="899048"/>
                  </a:cubicBezTo>
                  <a:cubicBezTo>
                    <a:pt x="7712045" y="899048"/>
                    <a:pt x="7619319" y="754119"/>
                    <a:pt x="7619319" y="589545"/>
                  </a:cubicBezTo>
                  <a:cubicBezTo>
                    <a:pt x="7619319" y="407554"/>
                    <a:pt x="7736392" y="280066"/>
                    <a:pt x="7911428" y="280066"/>
                  </a:cubicBezTo>
                  <a:cubicBezTo>
                    <a:pt x="7982122" y="280066"/>
                    <a:pt x="8033148" y="296282"/>
                    <a:pt x="8054034" y="303228"/>
                  </a:cubicBezTo>
                  <a:lnTo>
                    <a:pt x="8048242" y="372768"/>
                  </a:lnTo>
                  <a:cubicBezTo>
                    <a:pt x="8008809" y="355399"/>
                    <a:pt x="7961284" y="342661"/>
                    <a:pt x="7921899" y="342661"/>
                  </a:cubicBezTo>
                  <a:close/>
                  <a:moveTo>
                    <a:pt x="7413005" y="885124"/>
                  </a:moveTo>
                  <a:lnTo>
                    <a:pt x="7413005" y="525773"/>
                  </a:lnTo>
                  <a:cubicBezTo>
                    <a:pt x="7413005" y="414500"/>
                    <a:pt x="7373596" y="342661"/>
                    <a:pt x="7272746" y="342661"/>
                  </a:cubicBezTo>
                  <a:cubicBezTo>
                    <a:pt x="7139458" y="342661"/>
                    <a:pt x="7097726" y="459726"/>
                    <a:pt x="7097726" y="558252"/>
                  </a:cubicBezTo>
                  <a:lnTo>
                    <a:pt x="7097726" y="885124"/>
                  </a:lnTo>
                  <a:lnTo>
                    <a:pt x="7024708" y="885124"/>
                  </a:lnTo>
                  <a:lnTo>
                    <a:pt x="7024708" y="433063"/>
                  </a:lnTo>
                  <a:cubicBezTo>
                    <a:pt x="7024708" y="387862"/>
                    <a:pt x="7024708" y="341507"/>
                    <a:pt x="7020062" y="293982"/>
                  </a:cubicBezTo>
                  <a:lnTo>
                    <a:pt x="7090756" y="293982"/>
                  </a:lnTo>
                  <a:lnTo>
                    <a:pt x="7090756" y="399431"/>
                  </a:lnTo>
                  <a:lnTo>
                    <a:pt x="7093103" y="399431"/>
                  </a:lnTo>
                  <a:cubicBezTo>
                    <a:pt x="7117418" y="346130"/>
                    <a:pt x="7161474" y="280058"/>
                    <a:pt x="7284363" y="280058"/>
                  </a:cubicBezTo>
                  <a:cubicBezTo>
                    <a:pt x="7430422" y="280058"/>
                    <a:pt x="7486046" y="377431"/>
                    <a:pt x="7486046" y="507250"/>
                  </a:cubicBezTo>
                  <a:lnTo>
                    <a:pt x="7486046" y="885116"/>
                  </a:lnTo>
                  <a:close/>
                  <a:moveTo>
                    <a:pt x="6660783" y="342661"/>
                  </a:moveTo>
                  <a:cubicBezTo>
                    <a:pt x="6552979" y="342661"/>
                    <a:pt x="6486932" y="450432"/>
                    <a:pt x="6486932" y="547813"/>
                  </a:cubicBezTo>
                  <a:lnTo>
                    <a:pt x="6811464" y="547813"/>
                  </a:lnTo>
                  <a:cubicBezTo>
                    <a:pt x="6811464" y="444656"/>
                    <a:pt x="6769732" y="342661"/>
                    <a:pt x="6660807" y="342661"/>
                  </a:cubicBezTo>
                  <a:close/>
                  <a:moveTo>
                    <a:pt x="6486932" y="610407"/>
                  </a:moveTo>
                  <a:cubicBezTo>
                    <a:pt x="6486932" y="735596"/>
                    <a:pt x="6554157" y="836446"/>
                    <a:pt x="6681669" y="836446"/>
                  </a:cubicBezTo>
                  <a:cubicBezTo>
                    <a:pt x="6734970" y="836446"/>
                    <a:pt x="6812634" y="814414"/>
                    <a:pt x="6847412" y="792382"/>
                  </a:cubicBezTo>
                  <a:lnTo>
                    <a:pt x="6847412" y="866545"/>
                  </a:lnTo>
                  <a:cubicBezTo>
                    <a:pt x="6796419" y="887415"/>
                    <a:pt x="6730347" y="899032"/>
                    <a:pt x="6675869" y="899032"/>
                  </a:cubicBezTo>
                  <a:cubicBezTo>
                    <a:pt x="6479970" y="899032"/>
                    <a:pt x="6406969" y="766889"/>
                    <a:pt x="6406969" y="589529"/>
                  </a:cubicBezTo>
                  <a:cubicBezTo>
                    <a:pt x="6406969" y="408708"/>
                    <a:pt x="6506624" y="280050"/>
                    <a:pt x="6656128" y="280050"/>
                  </a:cubicBezTo>
                  <a:cubicBezTo>
                    <a:pt x="6823041" y="280050"/>
                    <a:pt x="6891436" y="414484"/>
                    <a:pt x="6891436" y="573274"/>
                  </a:cubicBezTo>
                  <a:lnTo>
                    <a:pt x="6891436" y="610383"/>
                  </a:lnTo>
                  <a:close/>
                  <a:moveTo>
                    <a:pt x="6199429" y="38950"/>
                  </a:moveTo>
                  <a:lnTo>
                    <a:pt x="6272494" y="38950"/>
                  </a:lnTo>
                  <a:lnTo>
                    <a:pt x="6272494" y="136339"/>
                  </a:lnTo>
                  <a:lnTo>
                    <a:pt x="6199429" y="136339"/>
                  </a:lnTo>
                  <a:lnTo>
                    <a:pt x="6199429" y="38950"/>
                  </a:lnTo>
                  <a:close/>
                  <a:moveTo>
                    <a:pt x="6199429" y="885124"/>
                  </a:moveTo>
                  <a:lnTo>
                    <a:pt x="6199429" y="293982"/>
                  </a:lnTo>
                  <a:lnTo>
                    <a:pt x="6272494" y="293982"/>
                  </a:lnTo>
                  <a:lnTo>
                    <a:pt x="6272494" y="885124"/>
                  </a:lnTo>
                  <a:close/>
                  <a:moveTo>
                    <a:pt x="5949116" y="342661"/>
                  </a:moveTo>
                  <a:cubicBezTo>
                    <a:pt x="5806510" y="342661"/>
                    <a:pt x="5726570" y="445810"/>
                    <a:pt x="5726570" y="589545"/>
                  </a:cubicBezTo>
                  <a:cubicBezTo>
                    <a:pt x="5726570" y="724003"/>
                    <a:pt x="5807687" y="836446"/>
                    <a:pt x="5940992" y="836446"/>
                  </a:cubicBezTo>
                  <a:cubicBezTo>
                    <a:pt x="5987347" y="836446"/>
                    <a:pt x="6030233" y="826030"/>
                    <a:pt x="6074280" y="809767"/>
                  </a:cubicBezTo>
                  <a:lnTo>
                    <a:pt x="6081250" y="878178"/>
                  </a:lnTo>
                  <a:cubicBezTo>
                    <a:pt x="6031402" y="895547"/>
                    <a:pt x="5985048" y="899040"/>
                    <a:pt x="5929399" y="899040"/>
                  </a:cubicBezTo>
                  <a:cubicBezTo>
                    <a:pt x="5739317" y="899040"/>
                    <a:pt x="5646591" y="754111"/>
                    <a:pt x="5646591" y="589537"/>
                  </a:cubicBezTo>
                  <a:cubicBezTo>
                    <a:pt x="5646591" y="407546"/>
                    <a:pt x="5763688" y="280058"/>
                    <a:pt x="5938701" y="280058"/>
                  </a:cubicBezTo>
                  <a:cubicBezTo>
                    <a:pt x="6009419" y="280058"/>
                    <a:pt x="6060420" y="296274"/>
                    <a:pt x="6081306" y="303220"/>
                  </a:cubicBezTo>
                  <a:lnTo>
                    <a:pt x="6075514" y="372760"/>
                  </a:lnTo>
                  <a:cubicBezTo>
                    <a:pt x="6036081" y="355391"/>
                    <a:pt x="5988581" y="342653"/>
                    <a:pt x="5949172" y="342653"/>
                  </a:cubicBezTo>
                  <a:close/>
                  <a:moveTo>
                    <a:pt x="5347551" y="131708"/>
                  </a:moveTo>
                  <a:cubicBezTo>
                    <a:pt x="5264087" y="131708"/>
                    <a:pt x="5172555" y="166470"/>
                    <a:pt x="5172555" y="270789"/>
                  </a:cubicBezTo>
                  <a:cubicBezTo>
                    <a:pt x="5172555" y="433063"/>
                    <a:pt x="5543434" y="434225"/>
                    <a:pt x="5543434" y="670678"/>
                  </a:cubicBezTo>
                  <a:cubicBezTo>
                    <a:pt x="5543442" y="834146"/>
                    <a:pt x="5403192" y="899040"/>
                    <a:pt x="5278003" y="899040"/>
                  </a:cubicBezTo>
                  <a:cubicBezTo>
                    <a:pt x="5199193" y="899040"/>
                    <a:pt x="5137800" y="882792"/>
                    <a:pt x="5094890" y="864254"/>
                  </a:cubicBezTo>
                  <a:lnTo>
                    <a:pt x="5103006" y="781943"/>
                  </a:lnTo>
                  <a:cubicBezTo>
                    <a:pt x="5150515" y="812082"/>
                    <a:pt x="5206163" y="829467"/>
                    <a:pt x="5281504" y="829467"/>
                  </a:cubicBezTo>
                  <a:cubicBezTo>
                    <a:pt x="5381176" y="829467"/>
                    <a:pt x="5463463" y="778474"/>
                    <a:pt x="5463463" y="663700"/>
                  </a:cubicBezTo>
                  <a:cubicBezTo>
                    <a:pt x="5463463" y="504927"/>
                    <a:pt x="5092567" y="485210"/>
                    <a:pt x="5092567" y="273104"/>
                  </a:cubicBezTo>
                  <a:cubicBezTo>
                    <a:pt x="5092567" y="143269"/>
                    <a:pt x="5206163" y="62136"/>
                    <a:pt x="5348721" y="62136"/>
                  </a:cubicBezTo>
                  <a:cubicBezTo>
                    <a:pt x="5388146" y="62136"/>
                    <a:pt x="5451870" y="67928"/>
                    <a:pt x="5507494" y="88798"/>
                  </a:cubicBezTo>
                  <a:lnTo>
                    <a:pt x="5494756" y="161831"/>
                  </a:lnTo>
                  <a:cubicBezTo>
                    <a:pt x="5458824" y="142099"/>
                    <a:pt x="5402046" y="131700"/>
                    <a:pt x="5347551" y="131700"/>
                  </a:cubicBezTo>
                  <a:close/>
                  <a:moveTo>
                    <a:pt x="4231388" y="482895"/>
                  </a:moveTo>
                  <a:cubicBezTo>
                    <a:pt x="4154901" y="513027"/>
                    <a:pt x="4079561" y="580252"/>
                    <a:pt x="4079561" y="669565"/>
                  </a:cubicBezTo>
                  <a:cubicBezTo>
                    <a:pt x="4079561" y="779684"/>
                    <a:pt x="4169963" y="836477"/>
                    <a:pt x="4267320" y="836477"/>
                  </a:cubicBezTo>
                  <a:cubicBezTo>
                    <a:pt x="4340337" y="836477"/>
                    <a:pt x="4420341" y="799376"/>
                    <a:pt x="4466680" y="742574"/>
                  </a:cubicBezTo>
                  <a:lnTo>
                    <a:pt x="4231388" y="482927"/>
                  </a:lnTo>
                  <a:close/>
                  <a:moveTo>
                    <a:pt x="4413379" y="241803"/>
                  </a:moveTo>
                  <a:cubicBezTo>
                    <a:pt x="4413379" y="165293"/>
                    <a:pt x="4367024" y="124738"/>
                    <a:pt x="4298605" y="124738"/>
                  </a:cubicBezTo>
                  <a:cubicBezTo>
                    <a:pt x="4230186" y="124738"/>
                    <a:pt x="4165316" y="164147"/>
                    <a:pt x="4165316" y="242981"/>
                  </a:cubicBezTo>
                  <a:cubicBezTo>
                    <a:pt x="4165316" y="306721"/>
                    <a:pt x="4212873" y="358876"/>
                    <a:pt x="4256881" y="407554"/>
                  </a:cubicBezTo>
                  <a:cubicBezTo>
                    <a:pt x="4327591" y="373906"/>
                    <a:pt x="4413379" y="336836"/>
                    <a:pt x="4413379" y="241803"/>
                  </a:cubicBezTo>
                  <a:close/>
                  <a:moveTo>
                    <a:pt x="4698518" y="882800"/>
                  </a:moveTo>
                  <a:lnTo>
                    <a:pt x="4596539" y="882800"/>
                  </a:lnTo>
                  <a:lnTo>
                    <a:pt x="4510751" y="792398"/>
                  </a:lnTo>
                  <a:cubicBezTo>
                    <a:pt x="4444664" y="866561"/>
                    <a:pt x="4360078" y="899048"/>
                    <a:pt x="4264996" y="899048"/>
                  </a:cubicBezTo>
                  <a:cubicBezTo>
                    <a:pt x="4128239" y="899048"/>
                    <a:pt x="3999573" y="829475"/>
                    <a:pt x="3999573" y="673002"/>
                  </a:cubicBezTo>
                  <a:cubicBezTo>
                    <a:pt x="3999573" y="548982"/>
                    <a:pt x="4083014" y="479418"/>
                    <a:pt x="4190833" y="437710"/>
                  </a:cubicBezTo>
                  <a:cubicBezTo>
                    <a:pt x="4140977" y="380892"/>
                    <a:pt x="4085353" y="319467"/>
                    <a:pt x="4085353" y="238334"/>
                  </a:cubicBezTo>
                  <a:cubicBezTo>
                    <a:pt x="4085353" y="122415"/>
                    <a:pt x="4196626" y="62144"/>
                    <a:pt x="4303268" y="62144"/>
                  </a:cubicBezTo>
                  <a:cubicBezTo>
                    <a:pt x="4399455" y="62144"/>
                    <a:pt x="4493334" y="115469"/>
                    <a:pt x="4493334" y="229065"/>
                  </a:cubicBezTo>
                  <a:cubicBezTo>
                    <a:pt x="4493334" y="355399"/>
                    <a:pt x="4395978" y="400608"/>
                    <a:pt x="4298597" y="449286"/>
                  </a:cubicBezTo>
                  <a:lnTo>
                    <a:pt x="4511897" y="686902"/>
                  </a:lnTo>
                  <a:cubicBezTo>
                    <a:pt x="4562874" y="613900"/>
                    <a:pt x="4581437" y="528120"/>
                    <a:pt x="4581437" y="441163"/>
                  </a:cubicBezTo>
                  <a:lnTo>
                    <a:pt x="4650986" y="441163"/>
                  </a:lnTo>
                  <a:cubicBezTo>
                    <a:pt x="4650986" y="545489"/>
                    <a:pt x="4620846" y="652139"/>
                    <a:pt x="4560575" y="733249"/>
                  </a:cubicBezTo>
                  <a:lnTo>
                    <a:pt x="4698510" y="882800"/>
                  </a:lnTo>
                  <a:close/>
                  <a:moveTo>
                    <a:pt x="3535960" y="836446"/>
                  </a:moveTo>
                  <a:cubicBezTo>
                    <a:pt x="3563776" y="836446"/>
                    <a:pt x="3582339" y="830653"/>
                    <a:pt x="3603201" y="822529"/>
                  </a:cubicBezTo>
                  <a:lnTo>
                    <a:pt x="3607824" y="882800"/>
                  </a:lnTo>
                  <a:cubicBezTo>
                    <a:pt x="3590455" y="889754"/>
                    <a:pt x="3554523" y="899048"/>
                    <a:pt x="3518591" y="899048"/>
                  </a:cubicBezTo>
                  <a:cubicBezTo>
                    <a:pt x="3388804" y="899048"/>
                    <a:pt x="3384109" y="809767"/>
                    <a:pt x="3384109" y="701963"/>
                  </a:cubicBezTo>
                  <a:lnTo>
                    <a:pt x="3384109" y="356577"/>
                  </a:lnTo>
                  <a:lnTo>
                    <a:pt x="3268213" y="356577"/>
                  </a:lnTo>
                  <a:lnTo>
                    <a:pt x="3268213" y="293982"/>
                  </a:lnTo>
                  <a:lnTo>
                    <a:pt x="3384109" y="293982"/>
                  </a:lnTo>
                  <a:lnTo>
                    <a:pt x="3384109" y="151376"/>
                  </a:lnTo>
                  <a:lnTo>
                    <a:pt x="3457150" y="125884"/>
                  </a:lnTo>
                  <a:lnTo>
                    <a:pt x="3457150" y="293958"/>
                  </a:lnTo>
                  <a:lnTo>
                    <a:pt x="3591584" y="293958"/>
                  </a:lnTo>
                  <a:lnTo>
                    <a:pt x="3591584" y="356553"/>
                  </a:lnTo>
                  <a:lnTo>
                    <a:pt x="3457150" y="356553"/>
                  </a:lnTo>
                  <a:lnTo>
                    <a:pt x="3457150" y="739049"/>
                  </a:lnTo>
                  <a:cubicBezTo>
                    <a:pt x="3457150" y="792374"/>
                    <a:pt x="3476859" y="836421"/>
                    <a:pt x="3535960" y="836421"/>
                  </a:cubicBezTo>
                  <a:close/>
                  <a:moveTo>
                    <a:pt x="3176673" y="356553"/>
                  </a:moveTo>
                  <a:cubicBezTo>
                    <a:pt x="3060778" y="356553"/>
                    <a:pt x="3029469" y="486340"/>
                    <a:pt x="3029469" y="593014"/>
                  </a:cubicBezTo>
                  <a:lnTo>
                    <a:pt x="3029469" y="885100"/>
                  </a:lnTo>
                  <a:lnTo>
                    <a:pt x="2956451" y="885100"/>
                  </a:lnTo>
                  <a:lnTo>
                    <a:pt x="2956451" y="426117"/>
                  </a:lnTo>
                  <a:cubicBezTo>
                    <a:pt x="2956451" y="361223"/>
                    <a:pt x="2956451" y="336836"/>
                    <a:pt x="2951789" y="293982"/>
                  </a:cubicBezTo>
                  <a:lnTo>
                    <a:pt x="3024822" y="293982"/>
                  </a:lnTo>
                  <a:lnTo>
                    <a:pt x="3024822" y="407554"/>
                  </a:lnTo>
                  <a:lnTo>
                    <a:pt x="3027169" y="407554"/>
                  </a:lnTo>
                  <a:cubicBezTo>
                    <a:pt x="3053808" y="341507"/>
                    <a:pt x="3103656" y="280066"/>
                    <a:pt x="3178997" y="280066"/>
                  </a:cubicBezTo>
                  <a:cubicBezTo>
                    <a:pt x="3196366" y="280066"/>
                    <a:pt x="3217236" y="283535"/>
                    <a:pt x="3229974" y="287036"/>
                  </a:cubicBezTo>
                  <a:lnTo>
                    <a:pt x="3229974" y="363523"/>
                  </a:lnTo>
                  <a:cubicBezTo>
                    <a:pt x="3214929" y="358876"/>
                    <a:pt x="3195220" y="356577"/>
                    <a:pt x="3176673" y="356577"/>
                  </a:cubicBezTo>
                  <a:close/>
                  <a:moveTo>
                    <a:pt x="2483569" y="152546"/>
                  </a:moveTo>
                  <a:lnTo>
                    <a:pt x="2307402" y="598790"/>
                  </a:lnTo>
                  <a:lnTo>
                    <a:pt x="2658589" y="598790"/>
                  </a:lnTo>
                  <a:lnTo>
                    <a:pt x="2483569" y="152546"/>
                  </a:lnTo>
                  <a:close/>
                  <a:moveTo>
                    <a:pt x="2772185" y="885100"/>
                  </a:moveTo>
                  <a:lnTo>
                    <a:pt x="2685252" y="668355"/>
                  </a:lnTo>
                  <a:lnTo>
                    <a:pt x="2277247" y="668355"/>
                  </a:lnTo>
                  <a:lnTo>
                    <a:pt x="2190297" y="885100"/>
                  </a:lnTo>
                  <a:lnTo>
                    <a:pt x="2112665" y="885100"/>
                  </a:lnTo>
                  <a:lnTo>
                    <a:pt x="2444168" y="76036"/>
                  </a:lnTo>
                  <a:lnTo>
                    <a:pt x="2534570" y="76036"/>
                  </a:lnTo>
                  <a:lnTo>
                    <a:pt x="2855650" y="885100"/>
                  </a:lnTo>
                  <a:close/>
                  <a:moveTo>
                    <a:pt x="1508762" y="342637"/>
                  </a:moveTo>
                  <a:cubicBezTo>
                    <a:pt x="1400950" y="342637"/>
                    <a:pt x="1334911" y="450408"/>
                    <a:pt x="1334911" y="547789"/>
                  </a:cubicBezTo>
                  <a:lnTo>
                    <a:pt x="1659451" y="547789"/>
                  </a:lnTo>
                  <a:cubicBezTo>
                    <a:pt x="1659451" y="444632"/>
                    <a:pt x="1617727" y="342637"/>
                    <a:pt x="1508778" y="342637"/>
                  </a:cubicBezTo>
                  <a:close/>
                  <a:moveTo>
                    <a:pt x="1334911" y="610383"/>
                  </a:moveTo>
                  <a:cubicBezTo>
                    <a:pt x="1334911" y="735572"/>
                    <a:pt x="1402128" y="836421"/>
                    <a:pt x="1529640" y="836421"/>
                  </a:cubicBezTo>
                  <a:cubicBezTo>
                    <a:pt x="1582948" y="836421"/>
                    <a:pt x="1660613" y="814390"/>
                    <a:pt x="1695391" y="792358"/>
                  </a:cubicBezTo>
                  <a:lnTo>
                    <a:pt x="1695391" y="866521"/>
                  </a:lnTo>
                  <a:cubicBezTo>
                    <a:pt x="1644381" y="887391"/>
                    <a:pt x="1578318" y="899008"/>
                    <a:pt x="1523847" y="899008"/>
                  </a:cubicBezTo>
                  <a:cubicBezTo>
                    <a:pt x="1327956" y="899008"/>
                    <a:pt x="1254915" y="766865"/>
                    <a:pt x="1254915" y="589505"/>
                  </a:cubicBezTo>
                  <a:cubicBezTo>
                    <a:pt x="1254915" y="408684"/>
                    <a:pt x="1354611" y="280026"/>
                    <a:pt x="1504147" y="280026"/>
                  </a:cubicBezTo>
                  <a:cubicBezTo>
                    <a:pt x="1671060" y="280026"/>
                    <a:pt x="1739447" y="414460"/>
                    <a:pt x="1739447" y="573249"/>
                  </a:cubicBezTo>
                  <a:lnTo>
                    <a:pt x="1739447" y="610359"/>
                  </a:lnTo>
                  <a:close/>
                  <a:moveTo>
                    <a:pt x="1048633" y="885100"/>
                  </a:moveTo>
                  <a:lnTo>
                    <a:pt x="1048633" y="532743"/>
                  </a:lnTo>
                  <a:cubicBezTo>
                    <a:pt x="1048633" y="430740"/>
                    <a:pt x="1028933" y="342661"/>
                    <a:pt x="908375" y="342661"/>
                  </a:cubicBezTo>
                  <a:cubicBezTo>
                    <a:pt x="778587" y="342661"/>
                    <a:pt x="733346" y="465526"/>
                    <a:pt x="733346" y="568675"/>
                  </a:cubicBezTo>
                  <a:lnTo>
                    <a:pt x="733346" y="885132"/>
                  </a:lnTo>
                  <a:lnTo>
                    <a:pt x="660393" y="885132"/>
                  </a:lnTo>
                  <a:lnTo>
                    <a:pt x="660393" y="15789"/>
                  </a:lnTo>
                  <a:lnTo>
                    <a:pt x="733402" y="15789"/>
                  </a:lnTo>
                  <a:lnTo>
                    <a:pt x="733402" y="393638"/>
                  </a:lnTo>
                  <a:lnTo>
                    <a:pt x="735734" y="393638"/>
                  </a:lnTo>
                  <a:cubicBezTo>
                    <a:pt x="767043" y="328745"/>
                    <a:pt x="833098" y="280066"/>
                    <a:pt x="920039" y="280066"/>
                  </a:cubicBezTo>
                  <a:cubicBezTo>
                    <a:pt x="1078837" y="280066"/>
                    <a:pt x="1121731" y="385539"/>
                    <a:pt x="1121731" y="531573"/>
                  </a:cubicBezTo>
                  <a:lnTo>
                    <a:pt x="1121731" y="885124"/>
                  </a:lnTo>
                  <a:close/>
                  <a:moveTo>
                    <a:pt x="325373" y="145576"/>
                  </a:moveTo>
                  <a:lnTo>
                    <a:pt x="325373" y="885100"/>
                  </a:lnTo>
                  <a:lnTo>
                    <a:pt x="245410" y="885100"/>
                  </a:lnTo>
                  <a:lnTo>
                    <a:pt x="245410" y="145600"/>
                  </a:lnTo>
                  <a:lnTo>
                    <a:pt x="6649" y="145600"/>
                  </a:lnTo>
                  <a:lnTo>
                    <a:pt x="6649" y="76060"/>
                  </a:lnTo>
                  <a:lnTo>
                    <a:pt x="564190" y="76060"/>
                  </a:lnTo>
                  <a:lnTo>
                    <a:pt x="564190" y="145600"/>
                  </a:lnTo>
                  <a:close/>
                </a:path>
              </a:pathLst>
            </a:custGeom>
            <a:grpFill/>
            <a:ln w="801" cap="flat">
              <a:noFill/>
              <a:prstDash val="solid"/>
              <a:miter/>
            </a:ln>
          </p:spPr>
          <p:txBody>
            <a:bodyPr rtlCol="0" anchor="ctr"/>
            <a:lstStyle/>
            <a:p>
              <a:endParaRPr lang="fr-BE"/>
            </a:p>
          </p:txBody>
        </p:sp>
        <p:sp>
          <p:nvSpPr>
            <p:cNvPr id="10" name="Forme libre : forme 24">
              <a:extLst>
                <a:ext uri="{FF2B5EF4-FFF2-40B4-BE49-F238E27FC236}">
                  <a16:creationId xmlns:a16="http://schemas.microsoft.com/office/drawing/2014/main" id="{B52617C1-109B-4750-A3BC-4A016217D170}"/>
                </a:ext>
              </a:extLst>
            </p:cNvPr>
            <p:cNvSpPr/>
            <p:nvPr/>
          </p:nvSpPr>
          <p:spPr>
            <a:xfrm>
              <a:off x="-786557" y="8253511"/>
              <a:ext cx="12106540" cy="2183968"/>
            </a:xfrm>
            <a:custGeom>
              <a:avLst/>
              <a:gdLst>
                <a:gd name="connsiteX0" fmla="*/ 1817527 w 12106540"/>
                <a:gd name="connsiteY0" fmla="*/ 17639 h 2183968"/>
                <a:gd name="connsiteX1" fmla="*/ 2709919 w 12106540"/>
                <a:gd name="connsiteY1" fmla="*/ 219996 h 2183968"/>
                <a:gd name="connsiteX2" fmla="*/ 2399495 w 12106540"/>
                <a:gd name="connsiteY2" fmla="*/ 553709 h 2183968"/>
                <a:gd name="connsiteX3" fmla="*/ 1554275 w 12106540"/>
                <a:gd name="connsiteY3" fmla="*/ 421102 h 2183968"/>
                <a:gd name="connsiteX4" fmla="*/ 1093835 w 12106540"/>
                <a:gd name="connsiteY4" fmla="*/ 615663 h 2183968"/>
                <a:gd name="connsiteX5" fmla="*/ 2590034 w 12106540"/>
                <a:gd name="connsiteY5" fmla="*/ 1477163 h 2183968"/>
                <a:gd name="connsiteX6" fmla="*/ 1357920 w 12106540"/>
                <a:gd name="connsiteY6" fmla="*/ 2178888 h 2183968"/>
                <a:gd name="connsiteX7" fmla="*/ 6649 w 12106540"/>
                <a:gd name="connsiteY7" fmla="*/ 1870266 h 2183968"/>
                <a:gd name="connsiteX8" fmla="*/ 177127 w 12106540"/>
                <a:gd name="connsiteY8" fmla="*/ 1601366 h 2183968"/>
                <a:gd name="connsiteX9" fmla="*/ 315383 w 12106540"/>
                <a:gd name="connsiteY9" fmla="*/ 1540622 h 2183968"/>
                <a:gd name="connsiteX10" fmla="*/ 1266003 w 12106540"/>
                <a:gd name="connsiteY10" fmla="*/ 1757896 h 2183968"/>
                <a:gd name="connsiteX11" fmla="*/ 1878047 w 12106540"/>
                <a:gd name="connsiteY11" fmla="*/ 1547704 h 2183968"/>
                <a:gd name="connsiteX12" fmla="*/ 435781 w 12106540"/>
                <a:gd name="connsiteY12" fmla="*/ 659750 h 2183968"/>
                <a:gd name="connsiteX13" fmla="*/ 1817559 w 12106540"/>
                <a:gd name="connsiteY13" fmla="*/ 17639 h 2183968"/>
                <a:gd name="connsiteX14" fmla="*/ 5541880 w 12106540"/>
                <a:gd name="connsiteY14" fmla="*/ 339584 h 2183968"/>
                <a:gd name="connsiteX15" fmla="*/ 5124069 w 12106540"/>
                <a:gd name="connsiteY15" fmla="*/ 641084 h 2183968"/>
                <a:gd name="connsiteX16" fmla="*/ 4293630 w 12106540"/>
                <a:gd name="connsiteY16" fmla="*/ 471959 h 2183968"/>
                <a:gd name="connsiteX17" fmla="*/ 3500028 w 12106540"/>
                <a:gd name="connsiteY17" fmla="*/ 1112949 h 2183968"/>
                <a:gd name="connsiteX18" fmla="*/ 4294295 w 12106540"/>
                <a:gd name="connsiteY18" fmla="*/ 1709266 h 2183968"/>
                <a:gd name="connsiteX19" fmla="*/ 6285970 w 12106540"/>
                <a:gd name="connsiteY19" fmla="*/ 463467 h 2183968"/>
                <a:gd name="connsiteX20" fmla="*/ 7656116 w 12106540"/>
                <a:gd name="connsiteY20" fmla="*/ 1889 h 2183968"/>
                <a:gd name="connsiteX21" fmla="*/ 9088663 w 12106540"/>
                <a:gd name="connsiteY21" fmla="*/ 1112925 h 2183968"/>
                <a:gd name="connsiteX22" fmla="*/ 7660522 w 12106540"/>
                <a:gd name="connsiteY22" fmla="*/ 2185858 h 2183968"/>
                <a:gd name="connsiteX23" fmla="*/ 6096064 w 12106540"/>
                <a:gd name="connsiteY23" fmla="*/ 1561236 h 2183968"/>
                <a:gd name="connsiteX24" fmla="*/ 6461199 w 12106540"/>
                <a:gd name="connsiteY24" fmla="*/ 1232329 h 2183968"/>
                <a:gd name="connsiteX25" fmla="*/ 7621963 w 12106540"/>
                <a:gd name="connsiteY25" fmla="*/ 1709266 h 2183968"/>
                <a:gd name="connsiteX26" fmla="*/ 8449349 w 12106540"/>
                <a:gd name="connsiteY26" fmla="*/ 1112949 h 2183968"/>
                <a:gd name="connsiteX27" fmla="*/ 7656436 w 12106540"/>
                <a:gd name="connsiteY27" fmla="*/ 471959 h 2183968"/>
                <a:gd name="connsiteX28" fmla="*/ 4297451 w 12106540"/>
                <a:gd name="connsiteY28" fmla="*/ 2178872 h 2183968"/>
                <a:gd name="connsiteX29" fmla="*/ 2858141 w 12106540"/>
                <a:gd name="connsiteY29" fmla="*/ 1209152 h 2183968"/>
                <a:gd name="connsiteX30" fmla="*/ 2858141 w 12106540"/>
                <a:gd name="connsiteY30" fmla="*/ 1027145 h 2183968"/>
                <a:gd name="connsiteX31" fmla="*/ 4317048 w 12106540"/>
                <a:gd name="connsiteY31" fmla="*/ 1913 h 2183968"/>
                <a:gd name="connsiteX32" fmla="*/ 5541912 w 12106540"/>
                <a:gd name="connsiteY32" fmla="*/ 339584 h 2183968"/>
                <a:gd name="connsiteX33" fmla="*/ 11334842 w 12106540"/>
                <a:gd name="connsiteY33" fmla="*/ 2127766 h 2183968"/>
                <a:gd name="connsiteX34" fmla="*/ 11045520 w 12106540"/>
                <a:gd name="connsiteY34" fmla="*/ 1920675 h 2183968"/>
                <a:gd name="connsiteX35" fmla="*/ 10375930 w 12106540"/>
                <a:gd name="connsiteY35" fmla="*/ 1108086 h 2183968"/>
                <a:gd name="connsiteX36" fmla="*/ 11480516 w 12106540"/>
                <a:gd name="connsiteY36" fmla="*/ 670702 h 2183968"/>
                <a:gd name="connsiteX37" fmla="*/ 10929641 w 12106540"/>
                <a:gd name="connsiteY37" fmla="*/ 419059 h 2183968"/>
                <a:gd name="connsiteX38" fmla="*/ 10098626 w 12106540"/>
                <a:gd name="connsiteY38" fmla="*/ 1123011 h 2183968"/>
                <a:gd name="connsiteX39" fmla="*/ 9779148 w 12106540"/>
                <a:gd name="connsiteY39" fmla="*/ 2142018 h 2183968"/>
                <a:gd name="connsiteX40" fmla="*/ 9150385 w 12106540"/>
                <a:gd name="connsiteY40" fmla="*/ 2142018 h 2183968"/>
                <a:gd name="connsiteX41" fmla="*/ 9474348 w 12106540"/>
                <a:gd name="connsiteY41" fmla="*/ 1112380 h 2183968"/>
                <a:gd name="connsiteX42" fmla="*/ 10977422 w 12106540"/>
                <a:gd name="connsiteY42" fmla="*/ 1913 h 2183968"/>
                <a:gd name="connsiteX43" fmla="*/ 12113190 w 12106540"/>
                <a:gd name="connsiteY43" fmla="*/ 602988 h 2183968"/>
                <a:gd name="connsiteX44" fmla="*/ 11137950 w 12106540"/>
                <a:gd name="connsiteY44" fmla="*/ 1304105 h 2183968"/>
                <a:gd name="connsiteX45" fmla="*/ 11974357 w 12106540"/>
                <a:gd name="connsiteY45" fmla="*/ 2142018 h 2183968"/>
                <a:gd name="connsiteX46" fmla="*/ 11447725 w 12106540"/>
                <a:gd name="connsiteY46" fmla="*/ 2142018 h 2183968"/>
                <a:gd name="connsiteX47" fmla="*/ 11334842 w 12106540"/>
                <a:gd name="connsiteY47" fmla="*/ 2127774 h 21839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12106540" h="2183968">
                  <a:moveTo>
                    <a:pt x="1817527" y="17639"/>
                  </a:moveTo>
                  <a:cubicBezTo>
                    <a:pt x="2181084" y="56095"/>
                    <a:pt x="2662459" y="205110"/>
                    <a:pt x="2709919" y="219996"/>
                  </a:cubicBezTo>
                  <a:cubicBezTo>
                    <a:pt x="2630797" y="359493"/>
                    <a:pt x="2565463" y="553709"/>
                    <a:pt x="2399495" y="553709"/>
                  </a:cubicBezTo>
                  <a:cubicBezTo>
                    <a:pt x="2276846" y="553709"/>
                    <a:pt x="1935209" y="421102"/>
                    <a:pt x="1554275" y="421102"/>
                  </a:cubicBezTo>
                  <a:cubicBezTo>
                    <a:pt x="1397593" y="421102"/>
                    <a:pt x="1093835" y="445185"/>
                    <a:pt x="1093835" y="615663"/>
                  </a:cubicBezTo>
                  <a:cubicBezTo>
                    <a:pt x="1093153" y="909687"/>
                    <a:pt x="2652981" y="818476"/>
                    <a:pt x="2590034" y="1477163"/>
                  </a:cubicBezTo>
                  <a:cubicBezTo>
                    <a:pt x="2552701" y="1872982"/>
                    <a:pt x="2043541" y="2178888"/>
                    <a:pt x="1357920" y="2178888"/>
                  </a:cubicBezTo>
                  <a:cubicBezTo>
                    <a:pt x="782273" y="2178888"/>
                    <a:pt x="216808" y="1980601"/>
                    <a:pt x="6649" y="1870266"/>
                  </a:cubicBezTo>
                  <a:cubicBezTo>
                    <a:pt x="66680" y="1775153"/>
                    <a:pt x="88832" y="1742081"/>
                    <a:pt x="177127" y="1601366"/>
                  </a:cubicBezTo>
                  <a:cubicBezTo>
                    <a:pt x="203237" y="1558905"/>
                    <a:pt x="252748" y="1534069"/>
                    <a:pt x="315383" y="1540622"/>
                  </a:cubicBezTo>
                  <a:cubicBezTo>
                    <a:pt x="402549" y="1549435"/>
                    <a:pt x="885373" y="1747497"/>
                    <a:pt x="1266003" y="1757896"/>
                  </a:cubicBezTo>
                  <a:cubicBezTo>
                    <a:pt x="1501703" y="1764601"/>
                    <a:pt x="1853403" y="1759178"/>
                    <a:pt x="1878047" y="1547704"/>
                  </a:cubicBezTo>
                  <a:cubicBezTo>
                    <a:pt x="1915805" y="1221377"/>
                    <a:pt x="435781" y="1302430"/>
                    <a:pt x="435781" y="659750"/>
                  </a:cubicBezTo>
                  <a:cubicBezTo>
                    <a:pt x="435781" y="328296"/>
                    <a:pt x="862533" y="-83651"/>
                    <a:pt x="1817559" y="17639"/>
                  </a:cubicBezTo>
                  <a:close/>
                  <a:moveTo>
                    <a:pt x="5541880" y="339584"/>
                  </a:moveTo>
                  <a:cubicBezTo>
                    <a:pt x="5376842" y="528144"/>
                    <a:pt x="5312413" y="641084"/>
                    <a:pt x="5124069" y="641084"/>
                  </a:cubicBezTo>
                  <a:cubicBezTo>
                    <a:pt x="4930870" y="641084"/>
                    <a:pt x="4776775" y="471959"/>
                    <a:pt x="4293630" y="471959"/>
                  </a:cubicBezTo>
                  <a:cubicBezTo>
                    <a:pt x="3804003" y="471959"/>
                    <a:pt x="3500028" y="757972"/>
                    <a:pt x="3500028" y="1112949"/>
                  </a:cubicBezTo>
                  <a:cubicBezTo>
                    <a:pt x="3500028" y="1600525"/>
                    <a:pt x="4056904" y="1709266"/>
                    <a:pt x="4294295" y="1709266"/>
                  </a:cubicBezTo>
                  <a:cubicBezTo>
                    <a:pt x="5033762" y="1709266"/>
                    <a:pt x="5737923" y="837335"/>
                    <a:pt x="6285970" y="463467"/>
                  </a:cubicBezTo>
                  <a:cubicBezTo>
                    <a:pt x="6654975" y="201753"/>
                    <a:pt x="7039105" y="1889"/>
                    <a:pt x="7656116" y="1889"/>
                  </a:cubicBezTo>
                  <a:cubicBezTo>
                    <a:pt x="8550110" y="1889"/>
                    <a:pt x="9088663" y="511841"/>
                    <a:pt x="9088663" y="1112925"/>
                  </a:cubicBezTo>
                  <a:cubicBezTo>
                    <a:pt x="9088663" y="1697336"/>
                    <a:pt x="8519922" y="2185858"/>
                    <a:pt x="7660522" y="2185858"/>
                  </a:cubicBezTo>
                  <a:cubicBezTo>
                    <a:pt x="6960760" y="2185858"/>
                    <a:pt x="6536043" y="1989158"/>
                    <a:pt x="6096064" y="1561236"/>
                  </a:cubicBezTo>
                  <a:lnTo>
                    <a:pt x="6461199" y="1232329"/>
                  </a:lnTo>
                  <a:cubicBezTo>
                    <a:pt x="6648669" y="1436151"/>
                    <a:pt x="7079091" y="1709266"/>
                    <a:pt x="7621963" y="1709266"/>
                  </a:cubicBezTo>
                  <a:cubicBezTo>
                    <a:pt x="8032667" y="1709266"/>
                    <a:pt x="8449349" y="1472997"/>
                    <a:pt x="8449349" y="1112949"/>
                  </a:cubicBezTo>
                  <a:cubicBezTo>
                    <a:pt x="8449349" y="746019"/>
                    <a:pt x="8141865" y="471959"/>
                    <a:pt x="7656436" y="471959"/>
                  </a:cubicBezTo>
                  <a:cubicBezTo>
                    <a:pt x="6427054" y="471959"/>
                    <a:pt x="5839413" y="2178872"/>
                    <a:pt x="4297451" y="2178872"/>
                  </a:cubicBezTo>
                  <a:cubicBezTo>
                    <a:pt x="3724865" y="2178872"/>
                    <a:pt x="2942239" y="1957520"/>
                    <a:pt x="2858141" y="1209152"/>
                  </a:cubicBezTo>
                  <a:cubicBezTo>
                    <a:pt x="2858141" y="1200443"/>
                    <a:pt x="2857228" y="1046132"/>
                    <a:pt x="2858141" y="1027145"/>
                  </a:cubicBezTo>
                  <a:cubicBezTo>
                    <a:pt x="2903231" y="432174"/>
                    <a:pt x="3572148" y="1913"/>
                    <a:pt x="4317048" y="1913"/>
                  </a:cubicBezTo>
                  <a:cubicBezTo>
                    <a:pt x="4766985" y="1913"/>
                    <a:pt x="5233987" y="181772"/>
                    <a:pt x="5541912" y="339584"/>
                  </a:cubicBezTo>
                  <a:close/>
                  <a:moveTo>
                    <a:pt x="11334842" y="2127766"/>
                  </a:moveTo>
                  <a:cubicBezTo>
                    <a:pt x="11226157" y="2098836"/>
                    <a:pt x="11134137" y="2026940"/>
                    <a:pt x="11045520" y="1920675"/>
                  </a:cubicBezTo>
                  <a:cubicBezTo>
                    <a:pt x="10795912" y="1620185"/>
                    <a:pt x="10464217" y="1219102"/>
                    <a:pt x="10375930" y="1108086"/>
                  </a:cubicBezTo>
                  <a:cubicBezTo>
                    <a:pt x="10657937" y="1064335"/>
                    <a:pt x="11480516" y="1037880"/>
                    <a:pt x="11480516" y="670702"/>
                  </a:cubicBezTo>
                  <a:cubicBezTo>
                    <a:pt x="11480516" y="462017"/>
                    <a:pt x="11163915" y="419059"/>
                    <a:pt x="10929641" y="419059"/>
                  </a:cubicBezTo>
                  <a:cubicBezTo>
                    <a:pt x="10276450" y="419059"/>
                    <a:pt x="10188259" y="864238"/>
                    <a:pt x="10098626" y="1123011"/>
                  </a:cubicBezTo>
                  <a:cubicBezTo>
                    <a:pt x="10098626" y="1123011"/>
                    <a:pt x="9826408" y="1990760"/>
                    <a:pt x="9779148" y="2142018"/>
                  </a:cubicBezTo>
                  <a:lnTo>
                    <a:pt x="9150385" y="2142018"/>
                  </a:lnTo>
                  <a:lnTo>
                    <a:pt x="9474348" y="1112380"/>
                  </a:lnTo>
                  <a:cubicBezTo>
                    <a:pt x="9670143" y="436132"/>
                    <a:pt x="10036087" y="1913"/>
                    <a:pt x="10977422" y="1913"/>
                  </a:cubicBezTo>
                  <a:cubicBezTo>
                    <a:pt x="11551114" y="1913"/>
                    <a:pt x="12113190" y="181772"/>
                    <a:pt x="12113190" y="602988"/>
                  </a:cubicBezTo>
                  <a:cubicBezTo>
                    <a:pt x="12113190" y="1094514"/>
                    <a:pt x="11492462" y="1260017"/>
                    <a:pt x="11137950" y="1304105"/>
                  </a:cubicBezTo>
                  <a:lnTo>
                    <a:pt x="11974357" y="2142018"/>
                  </a:lnTo>
                  <a:lnTo>
                    <a:pt x="11447725" y="2142018"/>
                  </a:lnTo>
                  <a:cubicBezTo>
                    <a:pt x="11407947" y="2142018"/>
                    <a:pt x="11370421" y="2137268"/>
                    <a:pt x="11334842" y="2127774"/>
                  </a:cubicBezTo>
                </a:path>
              </a:pathLst>
            </a:custGeom>
            <a:grpFill/>
            <a:ln w="801" cap="flat">
              <a:noFill/>
              <a:prstDash val="solid"/>
              <a:miter/>
            </a:ln>
          </p:spPr>
          <p:txBody>
            <a:bodyPr rtlCol="0" anchor="ctr"/>
            <a:lstStyle/>
            <a:p>
              <a:endParaRPr lang="fr-BE"/>
            </a:p>
          </p:txBody>
        </p:sp>
      </p:grpSp>
      <p:cxnSp>
        <p:nvCxnSpPr>
          <p:cNvPr id="12" name="Straight Connector 11">
            <a:extLst>
              <a:ext uri="{FF2B5EF4-FFF2-40B4-BE49-F238E27FC236}">
                <a16:creationId xmlns:a16="http://schemas.microsoft.com/office/drawing/2014/main" id="{4B17A634-EFA3-406A-8EBF-260C9D367CC1}"/>
              </a:ext>
            </a:extLst>
          </p:cNvPr>
          <p:cNvCxnSpPr>
            <a:cxnSpLocks/>
          </p:cNvCxnSpPr>
          <p:nvPr userDrawn="1"/>
        </p:nvCxnSpPr>
        <p:spPr>
          <a:xfrm>
            <a:off x="678159" y="6378097"/>
            <a:ext cx="0" cy="104377"/>
          </a:xfrm>
          <a:prstGeom prst="line">
            <a:avLst/>
          </a:prstGeom>
          <a:ln w="127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304872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7" r:id="rId3"/>
    <p:sldLayoutId id="2147483705" r:id="rId4"/>
    <p:sldLayoutId id="2147483706" r:id="rId5"/>
    <p:sldLayoutId id="2147483659" r:id="rId6"/>
    <p:sldLayoutId id="2147483651" r:id="rId7"/>
    <p:sldLayoutId id="2147483701" r:id="rId8"/>
    <p:sldLayoutId id="2147483702" r:id="rId9"/>
    <p:sldLayoutId id="2147483700" r:id="rId10"/>
    <p:sldLayoutId id="2147483699" r:id="rId11"/>
    <p:sldLayoutId id="2147483698" r:id="rId12"/>
    <p:sldLayoutId id="2147483695" r:id="rId13"/>
    <p:sldLayoutId id="2147483650" r:id="rId14"/>
    <p:sldLayoutId id="2147483652" r:id="rId15"/>
    <p:sldLayoutId id="2147483697" r:id="rId16"/>
    <p:sldLayoutId id="2147483654" r:id="rId17"/>
    <p:sldLayoutId id="2147483655" r:id="rId18"/>
    <p:sldLayoutId id="2147483708" r:id="rId19"/>
    <p:sldLayoutId id="2147483709" r:id="rId20"/>
    <p:sldLayoutId id="2147483710" r:id="rId21"/>
    <p:sldLayoutId id="2147483711" r:id="rId22"/>
    <p:sldLayoutId id="2147483712" r:id="rId23"/>
    <p:sldLayoutId id="2147483694" r:id="rId24"/>
    <p:sldLayoutId id="2147483696" r:id="rId2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dt="0"/>
  <p:txStyles>
    <p:titleStyle>
      <a:lvl1pPr algn="l" defTabSz="914400" rtl="0" eaLnBrk="1" latinLnBrk="0" hangingPunct="1">
        <a:lnSpc>
          <a:spcPct val="90000"/>
        </a:lnSpc>
        <a:spcBef>
          <a:spcPct val="0"/>
        </a:spcBef>
        <a:buNone/>
        <a:defRPr sz="2600" kern="1200">
          <a:solidFill>
            <a:schemeClr val="tx1"/>
          </a:solidFill>
          <a:latin typeface="+mj-lt"/>
          <a:ea typeface="+mj-ea"/>
          <a:cs typeface="+mj-cs"/>
        </a:defRPr>
      </a:lvl1pPr>
    </p:titleStyle>
    <p:bodyStyle>
      <a:lvl1pPr marL="266700" indent="-174625" algn="l" defTabSz="914400" rtl="0" eaLnBrk="1" latinLnBrk="0" hangingPunct="1">
        <a:lnSpc>
          <a:spcPct val="90000"/>
        </a:lnSpc>
        <a:spcBef>
          <a:spcPts val="1800"/>
        </a:spcBef>
        <a:buFont typeface="Arial" panose="020B0604020202020204" pitchFamily="34" charset="0"/>
        <a:buChar char="•"/>
        <a:defRPr sz="2400" b="1" kern="1200">
          <a:solidFill>
            <a:schemeClr val="accent1"/>
          </a:solidFill>
          <a:latin typeface="+mn-lt"/>
          <a:ea typeface="+mn-ea"/>
          <a:cs typeface="+mn-cs"/>
        </a:defRPr>
      </a:lvl1pPr>
      <a:lvl2pPr marL="450850" indent="-184150" algn="l" defTabSz="914400" rtl="0" eaLnBrk="1" latinLnBrk="0" hangingPunct="1">
        <a:lnSpc>
          <a:spcPct val="90000"/>
        </a:lnSpc>
        <a:spcBef>
          <a:spcPts val="1200"/>
        </a:spcBef>
        <a:buFont typeface="Arial" panose="020B0604020202020204" pitchFamily="34" charset="0"/>
        <a:buChar char="•"/>
        <a:defRPr sz="2000" b="1" kern="1200">
          <a:solidFill>
            <a:schemeClr val="tx1"/>
          </a:solidFill>
          <a:latin typeface="+mn-lt"/>
          <a:ea typeface="+mn-ea"/>
          <a:cs typeface="+mn-cs"/>
        </a:defRPr>
      </a:lvl2pPr>
      <a:lvl3pPr marL="625475" indent="-174625" algn="l" defTabSz="914400" rtl="0" eaLnBrk="1" latinLnBrk="0" hangingPunct="1">
        <a:lnSpc>
          <a:spcPct val="90000"/>
        </a:lnSpc>
        <a:spcBef>
          <a:spcPts val="1200"/>
        </a:spcBef>
        <a:buFont typeface="Arial" panose="020B0604020202020204" pitchFamily="34" charset="0"/>
        <a:buChar char="•"/>
        <a:defRPr sz="1600" kern="1200">
          <a:solidFill>
            <a:schemeClr val="tx1"/>
          </a:solidFill>
          <a:latin typeface="+mn-lt"/>
          <a:ea typeface="+mn-ea"/>
          <a:cs typeface="+mn-cs"/>
        </a:defRPr>
      </a:lvl3pPr>
      <a:lvl4pPr marL="809625" indent="-184150" algn="l" defTabSz="914400" rtl="0" eaLnBrk="1" latinLnBrk="0" hangingPunct="1">
        <a:lnSpc>
          <a:spcPct val="90000"/>
        </a:lnSpc>
        <a:spcBef>
          <a:spcPts val="1200"/>
        </a:spcBef>
        <a:buFont typeface="Arial" panose="020B0604020202020204" pitchFamily="34" charset="0"/>
        <a:buChar char="•"/>
        <a:defRPr sz="1400" kern="1200">
          <a:solidFill>
            <a:schemeClr val="tx1"/>
          </a:solidFill>
          <a:latin typeface="+mn-lt"/>
          <a:ea typeface="+mn-ea"/>
          <a:cs typeface="+mn-cs"/>
        </a:defRPr>
      </a:lvl4pPr>
      <a:lvl5pPr marL="0" indent="0" algn="l" defTabSz="914400" rtl="0" eaLnBrk="1" latinLnBrk="0" hangingPunct="1">
        <a:lnSpc>
          <a:spcPct val="90000"/>
        </a:lnSpc>
        <a:spcBef>
          <a:spcPts val="1200"/>
        </a:spcBef>
        <a:buFont typeface="Arial" panose="020B0604020202020204" pitchFamily="34" charset="0"/>
        <a:buNone/>
        <a:defRPr sz="1600" kern="1200">
          <a:solidFill>
            <a:schemeClr val="tx1"/>
          </a:solidFill>
          <a:latin typeface="+mn-lt"/>
          <a:ea typeface="+mn-ea"/>
          <a:cs typeface="+mn-cs"/>
        </a:defRPr>
      </a:lvl5pPr>
      <a:lvl6pPr marL="538163" indent="-177800" algn="l" defTabSz="914400" rtl="0" eaLnBrk="1" latinLnBrk="0" hangingPunct="1">
        <a:lnSpc>
          <a:spcPct val="90000"/>
        </a:lnSpc>
        <a:spcBef>
          <a:spcPts val="1200"/>
        </a:spcBef>
        <a:buFont typeface="Arial" panose="020B0604020202020204" pitchFamily="34" charset="0"/>
        <a:buChar char="•"/>
        <a:defRPr sz="1600" kern="1200">
          <a:solidFill>
            <a:schemeClr val="tx1"/>
          </a:solidFill>
          <a:latin typeface="+mn-lt"/>
          <a:ea typeface="+mn-ea"/>
          <a:cs typeface="+mn-cs"/>
        </a:defRPr>
      </a:lvl6pPr>
      <a:lvl7pPr marL="285750" indent="-285750" algn="l" defTabSz="914400" rtl="0" eaLnBrk="1" latinLnBrk="0" hangingPunct="1">
        <a:lnSpc>
          <a:spcPct val="90000"/>
        </a:lnSpc>
        <a:spcBef>
          <a:spcPts val="1200"/>
        </a:spcBef>
        <a:buFont typeface="Arial" panose="020B0604020202020204" pitchFamily="34" charset="0"/>
        <a:buChar char="•"/>
        <a:defRPr sz="1400" kern="1200">
          <a:solidFill>
            <a:schemeClr val="tx1"/>
          </a:solidFill>
          <a:latin typeface="+mn-lt"/>
          <a:ea typeface="+mn-ea"/>
          <a:cs typeface="+mn-cs"/>
        </a:defRPr>
      </a:lvl7pPr>
      <a:lvl8pPr marL="715963" indent="-180975" algn="l" defTabSz="914400" rtl="0" eaLnBrk="1" latinLnBrk="0" hangingPunct="1">
        <a:lnSpc>
          <a:spcPct val="90000"/>
        </a:lnSpc>
        <a:spcBef>
          <a:spcPts val="1200"/>
        </a:spcBef>
        <a:buFont typeface="Arial" panose="020B0604020202020204" pitchFamily="34" charset="0"/>
        <a:buChar char="•"/>
        <a:defRPr sz="1400" kern="1200">
          <a:solidFill>
            <a:schemeClr val="tx1"/>
          </a:solidFill>
          <a:latin typeface="+mn-lt"/>
          <a:ea typeface="+mn-ea"/>
          <a:cs typeface="+mn-cs"/>
        </a:defRPr>
      </a:lvl8pPr>
      <a:lvl9pPr marL="0" indent="0" algn="l" defTabSz="914400" rtl="0" eaLnBrk="1" latinLnBrk="0" hangingPunct="1">
        <a:lnSpc>
          <a:spcPct val="90000"/>
        </a:lnSpc>
        <a:spcBef>
          <a:spcPts val="1200"/>
        </a:spcBef>
        <a:buFont typeface="Arial" panose="020B0604020202020204" pitchFamily="34" charset="0"/>
        <a:buNone/>
        <a:defRPr sz="12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userDrawn="1">
          <p15:clr>
            <a:srgbClr val="F26B43"/>
          </p15:clr>
        </p15:guide>
        <p15:guide id="4" pos="7680" userDrawn="1">
          <p15:clr>
            <a:srgbClr val="F26B43"/>
          </p15:clr>
        </p15:guide>
        <p15:guide id="5" orient="horz" pos="5" userDrawn="1">
          <p15:clr>
            <a:srgbClr val="F26B43"/>
          </p15:clr>
        </p15:guide>
        <p15:guide id="6" orient="horz" pos="4320" userDrawn="1">
          <p15:clr>
            <a:srgbClr val="F26B43"/>
          </p15:clr>
        </p15:guide>
        <p15:guide id="7" pos="234" userDrawn="1">
          <p15:clr>
            <a:srgbClr val="F26B43"/>
          </p15:clr>
        </p15:guide>
        <p15:guide id="8" pos="7446" userDrawn="1">
          <p15:clr>
            <a:srgbClr val="F26B43"/>
          </p15:clr>
        </p15:guide>
        <p15:guide id="9" orient="horz" pos="232" userDrawn="1">
          <p15:clr>
            <a:srgbClr val="F26B43"/>
          </p15:clr>
        </p15:guide>
        <p15:guide id="10" orient="horz" pos="4088" userDrawn="1">
          <p15:clr>
            <a:srgbClr val="F26B43"/>
          </p15:clr>
        </p15:guide>
        <p15:guide id="11" orient="horz" pos="1117" userDrawn="1">
          <p15:clr>
            <a:srgbClr val="F26B43"/>
          </p15:clr>
        </p15:guide>
        <p15:guide id="12" orient="horz" pos="374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AA8A3B8-FDBC-58F0-C857-C60ABDC61E9A}"/>
              </a:ext>
            </a:extLst>
          </p:cNvPr>
          <p:cNvGraphicFramePr>
            <a:graphicFrameLocks noChangeAspect="1"/>
          </p:cNvGraphicFramePr>
          <p:nvPr userDrawn="1">
            <p:custDataLst>
              <p:tags r:id="rId37"/>
            </p:custDataLst>
          </p:nvPr>
        </p:nvGraphicFramePr>
        <p:xfrm>
          <a:off x="1587" y="1587"/>
          <a:ext cx="1588" cy="1588"/>
        </p:xfrm>
        <a:graphic>
          <a:graphicData uri="http://schemas.openxmlformats.org/presentationml/2006/ole">
            <mc:AlternateContent xmlns:mc="http://schemas.openxmlformats.org/markup-compatibility/2006">
              <mc:Choice xmlns:v="urn:schemas-microsoft-com:vml" Requires="v">
                <p:oleObj name="think-cell Slide" r:id="rId38" imgW="415" imgH="416" progId="TCLayout.ActiveDocument.1">
                  <p:embed/>
                </p:oleObj>
              </mc:Choice>
              <mc:Fallback>
                <p:oleObj name="think-cell Slide" r:id="rId38" imgW="415" imgH="416" progId="TCLayout.ActiveDocument.1">
                  <p:embed/>
                  <p:pic>
                    <p:nvPicPr>
                      <p:cNvPr id="6" name="think-cell data - do not delete" hidden="1">
                        <a:extLst>
                          <a:ext uri="{FF2B5EF4-FFF2-40B4-BE49-F238E27FC236}">
                            <a16:creationId xmlns:a16="http://schemas.microsoft.com/office/drawing/2014/main" id="{1AA8A3B8-FDBC-58F0-C857-C60ABDC61E9A}"/>
                          </a:ext>
                        </a:extLst>
                      </p:cNvPr>
                      <p:cNvPicPr/>
                      <p:nvPr/>
                    </p:nvPicPr>
                    <p:blipFill>
                      <a:blip r:embed="rId39"/>
                      <a:stretch>
                        <a:fillRect/>
                      </a:stretch>
                    </p:blipFill>
                    <p:spPr>
                      <a:xfrm>
                        <a:off x="1587" y="1587"/>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142281" y="468193"/>
            <a:ext cx="10678419" cy="400109"/>
          </a:xfrm>
          <a:prstGeom prst="rect">
            <a:avLst/>
          </a:prstGeom>
        </p:spPr>
        <p:txBody>
          <a:bodyPr vert="horz" wrap="square" lIns="0" tIns="0" rIns="0" bIns="0" rtlCol="0" anchor="b">
            <a:spAutoFit/>
          </a:bodyPr>
          <a:lstStyle/>
          <a:p>
            <a:r>
              <a:rPr lang="en-US"/>
              <a:t>Click to edit Master title style</a:t>
            </a:r>
            <a:endParaRPr lang="en-GB"/>
          </a:p>
        </p:txBody>
      </p:sp>
      <p:sp>
        <p:nvSpPr>
          <p:cNvPr id="3" name="Text Placeholder 2"/>
          <p:cNvSpPr>
            <a:spLocks noGrp="1"/>
          </p:cNvSpPr>
          <p:nvPr>
            <p:ph type="body" idx="1"/>
          </p:nvPr>
        </p:nvSpPr>
        <p:spPr>
          <a:xfrm>
            <a:off x="1142281" y="1562101"/>
            <a:ext cx="10679476" cy="455470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Box 14">
            <a:extLst>
              <a:ext uri="{FF2B5EF4-FFF2-40B4-BE49-F238E27FC236}">
                <a16:creationId xmlns:a16="http://schemas.microsoft.com/office/drawing/2014/main" id="{C116A898-2791-4431-93E9-E2E1689C912F}"/>
              </a:ext>
            </a:extLst>
          </p:cNvPr>
          <p:cNvSpPr txBox="1"/>
          <p:nvPr userDrawn="1"/>
        </p:nvSpPr>
        <p:spPr>
          <a:xfrm>
            <a:off x="11465671" y="6366346"/>
            <a:ext cx="344510" cy="136768"/>
          </a:xfrm>
          <a:prstGeom prst="rect">
            <a:avLst/>
          </a:prstGeom>
          <a:noFill/>
        </p:spPr>
        <p:txBody>
          <a:bodyPr wrap="square" lIns="0" tIns="0" rIns="0" bIns="0" rtlCol="0" anchor="b" anchorCtr="0">
            <a:noAutofit/>
          </a:bodyPr>
          <a:lstStyle/>
          <a:p>
            <a:pPr marL="0" marR="0" algn="r">
              <a:spcBef>
                <a:spcPts val="0"/>
              </a:spcBef>
              <a:spcAft>
                <a:spcPts val="0"/>
              </a:spcAft>
              <a:tabLst>
                <a:tab pos="1617835" algn="ctr"/>
                <a:tab pos="3235669" algn="r"/>
                <a:tab pos="1617835" algn="ctr"/>
                <a:tab pos="4915728" algn="r"/>
              </a:tabLst>
            </a:pPr>
            <a:fld id="{11593A94-9C05-433E-9216-498CC28E8E90}" type="slidenum">
              <a:rPr lang="en-GB" sz="800" i="0" noProof="0" smtClean="0">
                <a:solidFill>
                  <a:schemeClr val="tx1"/>
                </a:solidFill>
                <a:effectLst/>
                <a:latin typeface="Helvetica Now Text" panose="020B0504030202020204" pitchFamily="34" charset="0"/>
                <a:ea typeface="Arial"/>
                <a:cs typeface="Times New Roman"/>
              </a:rPr>
              <a:pPr marL="0" marR="0" algn="r">
                <a:spcBef>
                  <a:spcPts val="0"/>
                </a:spcBef>
                <a:spcAft>
                  <a:spcPts val="0"/>
                </a:spcAft>
                <a:tabLst>
                  <a:tab pos="1617835" algn="ctr"/>
                  <a:tab pos="3235669" algn="r"/>
                  <a:tab pos="1617835" algn="ctr"/>
                  <a:tab pos="4915728" algn="r"/>
                </a:tabLst>
              </a:pPr>
              <a:t>‹#›</a:t>
            </a:fld>
            <a:endParaRPr lang="en-GB" sz="800" i="0" noProof="0">
              <a:solidFill>
                <a:schemeClr val="tx1"/>
              </a:solidFill>
              <a:latin typeface="Helvetica Now Text" panose="020B0504030202020204" pitchFamily="34" charset="0"/>
            </a:endParaRPr>
          </a:p>
        </p:txBody>
      </p:sp>
      <p:sp>
        <p:nvSpPr>
          <p:cNvPr id="16" name="TextBox 15">
            <a:extLst>
              <a:ext uri="{FF2B5EF4-FFF2-40B4-BE49-F238E27FC236}">
                <a16:creationId xmlns:a16="http://schemas.microsoft.com/office/drawing/2014/main" id="{9D5CAC4F-5625-41CF-8C4C-DB565C995CCE}"/>
              </a:ext>
            </a:extLst>
          </p:cNvPr>
          <p:cNvSpPr txBox="1"/>
          <p:nvPr userDrawn="1"/>
        </p:nvSpPr>
        <p:spPr>
          <a:xfrm>
            <a:off x="9450572" y="6366346"/>
            <a:ext cx="1977792" cy="136768"/>
          </a:xfrm>
          <a:prstGeom prst="rect">
            <a:avLst/>
          </a:prstGeom>
          <a:noFill/>
        </p:spPr>
        <p:txBody>
          <a:bodyPr wrap="square" lIns="0" tIns="0" rIns="0" bIns="0" rtlCol="0" anchor="b">
            <a:noAutofit/>
          </a:bodyPr>
          <a:lstStyle/>
          <a:p>
            <a:pPr marL="0" algn="r">
              <a:lnSpc>
                <a:spcPct val="117000"/>
              </a:lnSpc>
              <a:spcAft>
                <a:spcPts val="500"/>
              </a:spcAft>
            </a:pPr>
            <a:r>
              <a:rPr lang="en-GB" sz="800" b="1">
                <a:solidFill>
                  <a:schemeClr val="tx1"/>
                </a:solidFill>
                <a:latin typeface="Helvetica Now Text" panose="020B0504030202020204" pitchFamily="34" charset="0"/>
              </a:rPr>
              <a:t>Nat Cat Revealed 2025</a:t>
            </a:r>
            <a:br>
              <a:rPr lang="en-GB" sz="800">
                <a:solidFill>
                  <a:schemeClr val="tx1"/>
                </a:solidFill>
                <a:latin typeface="Helvetica Now Text" panose="020B0504030202020204" pitchFamily="34" charset="0"/>
              </a:rPr>
            </a:br>
            <a:r>
              <a:rPr lang="en-GB" sz="800">
                <a:solidFill>
                  <a:schemeClr val="tx1"/>
                </a:solidFill>
                <a:latin typeface="Helvetica Now Text" panose="020B0504030202020204" pitchFamily="34" charset="0"/>
              </a:rPr>
              <a:t>Proprietary &amp; Confidential</a:t>
            </a:r>
          </a:p>
        </p:txBody>
      </p:sp>
      <p:pic>
        <p:nvPicPr>
          <p:cNvPr id="5" name="Graphic 4">
            <a:extLst>
              <a:ext uri="{FF2B5EF4-FFF2-40B4-BE49-F238E27FC236}">
                <a16:creationId xmlns:a16="http://schemas.microsoft.com/office/drawing/2014/main" id="{75DA769B-60E6-93B0-F529-80B9740F836D}"/>
              </a:ext>
            </a:extLst>
          </p:cNvPr>
          <p:cNvPicPr>
            <a:picLocks noChangeAspect="1"/>
          </p:cNvPicPr>
          <p:nvPr userDrawn="1"/>
        </p:nvPicPr>
        <p:blipFill>
          <a:blip r:embed="rId40">
            <a:extLst>
              <a:ext uri="{96DAC541-7B7A-43D3-8B79-37D633B846F1}">
                <asvg:svgBlip xmlns:asvg="http://schemas.microsoft.com/office/drawing/2016/SVG/main" r:embed="rId41"/>
              </a:ext>
            </a:extLst>
          </a:blip>
          <a:stretch>
            <a:fillRect/>
          </a:stretch>
        </p:blipFill>
        <p:spPr>
          <a:xfrm>
            <a:off x="382614" y="6242246"/>
            <a:ext cx="637177" cy="241101"/>
          </a:xfrm>
          <a:prstGeom prst="rect">
            <a:avLst/>
          </a:prstGeom>
        </p:spPr>
      </p:pic>
    </p:spTree>
    <p:extLst>
      <p:ext uri="{BB962C8B-B14F-4D97-AF65-F5344CB8AC3E}">
        <p14:creationId xmlns:p14="http://schemas.microsoft.com/office/powerpoint/2010/main" val="141888351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13" r:id="rId3"/>
    <p:sldLayoutId id="2147483663" r:id="rId4"/>
    <p:sldLayoutId id="2147483664" r:id="rId5"/>
    <p:sldLayoutId id="2147483714" r:id="rId6"/>
    <p:sldLayoutId id="2147483665" r:id="rId7"/>
    <p:sldLayoutId id="2147483666" r:id="rId8"/>
    <p:sldLayoutId id="2147483667" r:id="rId9"/>
    <p:sldLayoutId id="2147483668" r:id="rId10"/>
    <p:sldLayoutId id="2147483669" r:id="rId11"/>
    <p:sldLayoutId id="2147483670" r:id="rId12"/>
    <p:sldLayoutId id="2147483671" r:id="rId13"/>
    <p:sldLayoutId id="2147484227" r:id="rId14"/>
    <p:sldLayoutId id="2147483673" r:id="rId15"/>
    <p:sldLayoutId id="2147484228" r:id="rId16"/>
    <p:sldLayoutId id="2147484229" r:id="rId17"/>
    <p:sldLayoutId id="2147483676" r:id="rId18"/>
    <p:sldLayoutId id="2147483677" r:id="rId19"/>
    <p:sldLayoutId id="2147483678" r:id="rId20"/>
    <p:sldLayoutId id="2147483679" r:id="rId21"/>
    <p:sldLayoutId id="2147483680" r:id="rId22"/>
    <p:sldLayoutId id="2147483681" r:id="rId23"/>
    <p:sldLayoutId id="2147483682" r:id="rId24"/>
    <p:sldLayoutId id="2147483683" r:id="rId25"/>
    <p:sldLayoutId id="2147483684" r:id="rId26"/>
    <p:sldLayoutId id="2147483685" r:id="rId27"/>
    <p:sldLayoutId id="2147483686" r:id="rId28"/>
    <p:sldLayoutId id="2147483687" r:id="rId29"/>
    <p:sldLayoutId id="2147483688" r:id="rId30"/>
    <p:sldLayoutId id="2147483689" r:id="rId31"/>
    <p:sldLayoutId id="2147483690" r:id="rId32"/>
    <p:sldLayoutId id="2147483691" r:id="rId33"/>
    <p:sldLayoutId id="2147483692" r:id="rId34"/>
    <p:sldLayoutId id="2147483693" r:id="rId35"/>
  </p:sldLayoutIdLst>
  <p:hf hdr="0" dt="0"/>
  <p:txStyles>
    <p:titleStyle>
      <a:lvl1pPr algn="l" defTabSz="914263" rtl="0" eaLnBrk="1" latinLnBrk="0" hangingPunct="1">
        <a:lnSpc>
          <a:spcPct val="100000"/>
        </a:lnSpc>
        <a:spcBef>
          <a:spcPct val="0"/>
        </a:spcBef>
        <a:buNone/>
        <a:defRPr sz="2600" b="1" i="0" kern="1200" spc="-15" baseline="0">
          <a:solidFill>
            <a:schemeClr val="tx1"/>
          </a:solidFill>
          <a:latin typeface="Helvetica Now Text" panose="020B0504030202020204" pitchFamily="34" charset="77"/>
          <a:ea typeface="+mj-ea"/>
          <a:cs typeface="+mj-cs"/>
        </a:defRPr>
      </a:lvl1pPr>
    </p:titleStyle>
    <p:bodyStyle>
      <a:lvl1pPr marL="0" indent="0" algn="l" defTabSz="914263" rtl="0" eaLnBrk="1" latinLnBrk="0" hangingPunct="1">
        <a:lnSpc>
          <a:spcPct val="100000"/>
        </a:lnSpc>
        <a:spcBef>
          <a:spcPts val="600"/>
        </a:spcBef>
        <a:spcAft>
          <a:spcPts val="600"/>
        </a:spcAft>
        <a:buFont typeface="Arial" panose="020B0604020202020204" pitchFamily="34" charset="0"/>
        <a:buNone/>
        <a:tabLst/>
        <a:defRPr sz="1600" b="1" i="0" kern="1200">
          <a:solidFill>
            <a:schemeClr val="tx1"/>
          </a:solidFill>
          <a:latin typeface="Helvetica Now Text" panose="020B0504030202020204" pitchFamily="34" charset="77"/>
          <a:ea typeface="+mn-ea"/>
          <a:cs typeface="+mn-cs"/>
        </a:defRPr>
      </a:lvl1pPr>
      <a:lvl2pPr marL="0" indent="0" algn="l" defTabSz="914263" rtl="0" eaLnBrk="1" latinLnBrk="0" hangingPunct="1">
        <a:lnSpc>
          <a:spcPct val="100000"/>
        </a:lnSpc>
        <a:spcBef>
          <a:spcPts val="0"/>
        </a:spcBef>
        <a:spcAft>
          <a:spcPts val="600"/>
        </a:spcAft>
        <a:buFont typeface="Arial" panose="020B0604020202020204" pitchFamily="34" charset="0"/>
        <a:buNone/>
        <a:tabLst/>
        <a:defRPr sz="1400" b="0" i="0" kern="1200">
          <a:solidFill>
            <a:schemeClr val="tx1"/>
          </a:solidFill>
          <a:latin typeface="Helvetica Now Text" panose="020B0504030202020204" pitchFamily="34" charset="77"/>
          <a:ea typeface="+mn-ea"/>
          <a:cs typeface="+mn-cs"/>
        </a:defRPr>
      </a:lvl2pPr>
      <a:lvl3pPr marL="180921" indent="-180921" algn="l" defTabSz="914263" rtl="0" eaLnBrk="1" latinLnBrk="0" hangingPunct="1">
        <a:lnSpc>
          <a:spcPct val="100000"/>
        </a:lnSpc>
        <a:spcBef>
          <a:spcPts val="0"/>
        </a:spcBef>
        <a:spcAft>
          <a:spcPts val="600"/>
        </a:spcAft>
        <a:buClrTx/>
        <a:buFont typeface="Wingdings 2" panose="05020102010507070707" pitchFamily="18" charset="2"/>
        <a:buChar char=""/>
        <a:tabLst/>
        <a:defRPr sz="1400" b="0" i="0" kern="1200">
          <a:solidFill>
            <a:schemeClr val="tx1"/>
          </a:solidFill>
          <a:latin typeface="Helvetica Now Text" panose="020B0504030202020204" pitchFamily="34" charset="77"/>
          <a:ea typeface="+mn-ea"/>
          <a:cs typeface="+mn-cs"/>
        </a:defRPr>
      </a:lvl3pPr>
      <a:lvl4pPr marL="357081" indent="-176160" algn="l" defTabSz="914263" rtl="0" eaLnBrk="1" latinLnBrk="0" hangingPunct="1">
        <a:lnSpc>
          <a:spcPct val="100000"/>
        </a:lnSpc>
        <a:spcBef>
          <a:spcPts val="0"/>
        </a:spcBef>
        <a:spcAft>
          <a:spcPts val="600"/>
        </a:spcAft>
        <a:buClrTx/>
        <a:buSzPct val="80000"/>
        <a:buFont typeface="System Font Regular"/>
        <a:buChar char="○"/>
        <a:tabLst/>
        <a:defRPr sz="1400" b="0" i="0" kern="1200">
          <a:solidFill>
            <a:schemeClr val="tx1"/>
          </a:solidFill>
          <a:latin typeface="Helvetica Now Text" panose="020B0504030202020204" pitchFamily="34" charset="77"/>
          <a:ea typeface="+mn-ea"/>
          <a:cs typeface="+mn-cs"/>
        </a:defRPr>
      </a:lvl4pPr>
      <a:lvl5pPr marL="541176" indent="-180921" algn="l" defTabSz="914263" rtl="0" eaLnBrk="1" latinLnBrk="0" hangingPunct="1">
        <a:lnSpc>
          <a:spcPct val="100000"/>
        </a:lnSpc>
        <a:spcBef>
          <a:spcPts val="0"/>
        </a:spcBef>
        <a:spcAft>
          <a:spcPts val="600"/>
        </a:spcAft>
        <a:buClrTx/>
        <a:buFont typeface="System Font Regular"/>
        <a:buChar char="—"/>
        <a:tabLst/>
        <a:defRPr sz="1400" b="0" i="0" kern="1200">
          <a:solidFill>
            <a:schemeClr val="tx1"/>
          </a:solidFill>
          <a:latin typeface="Helvetica Now Text" panose="020B0504030202020204" pitchFamily="34" charset="77"/>
          <a:ea typeface="+mn-ea"/>
          <a:cs typeface="+mn-cs"/>
        </a:defRPr>
      </a:lvl5pPr>
      <a:lvl6pPr marL="599697" indent="-133337" algn="l" defTabSz="914263" rtl="0" eaLnBrk="1" latinLnBrk="0" hangingPunct="1">
        <a:lnSpc>
          <a:spcPct val="117000"/>
        </a:lnSpc>
        <a:spcBef>
          <a:spcPts val="0"/>
        </a:spcBef>
        <a:buClr>
          <a:schemeClr val="tx1"/>
        </a:buClr>
        <a:buFont typeface="System Font Regular"/>
        <a:buChar char="–"/>
        <a:tabLst/>
        <a:defRPr sz="1000" b="0" i="0" kern="1200">
          <a:solidFill>
            <a:schemeClr val="tx1"/>
          </a:solidFill>
          <a:latin typeface="Helvetica Now Text" panose="020B0504030202020204" pitchFamily="34" charset="77"/>
          <a:ea typeface="+mn-ea"/>
          <a:cs typeface="+mn-cs"/>
        </a:defRPr>
      </a:lvl6pPr>
      <a:lvl7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7pPr>
      <a:lvl8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8pPr>
      <a:lvl9pPr marL="0" indent="0" algn="l" defTabSz="914263" rtl="0" eaLnBrk="1" latinLnBrk="0" hangingPunct="1">
        <a:lnSpc>
          <a:spcPct val="117000"/>
        </a:lnSpc>
        <a:spcBef>
          <a:spcPts val="0"/>
        </a:spcBef>
        <a:buFont typeface="Arial" panose="020B0604020202020204" pitchFamily="34" charset="0"/>
        <a:buNone/>
        <a:tabLst/>
        <a:defRPr sz="1000" b="0" i="0" kern="1200">
          <a:solidFill>
            <a:schemeClr val="tx1"/>
          </a:solidFill>
          <a:latin typeface="Helvetica Now Text" panose="020B0504030202020204" pitchFamily="34" charset="77"/>
          <a:ea typeface="+mn-ea"/>
          <a:cs typeface="+mn-cs"/>
        </a:defRPr>
      </a:lvl9pPr>
    </p:bodyStyle>
    <p:otherStyle>
      <a:defPPr>
        <a:defRPr lang="en-US"/>
      </a:defPPr>
      <a:lvl1pPr marL="0" algn="l" defTabSz="914263" rtl="0" eaLnBrk="1" latinLnBrk="0" hangingPunct="1">
        <a:defRPr sz="1799" kern="1200">
          <a:solidFill>
            <a:schemeClr val="tx1"/>
          </a:solidFill>
          <a:latin typeface="+mn-lt"/>
          <a:ea typeface="+mn-ea"/>
          <a:cs typeface="+mn-cs"/>
        </a:defRPr>
      </a:lvl1pPr>
      <a:lvl2pPr marL="457131" algn="l" defTabSz="914263" rtl="0" eaLnBrk="1" latinLnBrk="0" hangingPunct="1">
        <a:defRPr sz="1799" kern="1200">
          <a:solidFill>
            <a:schemeClr val="tx1"/>
          </a:solidFill>
          <a:latin typeface="+mn-lt"/>
          <a:ea typeface="+mn-ea"/>
          <a:cs typeface="+mn-cs"/>
        </a:defRPr>
      </a:lvl2pPr>
      <a:lvl3pPr marL="914263" algn="l" defTabSz="914263" rtl="0" eaLnBrk="1" latinLnBrk="0" hangingPunct="1">
        <a:defRPr sz="1799" kern="1200">
          <a:solidFill>
            <a:schemeClr val="tx1"/>
          </a:solidFill>
          <a:latin typeface="+mn-lt"/>
          <a:ea typeface="+mn-ea"/>
          <a:cs typeface="+mn-cs"/>
        </a:defRPr>
      </a:lvl3pPr>
      <a:lvl4pPr marL="1371394" algn="l" defTabSz="914263" rtl="0" eaLnBrk="1" latinLnBrk="0" hangingPunct="1">
        <a:defRPr sz="1799" kern="1200">
          <a:solidFill>
            <a:schemeClr val="tx1"/>
          </a:solidFill>
          <a:latin typeface="+mn-lt"/>
          <a:ea typeface="+mn-ea"/>
          <a:cs typeface="+mn-cs"/>
        </a:defRPr>
      </a:lvl4pPr>
      <a:lvl5pPr marL="1828525" algn="l" defTabSz="914263" rtl="0" eaLnBrk="1" latinLnBrk="0" hangingPunct="1">
        <a:defRPr sz="1799" kern="1200">
          <a:solidFill>
            <a:schemeClr val="tx1"/>
          </a:solidFill>
          <a:latin typeface="+mn-lt"/>
          <a:ea typeface="+mn-ea"/>
          <a:cs typeface="+mn-cs"/>
        </a:defRPr>
      </a:lvl5pPr>
      <a:lvl6pPr marL="2285657" algn="l" defTabSz="914263" rtl="0" eaLnBrk="1" latinLnBrk="0" hangingPunct="1">
        <a:defRPr sz="1799" kern="1200">
          <a:solidFill>
            <a:schemeClr val="tx1"/>
          </a:solidFill>
          <a:latin typeface="+mn-lt"/>
          <a:ea typeface="+mn-ea"/>
          <a:cs typeface="+mn-cs"/>
        </a:defRPr>
      </a:lvl6pPr>
      <a:lvl7pPr marL="2742789" algn="l" defTabSz="914263" rtl="0" eaLnBrk="1" latinLnBrk="0" hangingPunct="1">
        <a:defRPr sz="1799" kern="1200">
          <a:solidFill>
            <a:schemeClr val="tx1"/>
          </a:solidFill>
          <a:latin typeface="+mn-lt"/>
          <a:ea typeface="+mn-ea"/>
          <a:cs typeface="+mn-cs"/>
        </a:defRPr>
      </a:lvl7pPr>
      <a:lvl8pPr marL="3199920" algn="l" defTabSz="914263" rtl="0" eaLnBrk="1" latinLnBrk="0" hangingPunct="1">
        <a:defRPr sz="1799" kern="1200">
          <a:solidFill>
            <a:schemeClr val="tx1"/>
          </a:solidFill>
          <a:latin typeface="+mn-lt"/>
          <a:ea typeface="+mn-ea"/>
          <a:cs typeface="+mn-cs"/>
        </a:defRPr>
      </a:lvl8pPr>
      <a:lvl9pPr marL="3657051" algn="l" defTabSz="914263"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103" orient="horz" pos="4321">
          <p15:clr>
            <a:srgbClr val="F26B43"/>
          </p15:clr>
        </p15:guide>
        <p15:guide id="104" pos="240">
          <p15:clr>
            <a:srgbClr val="F26B43"/>
          </p15:clr>
        </p15:guide>
        <p15:guide id="105" pos="480">
          <p15:clr>
            <a:srgbClr val="F26B43"/>
          </p15:clr>
        </p15:guide>
        <p15:guide id="106" pos="720">
          <p15:clr>
            <a:srgbClr val="F26B43"/>
          </p15:clr>
        </p15:guide>
        <p15:guide id="107" pos="959">
          <p15:clr>
            <a:srgbClr val="F26B43"/>
          </p15:clr>
        </p15:guide>
        <p15:guide id="108" pos="1199">
          <p15:clr>
            <a:srgbClr val="F26B43"/>
          </p15:clr>
        </p15:guide>
        <p15:guide id="109" pos="1439">
          <p15:clr>
            <a:srgbClr val="F26B43"/>
          </p15:clr>
        </p15:guide>
        <p15:guide id="110" pos="1680">
          <p15:clr>
            <a:srgbClr val="F26B43"/>
          </p15:clr>
        </p15:guide>
        <p15:guide id="111" pos="2159">
          <p15:clr>
            <a:srgbClr val="F26B43"/>
          </p15:clr>
        </p15:guide>
        <p15:guide id="112" pos="1920">
          <p15:clr>
            <a:srgbClr val="F26B43"/>
          </p15:clr>
        </p15:guide>
        <p15:guide id="113" pos="2400">
          <p15:clr>
            <a:srgbClr val="F26B43"/>
          </p15:clr>
        </p15:guide>
        <p15:guide id="114" pos="2640">
          <p15:clr>
            <a:srgbClr val="F26B43"/>
          </p15:clr>
        </p15:guide>
        <p15:guide id="115" pos="2879">
          <p15:clr>
            <a:srgbClr val="F26B43"/>
          </p15:clr>
        </p15:guide>
        <p15:guide id="116" pos="3120">
          <p15:clr>
            <a:srgbClr val="F26B43"/>
          </p15:clr>
        </p15:guide>
        <p15:guide id="117" pos="3361">
          <p15:clr>
            <a:srgbClr val="F26B43"/>
          </p15:clr>
        </p15:guide>
        <p15:guide id="118" pos="3600">
          <p15:clr>
            <a:srgbClr val="F26B43"/>
          </p15:clr>
        </p15:guide>
        <p15:guide id="119" pos="3840">
          <p15:clr>
            <a:srgbClr val="F26B43"/>
          </p15:clr>
        </p15:guide>
        <p15:guide id="120" pos="4081">
          <p15:clr>
            <a:srgbClr val="F26B43"/>
          </p15:clr>
        </p15:guide>
        <p15:guide id="121" pos="4320">
          <p15:clr>
            <a:srgbClr val="F26B43"/>
          </p15:clr>
        </p15:guide>
        <p15:guide id="122" pos="4560">
          <p15:clr>
            <a:srgbClr val="F26B43"/>
          </p15:clr>
        </p15:guide>
        <p15:guide id="123" pos="4801">
          <p15:clr>
            <a:srgbClr val="F26B43"/>
          </p15:clr>
        </p15:guide>
        <p15:guide id="124" pos="5040">
          <p15:clr>
            <a:srgbClr val="F26B43"/>
          </p15:clr>
        </p15:guide>
        <p15:guide id="125" pos="5281">
          <p15:clr>
            <a:srgbClr val="F26B43"/>
          </p15:clr>
        </p15:guide>
        <p15:guide id="126" pos="5520">
          <p15:clr>
            <a:srgbClr val="F26B43"/>
          </p15:clr>
        </p15:guide>
        <p15:guide id="127" pos="5760">
          <p15:clr>
            <a:srgbClr val="F26B43"/>
          </p15:clr>
        </p15:guide>
        <p15:guide id="128" pos="6001">
          <p15:clr>
            <a:srgbClr val="F26B43"/>
          </p15:clr>
        </p15:guide>
        <p15:guide id="129" pos="6242">
          <p15:clr>
            <a:srgbClr val="F26B43"/>
          </p15:clr>
        </p15:guide>
        <p15:guide id="130" pos="6481">
          <p15:clr>
            <a:srgbClr val="F26B43"/>
          </p15:clr>
        </p15:guide>
        <p15:guide id="131" pos="6721">
          <p15:clr>
            <a:srgbClr val="F26B43"/>
          </p15:clr>
        </p15:guide>
        <p15:guide id="132" pos="6962">
          <p15:clr>
            <a:srgbClr val="F26B43"/>
          </p15:clr>
        </p15:guide>
        <p15:guide id="133" pos="7201">
          <p15:clr>
            <a:srgbClr val="F26B43"/>
          </p15:clr>
        </p15:guide>
        <p15:guide id="134" pos="7441">
          <p15:clr>
            <a:srgbClr val="F26B43"/>
          </p15:clr>
        </p15:guide>
        <p15:guide id="135" orient="horz" pos="288">
          <p15:clr>
            <a:srgbClr val="F26B43"/>
          </p15:clr>
        </p15:guide>
        <p15:guide id="136" orient="horz" pos="4080">
          <p15:clr>
            <a:srgbClr val="F26B43"/>
          </p15:clr>
        </p15:guide>
        <p15:guide id="137" orient="horz" pos="981">
          <p15:clr>
            <a:srgbClr val="F26B43"/>
          </p15:clr>
        </p15:guide>
        <p15:guide id="138" orient="horz" pos="552">
          <p15:clr>
            <a:srgbClr val="F26B43"/>
          </p15:clr>
        </p15:guide>
        <p15:guide id="139" orient="horz" pos="3854">
          <p15:clr>
            <a:srgbClr val="F26B43"/>
          </p15:clr>
        </p15:guide>
        <p15:guide id="140" orient="horz" pos="216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3" name="Picture 122">
            <a:extLst>
              <a:ext uri="{FF2B5EF4-FFF2-40B4-BE49-F238E27FC236}">
                <a16:creationId xmlns:a16="http://schemas.microsoft.com/office/drawing/2014/main" id="{7F720954-CDB9-E842-B2B4-515F4613D178}"/>
              </a:ext>
            </a:extLst>
          </p:cNvPr>
          <p:cNvPicPr>
            <a:picLocks noChangeAspect="1"/>
          </p:cNvPicPr>
          <p:nvPr/>
        </p:nvPicPr>
        <p:blipFill>
          <a:blip r:embed="rId53">
            <a:extLst>
              <a:ext uri="{28A0092B-C50C-407E-A947-70E740481C1C}">
                <a14:useLocalDpi xmlns:a14="http://schemas.microsoft.com/office/drawing/2010/main" val="0"/>
              </a:ext>
            </a:extLst>
          </a:blip>
          <a:srcRect/>
          <a:stretch/>
        </p:blipFill>
        <p:spPr>
          <a:xfrm>
            <a:off x="10678160" y="254714"/>
            <a:ext cx="1048701" cy="297269"/>
          </a:xfrm>
          <a:prstGeom prst="rect">
            <a:avLst/>
          </a:prstGeom>
        </p:spPr>
      </p:pic>
      <p:sp>
        <p:nvSpPr>
          <p:cNvPr id="12" name="Rectangle 11"/>
          <p:cNvSpPr/>
          <p:nvPr/>
        </p:nvSpPr>
        <p:spPr>
          <a:xfrm>
            <a:off x="457200" y="6492240"/>
            <a:ext cx="2905869" cy="107722"/>
          </a:xfrm>
          <a:prstGeom prst="rect">
            <a:avLst/>
          </a:prstGeom>
        </p:spPr>
        <p:txBody>
          <a:bodyPr wrap="square" lIns="0" tIns="0" rIns="0" bIns="0" anchor="t">
            <a:spAutoFit/>
          </a:bodyPr>
          <a:lstStyle/>
          <a:p>
            <a:pPr algn="l"/>
            <a:r>
              <a:rPr lang="en-US" sz="700" b="0" i="0" kern="1200">
                <a:solidFill>
                  <a:srgbClr val="A6A6A6"/>
                </a:solidFill>
                <a:latin typeface="Roboto" panose="02000000000000000000" pitchFamily="2" charset="0"/>
                <a:ea typeface="Roboto" panose="02000000000000000000" pitchFamily="2" charset="0"/>
                <a:cs typeface="Arial" charset="0"/>
              </a:rPr>
              <a:t>© Verisk Analytics, Inc. All rights reserved.</a:t>
            </a:r>
            <a:endParaRPr lang="en-US" sz="700" b="0" i="0" kern="1200">
              <a:solidFill>
                <a:srgbClr val="A6A6A6"/>
              </a:solidFill>
              <a:effectLst/>
              <a:latin typeface="Roboto" panose="02000000000000000000" pitchFamily="2" charset="0"/>
              <a:ea typeface="Roboto" panose="02000000000000000000" pitchFamily="2" charset="0"/>
              <a:cs typeface="Arial" charset="0"/>
            </a:endParaRPr>
          </a:p>
        </p:txBody>
      </p:sp>
      <p:sp>
        <p:nvSpPr>
          <p:cNvPr id="13" name="Rectangle 12"/>
          <p:cNvSpPr/>
          <p:nvPr/>
        </p:nvSpPr>
        <p:spPr>
          <a:xfrm>
            <a:off x="11558016" y="6492240"/>
            <a:ext cx="174625" cy="107722"/>
          </a:xfrm>
          <a:prstGeom prst="rect">
            <a:avLst/>
          </a:prstGeom>
        </p:spPr>
        <p:txBody>
          <a:bodyPr wrap="square" lIns="0" tIns="0" rIns="0" bIns="0" anchor="t">
            <a:spAutoFit/>
          </a:bodyPr>
          <a:lstStyle/>
          <a:p>
            <a:pPr algn="r"/>
            <a:fld id="{794AB575-7986-1741-A4D9-8B601F7D4868}" type="slidenum">
              <a:rPr lang="en-US" sz="700" b="0" i="0" smtClean="0">
                <a:solidFill>
                  <a:srgbClr val="A6A6A6"/>
                </a:solidFill>
                <a:latin typeface="Roboto" panose="02000000000000000000" pitchFamily="2" charset="0"/>
                <a:ea typeface="Roboto" panose="02000000000000000000" pitchFamily="2" charset="0"/>
              </a:rPr>
              <a:t>‹#›</a:t>
            </a:fld>
            <a:endParaRPr lang="en-US" sz="700" b="0" i="0">
              <a:solidFill>
                <a:srgbClr val="A6A6A6"/>
              </a:solidFill>
              <a:latin typeface="Roboto" panose="02000000000000000000" pitchFamily="2" charset="0"/>
              <a:ea typeface="Roboto" panose="02000000000000000000" pitchFamily="2" charset="0"/>
            </a:endParaRPr>
          </a:p>
        </p:txBody>
      </p:sp>
      <p:sp>
        <p:nvSpPr>
          <p:cNvPr id="17" name="Text Placeholder 2"/>
          <p:cNvSpPr>
            <a:spLocks noGrp="1"/>
          </p:cNvSpPr>
          <p:nvPr>
            <p:ph type="body" idx="1"/>
          </p:nvPr>
        </p:nvSpPr>
        <p:spPr>
          <a:xfrm>
            <a:off x="457200" y="2039111"/>
            <a:ext cx="9144000" cy="4142232"/>
          </a:xfrm>
          <a:prstGeom prst="rect">
            <a:avLst/>
          </a:prstGeom>
        </p:spPr>
        <p:txBody>
          <a:bodyPr vert="horz" wrap="square"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itle Placeholder 1"/>
          <p:cNvSpPr>
            <a:spLocks noGrp="1"/>
          </p:cNvSpPr>
          <p:nvPr>
            <p:ph type="title"/>
          </p:nvPr>
        </p:nvSpPr>
        <p:spPr>
          <a:xfrm>
            <a:off x="457200" y="731520"/>
            <a:ext cx="8375904" cy="667512"/>
          </a:xfrm>
          <a:prstGeom prst="rect">
            <a:avLst/>
          </a:prstGeom>
        </p:spPr>
        <p:txBody>
          <a:bodyPr vert="horz" wrap="none" lIns="0" tIns="0" rIns="0" bIns="0" rtlCol="0" anchor="t" anchorCtr="0">
            <a:noAutofit/>
          </a:bodyPr>
          <a:lstStyle/>
          <a:p>
            <a:r>
              <a:rPr lang="en-US"/>
              <a:t>Click to edit Master </a:t>
            </a:r>
            <a:br>
              <a:rPr lang="en-US"/>
            </a:br>
            <a:r>
              <a:rPr lang="en-US"/>
              <a:t>title style</a:t>
            </a:r>
          </a:p>
        </p:txBody>
      </p:sp>
      <p:sp>
        <p:nvSpPr>
          <p:cNvPr id="8" name="Footer Placeholder 5">
            <a:extLst>
              <a:ext uri="{FF2B5EF4-FFF2-40B4-BE49-F238E27FC236}">
                <a16:creationId xmlns:a16="http://schemas.microsoft.com/office/drawing/2014/main" id="{9AA176E2-B861-BC2F-9128-A418A16FC85D}"/>
              </a:ext>
            </a:extLst>
          </p:cNvPr>
          <p:cNvSpPr>
            <a:spLocks noGrp="1"/>
          </p:cNvSpPr>
          <p:nvPr>
            <p:ph type="ftr" sz="quarter" idx="3"/>
          </p:nvPr>
        </p:nvSpPr>
        <p:spPr>
          <a:xfrm>
            <a:off x="2158002" y="6492240"/>
            <a:ext cx="737598" cy="109728"/>
          </a:xfrm>
          <a:prstGeom prst="rect">
            <a:avLst/>
          </a:prstGeom>
        </p:spPr>
        <p:txBody>
          <a:bodyPr vert="horz" lIns="0" tIns="0" rIns="0" bIns="0" rtlCol="0" anchor="ctr"/>
          <a:lstStyle>
            <a:lvl1pPr marL="0" marR="0" indent="0" algn="l" defTabSz="914400" rtl="0" eaLnBrk="1" fontAlgn="auto" latinLnBrk="0" hangingPunct="1">
              <a:lnSpc>
                <a:spcPct val="100000"/>
              </a:lnSpc>
              <a:spcBef>
                <a:spcPts val="0"/>
              </a:spcBef>
              <a:spcAft>
                <a:spcPts val="0"/>
              </a:spcAft>
              <a:buClrTx/>
              <a:buSzTx/>
              <a:buFontTx/>
              <a:buNone/>
              <a:tabLst/>
              <a:defRPr sz="1200">
                <a:solidFill>
                  <a:schemeClr val="tx1">
                    <a:tint val="75000"/>
                  </a:schemeClr>
                </a:solidFill>
              </a:defRPr>
            </a:lvl1p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3601119669"/>
      </p:ext>
    </p:extLst>
  </p:cSld>
  <p:clrMap bg1="lt1" tx1="dk1" bg2="lt2" tx2="dk2" accent1="accent1" accent2="accent2" accent3="accent3" accent4="accent4" accent5="accent5" accent6="accent6" hlink="hlink" folHlink="folHlink"/>
  <p:sldLayoutIdLst>
    <p:sldLayoutId id="2147484176" r:id="rId1"/>
    <p:sldLayoutId id="2147484177" r:id="rId2"/>
    <p:sldLayoutId id="2147484178" r:id="rId3"/>
    <p:sldLayoutId id="2147484179" r:id="rId4"/>
    <p:sldLayoutId id="2147484180" r:id="rId5"/>
    <p:sldLayoutId id="2147484181" r:id="rId6"/>
    <p:sldLayoutId id="2147484182" r:id="rId7"/>
    <p:sldLayoutId id="2147484183" r:id="rId8"/>
    <p:sldLayoutId id="2147484184" r:id="rId9"/>
    <p:sldLayoutId id="2147484185" r:id="rId10"/>
    <p:sldLayoutId id="2147484186" r:id="rId11"/>
    <p:sldLayoutId id="2147484187" r:id="rId12"/>
    <p:sldLayoutId id="2147484188" r:id="rId13"/>
    <p:sldLayoutId id="2147484189" r:id="rId14"/>
    <p:sldLayoutId id="2147484190" r:id="rId15"/>
    <p:sldLayoutId id="2147484191" r:id="rId16"/>
    <p:sldLayoutId id="2147484192" r:id="rId17"/>
    <p:sldLayoutId id="2147484193" r:id="rId18"/>
    <p:sldLayoutId id="2147484194" r:id="rId19"/>
    <p:sldLayoutId id="2147484195" r:id="rId20"/>
    <p:sldLayoutId id="2147484196" r:id="rId21"/>
    <p:sldLayoutId id="2147484197" r:id="rId22"/>
    <p:sldLayoutId id="2147484198" r:id="rId23"/>
    <p:sldLayoutId id="2147484199" r:id="rId24"/>
    <p:sldLayoutId id="2147484200" r:id="rId25"/>
    <p:sldLayoutId id="2147484201" r:id="rId26"/>
    <p:sldLayoutId id="2147484202" r:id="rId27"/>
    <p:sldLayoutId id="2147484203" r:id="rId28"/>
    <p:sldLayoutId id="2147484204" r:id="rId29"/>
    <p:sldLayoutId id="2147484205" r:id="rId30"/>
    <p:sldLayoutId id="2147484206" r:id="rId31"/>
    <p:sldLayoutId id="2147484207" r:id="rId32"/>
    <p:sldLayoutId id="2147484208" r:id="rId33"/>
    <p:sldLayoutId id="2147484209" r:id="rId34"/>
    <p:sldLayoutId id="2147484210" r:id="rId35"/>
    <p:sldLayoutId id="2147484211" r:id="rId36"/>
    <p:sldLayoutId id="2147484212" r:id="rId37"/>
    <p:sldLayoutId id="2147484213" r:id="rId38"/>
    <p:sldLayoutId id="2147484214" r:id="rId39"/>
    <p:sldLayoutId id="2147484215" r:id="rId40"/>
    <p:sldLayoutId id="2147484216" r:id="rId41"/>
    <p:sldLayoutId id="2147484217" r:id="rId42"/>
    <p:sldLayoutId id="2147484218" r:id="rId43"/>
    <p:sldLayoutId id="2147484219" r:id="rId44"/>
    <p:sldLayoutId id="2147484220" r:id="rId45"/>
    <p:sldLayoutId id="2147484221" r:id="rId46"/>
    <p:sldLayoutId id="2147484222" r:id="rId47"/>
    <p:sldLayoutId id="2147484223" r:id="rId48"/>
    <p:sldLayoutId id="2147484224" r:id="rId49"/>
    <p:sldLayoutId id="2147484225" r:id="rId50"/>
    <p:sldLayoutId id="2147484226" r:id="rId51"/>
  </p:sldLayoutIdLst>
  <p:transition spd="slow"/>
  <p:hf hdr="0" ftr="0" dt="0"/>
  <p:txStyles>
    <p:titleStyle>
      <a:lvl1pPr algn="l" defTabSz="914377" rtl="0" eaLnBrk="1" latinLnBrk="0" hangingPunct="1">
        <a:lnSpc>
          <a:spcPct val="80000"/>
        </a:lnSpc>
        <a:spcBef>
          <a:spcPct val="0"/>
        </a:spcBef>
        <a:buNone/>
        <a:defRPr sz="2800" b="0" i="0" kern="1200">
          <a:solidFill>
            <a:schemeClr val="accent1"/>
          </a:solidFill>
          <a:effectLst/>
          <a:latin typeface="Roboto Medium" panose="02000000000000000000" pitchFamily="2" charset="0"/>
          <a:ea typeface="Roboto Medium" panose="02000000000000000000" pitchFamily="2" charset="0"/>
          <a:cs typeface="+mj-cs"/>
        </a:defRPr>
      </a:lvl1pPr>
    </p:titleStyle>
    <p:bodyStyle>
      <a:lvl1pPr marL="349250" indent="-342900" algn="l" defTabSz="914377" rtl="0" eaLnBrk="1" latinLnBrk="0" hangingPunct="1">
        <a:lnSpc>
          <a:spcPct val="85000"/>
        </a:lnSpc>
        <a:spcBef>
          <a:spcPts val="400"/>
        </a:spcBef>
        <a:spcAft>
          <a:spcPts val="600"/>
        </a:spcAft>
        <a:buClr>
          <a:schemeClr val="accent1"/>
        </a:buClr>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1pPr>
      <a:lvl2pPr marL="690563" indent="-341313" algn="l" defTabSz="914377" rtl="0" eaLnBrk="1" latinLnBrk="0" hangingPunct="1">
        <a:lnSpc>
          <a:spcPct val="85000"/>
        </a:lnSpc>
        <a:spcBef>
          <a:spcPts val="400"/>
        </a:spcBef>
        <a:spcAft>
          <a:spcPts val="600"/>
        </a:spcAft>
        <a:buClr>
          <a:schemeClr val="accent1"/>
        </a:buClr>
        <a:buFont typeface="Calibri"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2pPr>
      <a:lvl3pPr marL="1033463" indent="-342900" algn="l" defTabSz="914377" rtl="0" eaLnBrk="1" latinLnBrk="0" hangingPunct="1">
        <a:lnSpc>
          <a:spcPct val="85000"/>
        </a:lnSpc>
        <a:spcBef>
          <a:spcPts val="400"/>
        </a:spcBef>
        <a:spcAft>
          <a:spcPts val="600"/>
        </a:spcAft>
        <a:buClr>
          <a:schemeClr val="accent1"/>
        </a:buClr>
        <a:buFont typeface="Arial"/>
        <a:buChar char="•"/>
        <a:tabLst/>
        <a:defRPr sz="1800" b="0" i="0" kern="1200">
          <a:solidFill>
            <a:schemeClr val="tx1"/>
          </a:solidFill>
          <a:latin typeface="+mn-lt"/>
          <a:ea typeface="Roboto" panose="02000000000000000000" pitchFamily="2" charset="0"/>
          <a:cs typeface="Arial" panose="020B0604020202020204" pitchFamily="34" charset="0"/>
        </a:defRPr>
      </a:lvl3pPr>
      <a:lvl4pPr marL="1376363" indent="-342900" algn="l" defTabSz="914377" rtl="0" eaLnBrk="1" latinLnBrk="0" hangingPunct="1">
        <a:lnSpc>
          <a:spcPct val="85000"/>
        </a:lnSpc>
        <a:spcBef>
          <a:spcPts val="400"/>
        </a:spcBef>
        <a:spcAft>
          <a:spcPts val="600"/>
        </a:spcAft>
        <a:buClr>
          <a:schemeClr val="accent1"/>
        </a:buClr>
        <a:buFont typeface="Arial" pitchFamily="34" charset="0"/>
        <a:buChar char="–"/>
        <a:tabLst/>
        <a:defRPr sz="1800" b="0" i="0" kern="1200">
          <a:solidFill>
            <a:schemeClr val="tx1"/>
          </a:solidFill>
          <a:latin typeface="+mn-lt"/>
          <a:ea typeface="Roboto" panose="02000000000000000000" pitchFamily="2" charset="0"/>
          <a:cs typeface="Arial" panose="020B0604020202020204" pitchFamily="34" charset="0"/>
        </a:defRPr>
      </a:lvl4pPr>
      <a:lvl5pPr marL="1719263" indent="-342900" algn="l" defTabSz="914377" rtl="0" eaLnBrk="1" latinLnBrk="0" hangingPunct="1">
        <a:lnSpc>
          <a:spcPct val="85000"/>
        </a:lnSpc>
        <a:spcBef>
          <a:spcPts val="400"/>
        </a:spcBef>
        <a:spcAft>
          <a:spcPts val="600"/>
        </a:spcAft>
        <a:buClr>
          <a:schemeClr val="accent1"/>
        </a:buClr>
        <a:buFont typeface="Arial"/>
        <a:buChar char="•"/>
        <a:tabLst/>
        <a:defRPr sz="1800" b="0" i="0" kern="1200">
          <a:solidFill>
            <a:schemeClr val="tx1"/>
          </a:solidFill>
          <a:latin typeface="+mn-lt"/>
          <a:ea typeface="Roboto" panose="02000000000000000000" pitchFamily="2" charset="0"/>
          <a:cs typeface="Arial" panose="020B0604020202020204" pitchFamily="34" charset="0"/>
        </a:defRPr>
      </a:lvl5pPr>
      <a:lvl6pPr marL="349250" indent="-342900" algn="l" defTabSz="914377" rtl="0" eaLnBrk="1" latinLnBrk="0" hangingPunct="1">
        <a:lnSpc>
          <a:spcPct val="85000"/>
        </a:lnSpc>
        <a:spcBef>
          <a:spcPts val="400"/>
        </a:spcBef>
        <a:spcAft>
          <a:spcPts val="600"/>
        </a:spcAft>
        <a:buClr>
          <a:schemeClr val="accent1"/>
        </a:buClr>
        <a:buFont typeface="+mj-lt"/>
        <a:buAutoNum type="arabicPeriod"/>
        <a:tabLst/>
        <a:defRPr sz="1800" kern="1200">
          <a:solidFill>
            <a:schemeClr val="tx1"/>
          </a:solidFill>
          <a:latin typeface="Roboto" panose="02000000000000000000" pitchFamily="2" charset="0"/>
          <a:ea typeface="Roboto" panose="02000000000000000000" pitchFamily="2" charset="0"/>
          <a:cs typeface="Arial" panose="020B0604020202020204" pitchFamily="34" charset="0"/>
        </a:defRPr>
      </a:lvl6pPr>
      <a:lvl7pPr marL="690563" indent="-341313" algn="l" defTabSz="914377" rtl="0" eaLnBrk="1" latinLnBrk="0" hangingPunct="1">
        <a:lnSpc>
          <a:spcPct val="85000"/>
        </a:lnSpc>
        <a:spcBef>
          <a:spcPts val="400"/>
        </a:spcBef>
        <a:spcAft>
          <a:spcPts val="600"/>
        </a:spcAft>
        <a:buClr>
          <a:schemeClr val="accent1"/>
        </a:buClr>
        <a:buFont typeface="+mj-lt"/>
        <a:buAutoNum type="alphaUcPeriod"/>
        <a:tabLst/>
        <a:defRPr sz="1800" kern="1200">
          <a:solidFill>
            <a:schemeClr val="tx1"/>
          </a:solidFill>
          <a:latin typeface="Roboto" panose="02000000000000000000" pitchFamily="2" charset="0"/>
          <a:ea typeface="+mn-ea"/>
          <a:cs typeface="Arial" panose="020B0604020202020204" pitchFamily="34" charset="0"/>
        </a:defRPr>
      </a:lvl7pPr>
      <a:lvl8pPr marL="1033463" indent="-342900" algn="l" defTabSz="914377" rtl="0" eaLnBrk="1" latinLnBrk="0" hangingPunct="1">
        <a:lnSpc>
          <a:spcPct val="85000"/>
        </a:lnSpc>
        <a:spcBef>
          <a:spcPts val="400"/>
        </a:spcBef>
        <a:spcAft>
          <a:spcPts val="600"/>
        </a:spcAft>
        <a:buClr>
          <a:schemeClr val="accent1"/>
        </a:buClr>
        <a:buFont typeface="+mj-lt"/>
        <a:buAutoNum type="romanLcPeriod"/>
        <a:tabLst/>
        <a:defRPr sz="1800" kern="1200" baseline="0">
          <a:solidFill>
            <a:schemeClr val="tx1"/>
          </a:solidFill>
          <a:latin typeface="Roboto" panose="02000000000000000000" pitchFamily="2" charset="0"/>
          <a:ea typeface="Roboto" panose="02000000000000000000" pitchFamily="2" charset="0"/>
          <a:cs typeface="+mn-cs"/>
        </a:defRPr>
      </a:lvl8pPr>
      <a:lvl9pPr marL="742950" indent="0" algn="l" defTabSz="914377" rtl="0" eaLnBrk="1" latinLnBrk="0" hangingPunct="1">
        <a:lnSpc>
          <a:spcPct val="85000"/>
        </a:lnSpc>
        <a:spcBef>
          <a:spcPts val="400"/>
        </a:spcBef>
        <a:spcAft>
          <a:spcPts val="600"/>
        </a:spcAft>
        <a:buClr>
          <a:srgbClr val="2A7DE1"/>
        </a:buClr>
        <a:buFont typeface="Arial" panose="020B0604020202020204" pitchFamily="34" charset="0"/>
        <a:buNone/>
        <a:tabLst>
          <a:tab pos="742950" algn="l"/>
        </a:tabLst>
        <a:defRPr sz="1800" kern="1200">
          <a:solidFill>
            <a:srgbClr val="3F403F"/>
          </a:solidFill>
          <a:latin typeface="Roboto" panose="02000000000000000000" pitchFamily="2" charset="0"/>
          <a:ea typeface="Roboto" panose="02000000000000000000" pitchFamily="2" charset="0"/>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02" orient="horz" pos="2160" userDrawn="1">
          <p15:clr>
            <a:srgbClr val="F26B43"/>
          </p15:clr>
        </p15:guide>
        <p15:guide id="103" pos="3840" userDrawn="1">
          <p15:clr>
            <a:srgbClr val="F26B43"/>
          </p15:clr>
        </p15:guide>
        <p15:guide id="104" pos="288" userDrawn="1">
          <p15:clr>
            <a:srgbClr val="F26B43"/>
          </p15:clr>
        </p15:guide>
        <p15:guide id="105" pos="7392" userDrawn="1">
          <p15:clr>
            <a:srgbClr val="F26B43"/>
          </p15:clr>
        </p15:guide>
        <p15:guide id="106" orient="horz" pos="3889" userDrawn="1">
          <p15:clr>
            <a:srgbClr val="F26B43"/>
          </p15:clr>
        </p15:guide>
        <p15:guide id="107" orient="horz" pos="216" userDrawn="1">
          <p15:clr>
            <a:srgbClr val="F26B43"/>
          </p15:clr>
        </p15:guide>
        <p15:guide id="108" orient="horz" pos="1032" userDrawn="1">
          <p15:clr>
            <a:srgbClr val="F26B43"/>
          </p15:clr>
        </p15:guide>
        <p15:guide id="109" pos="5568" userDrawn="1">
          <p15:clr>
            <a:srgbClr val="F26B43"/>
          </p15:clr>
        </p15:guide>
        <p15:guide id="110" pos="6048" userDrawn="1">
          <p15:clr>
            <a:srgbClr val="F26B43"/>
          </p15:clr>
        </p15:guide>
        <p15:guide id="111" orient="horz" pos="288" userDrawn="1">
          <p15:clr>
            <a:srgbClr val="F26B43"/>
          </p15:clr>
        </p15:guide>
        <p15:guide id="112" orient="horz" pos="456" userDrawn="1">
          <p15:clr>
            <a:srgbClr val="F26B43"/>
          </p15:clr>
        </p15:guide>
        <p15:guide id="113" orient="horz" pos="816" userDrawn="1">
          <p15:clr>
            <a:srgbClr val="F26B43"/>
          </p15:clr>
        </p15:guide>
        <p15:guide id="114" orient="horz" pos="1278" userDrawn="1">
          <p15:clr>
            <a:srgbClr val="F26B43"/>
          </p15:clr>
        </p15:guide>
        <p15:guide id="115" orient="horz" pos="4152" userDrawn="1">
          <p15:clr>
            <a:srgbClr val="F26B43"/>
          </p15:clr>
        </p15:guide>
        <p15:guide id="116" pos="62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a:extLst>
              <a:ext uri="{FF2B5EF4-FFF2-40B4-BE49-F238E27FC236}">
                <a16:creationId xmlns:a16="http://schemas.microsoft.com/office/drawing/2014/main" id="{4922759F-D7FB-1ED1-2C23-DA59BA6AC0F8}"/>
              </a:ext>
            </a:extLst>
          </p:cNvPr>
          <p:cNvSpPr>
            <a:spLocks noGrp="1" noChangeArrowheads="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a:extLst>
              <a:ext uri="{FF2B5EF4-FFF2-40B4-BE49-F238E27FC236}">
                <a16:creationId xmlns:a16="http://schemas.microsoft.com/office/drawing/2014/main" id="{EB672BB9-9B3A-D7A0-EFFC-F205FBC98599}"/>
              </a:ext>
            </a:extLst>
          </p:cNvPr>
          <p:cNvSpPr>
            <a:spLocks noGrp="1" noChangeArrowheads="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B322091-7033-E3BC-457E-7E0D8DB6B3DD}"/>
              </a:ext>
            </a:extLst>
          </p:cNvPr>
          <p:cNvSpPr>
            <a:spLocks noGrp="1"/>
          </p:cNvSpPr>
          <p:nvPr>
            <p:ph type="dt" sz="half" idx="2"/>
          </p:nvPr>
        </p:nvSpPr>
        <p:spPr>
          <a:xfrm>
            <a:off x="838200" y="6292800"/>
            <a:ext cx="2743200" cy="365125"/>
          </a:xfrm>
          <a:prstGeom prst="rect">
            <a:avLst/>
          </a:prstGeom>
        </p:spPr>
        <p:txBody>
          <a:bodyPr vert="horz" lIns="91440" tIns="45720" rIns="91440" bIns="45720" rtlCol="0" anchor="ctr"/>
          <a:lstStyle>
            <a:lvl1pPr algn="l">
              <a:defRPr sz="1200">
                <a:solidFill>
                  <a:schemeClr val="tx1"/>
                </a:solidFill>
                <a:latin typeface="Schibsted Grotesk" pitchFamily="2" charset="0"/>
                <a:cs typeface="Schibsted Grotesk" pitchFamily="2" charset="0"/>
              </a:defRPr>
            </a:lvl1pPr>
          </a:lstStyle>
          <a:p>
            <a:pPr eaLnBrk="0" fontAlgn="base" hangingPunct="0">
              <a:spcBef>
                <a:spcPct val="0"/>
              </a:spcBef>
              <a:spcAft>
                <a:spcPct val="0"/>
              </a:spcAft>
              <a:defRPr/>
            </a:pPr>
            <a:endParaRPr lang="en-US"/>
          </a:p>
        </p:txBody>
      </p:sp>
      <p:sp>
        <p:nvSpPr>
          <p:cNvPr id="6" name="Slide Number Placeholder 5">
            <a:extLst>
              <a:ext uri="{FF2B5EF4-FFF2-40B4-BE49-F238E27FC236}">
                <a16:creationId xmlns:a16="http://schemas.microsoft.com/office/drawing/2014/main" id="{E99824FA-DFCA-8384-A837-F0101CFF0CCE}"/>
              </a:ext>
            </a:extLst>
          </p:cNvPr>
          <p:cNvSpPr>
            <a:spLocks noGrp="1"/>
          </p:cNvSpPr>
          <p:nvPr>
            <p:ph type="sldNum" sz="quarter" idx="4"/>
          </p:nvPr>
        </p:nvSpPr>
        <p:spPr>
          <a:xfrm>
            <a:off x="284400" y="6292800"/>
            <a:ext cx="553800" cy="365125"/>
          </a:xfrm>
          <a:prstGeom prst="rect">
            <a:avLst/>
          </a:prstGeom>
        </p:spPr>
        <p:txBody>
          <a:bodyPr vert="horz" lIns="91440" tIns="45720" rIns="91440" bIns="45720" rtlCol="0" anchor="ctr"/>
          <a:lstStyle>
            <a:lvl1pPr>
              <a:defRPr lang="en-US" sz="1200" b="0" i="0" smtClean="0">
                <a:solidFill>
                  <a:schemeClr val="tx1"/>
                </a:solidFill>
                <a:latin typeface="SCHIBSTED GROTESK BOLD" pitchFamily="2" charset="77"/>
                <a:cs typeface="SCHIBSTED GROTESK BOLD" pitchFamily="2" charset="77"/>
              </a:defRPr>
            </a:lvl1pPr>
          </a:lstStyle>
          <a:p>
            <a:pPr eaLnBrk="0" fontAlgn="base" hangingPunct="0">
              <a:spcBef>
                <a:spcPct val="0"/>
              </a:spcBef>
              <a:spcAft>
                <a:spcPct val="0"/>
              </a:spcAft>
            </a:pPr>
            <a:fld id="{C700908E-A59E-4054-81C1-89311842CBBB}" type="slidenum">
              <a:rPr lang="en-GB" smtClean="0"/>
              <a:pPr eaLnBrk="0" fontAlgn="base" hangingPunct="0">
                <a:spcBef>
                  <a:spcPct val="0"/>
                </a:spcBef>
                <a:spcAft>
                  <a:spcPct val="0"/>
                </a:spcAft>
              </a:pPr>
              <a:t>‹#›</a:t>
            </a:fld>
            <a:endParaRPr lang="en-GB"/>
          </a:p>
        </p:txBody>
      </p:sp>
      <p:sp>
        <p:nvSpPr>
          <p:cNvPr id="3" name="TextBox 2">
            <a:extLst>
              <a:ext uri="{FF2B5EF4-FFF2-40B4-BE49-F238E27FC236}">
                <a16:creationId xmlns:a16="http://schemas.microsoft.com/office/drawing/2014/main" id="{4D0F14F9-453B-3E41-D5B4-E47DA0658905}"/>
              </a:ext>
            </a:extLst>
          </p:cNvPr>
          <p:cNvSpPr txBox="1"/>
          <p:nvPr>
            <p:extLst>
              <p:ext uri="{1162E1C5-73C7-4A58-AE30-91384D911F3F}">
                <p184:classification xmlns:p184="http://schemas.microsoft.com/office/powerpoint/2018/4/main" val="ftr"/>
              </p:ext>
            </p:extLst>
          </p:nvPr>
        </p:nvSpPr>
        <p:spPr>
          <a:xfrm>
            <a:off x="63500" y="6672580"/>
            <a:ext cx="546100" cy="121920"/>
          </a:xfrm>
          <a:prstGeom prst="rect">
            <a:avLst/>
          </a:prstGeom>
        </p:spPr>
        <p:txBody>
          <a:bodyPr horzOverflow="overflow" lIns="0" tIns="0" rIns="0" bIns="0">
            <a:spAutoFit/>
          </a:bodyPr>
          <a:lstStyle/>
          <a:p>
            <a:pPr algn="l"/>
            <a:r>
              <a:rPr lang="en-GB" sz="800">
                <a:solidFill>
                  <a:srgbClr val="008000"/>
                </a:solidFill>
                <a:latin typeface="Aerial"/>
              </a:rPr>
              <a:t>Aviva: Public</a:t>
            </a:r>
          </a:p>
        </p:txBody>
      </p:sp>
    </p:spTree>
    <p:extLst>
      <p:ext uri="{BB962C8B-B14F-4D97-AF65-F5344CB8AC3E}">
        <p14:creationId xmlns:p14="http://schemas.microsoft.com/office/powerpoint/2010/main" val="2088241681"/>
      </p:ext>
    </p:extLst>
  </p:cSld>
  <p:clrMap bg1="lt1" tx1="dk1" bg2="lt2" tx2="dk2" accent1="accent1" accent2="accent2" accent3="accent3" accent4="accent4" accent5="accent5" accent6="accent6" hlink="hlink" folHlink="folHlink"/>
  <p:sldLayoutIdLst>
    <p:sldLayoutId id="2147484095" r:id="rId1"/>
    <p:sldLayoutId id="2147483674" r:id="rId2"/>
    <p:sldLayoutId id="2147483675" r:id="rId3"/>
    <p:sldLayoutId id="2147484122" r:id="rId4"/>
    <p:sldLayoutId id="2147484125" r:id="rId5"/>
    <p:sldLayoutId id="2147484123" r:id="rId6"/>
    <p:sldLayoutId id="2147484107" r:id="rId7"/>
    <p:sldLayoutId id="2147484108" r:id="rId8"/>
    <p:sldLayoutId id="2147484109" r:id="rId9"/>
    <p:sldLayoutId id="2147484121" r:id="rId10"/>
    <p:sldLayoutId id="2147484124" r:id="rId11"/>
    <p:sldLayoutId id="2147484039" r:id="rId12"/>
    <p:sldLayoutId id="2147484114" r:id="rId13"/>
    <p:sldLayoutId id="2147484115" r:id="rId14"/>
    <p:sldLayoutId id="2147484116" r:id="rId15"/>
    <p:sldLayoutId id="2147484117" r:id="rId16"/>
    <p:sldLayoutId id="2147484126" r:id="rId17"/>
    <p:sldLayoutId id="2147483723" r:id="rId18"/>
  </p:sldLayoutIdLst>
  <p:hf hdr="0" ftr="0"/>
  <p:txStyles>
    <p:titleStyle>
      <a:lvl1pPr algn="l" rtl="0" eaLnBrk="1" fontAlgn="base" hangingPunct="1">
        <a:lnSpc>
          <a:spcPct val="90000"/>
        </a:lnSpc>
        <a:spcBef>
          <a:spcPct val="0"/>
        </a:spcBef>
        <a:spcAft>
          <a:spcPct val="0"/>
        </a:spcAft>
        <a:defRPr sz="4000" kern="1200">
          <a:solidFill>
            <a:schemeClr val="tx1"/>
          </a:solidFill>
          <a:latin typeface="+mj-lt"/>
          <a:ea typeface="+mj-ea"/>
          <a:cs typeface="+mj-cs"/>
        </a:defRPr>
      </a:lvl1pPr>
      <a:lvl2pPr algn="l" rtl="0" eaLnBrk="1" fontAlgn="base" hangingPunct="1">
        <a:lnSpc>
          <a:spcPct val="90000"/>
        </a:lnSpc>
        <a:spcBef>
          <a:spcPct val="0"/>
        </a:spcBef>
        <a:spcAft>
          <a:spcPct val="0"/>
        </a:spcAft>
        <a:defRPr sz="4400">
          <a:solidFill>
            <a:schemeClr val="tx2"/>
          </a:solidFill>
          <a:latin typeface="Corben" panose="020F0503020000020004" pitchFamily="34" charset="0"/>
        </a:defRPr>
      </a:lvl2pPr>
      <a:lvl3pPr algn="l" rtl="0" eaLnBrk="1" fontAlgn="base" hangingPunct="1">
        <a:lnSpc>
          <a:spcPct val="90000"/>
        </a:lnSpc>
        <a:spcBef>
          <a:spcPct val="0"/>
        </a:spcBef>
        <a:spcAft>
          <a:spcPct val="0"/>
        </a:spcAft>
        <a:defRPr sz="4400">
          <a:solidFill>
            <a:schemeClr val="tx2"/>
          </a:solidFill>
          <a:latin typeface="Corben" panose="020F0503020000020004" pitchFamily="34" charset="0"/>
        </a:defRPr>
      </a:lvl3pPr>
      <a:lvl4pPr algn="l" rtl="0" eaLnBrk="1" fontAlgn="base" hangingPunct="1">
        <a:lnSpc>
          <a:spcPct val="90000"/>
        </a:lnSpc>
        <a:spcBef>
          <a:spcPct val="0"/>
        </a:spcBef>
        <a:spcAft>
          <a:spcPct val="0"/>
        </a:spcAft>
        <a:defRPr sz="4400">
          <a:solidFill>
            <a:schemeClr val="tx2"/>
          </a:solidFill>
          <a:latin typeface="Corben" panose="020F0503020000020004" pitchFamily="34" charset="0"/>
        </a:defRPr>
      </a:lvl4pPr>
      <a:lvl5pPr algn="l" rtl="0" eaLnBrk="1" fontAlgn="base" hangingPunct="1">
        <a:lnSpc>
          <a:spcPct val="90000"/>
        </a:lnSpc>
        <a:spcBef>
          <a:spcPct val="0"/>
        </a:spcBef>
        <a:spcAft>
          <a:spcPct val="0"/>
        </a:spcAft>
        <a:defRPr sz="4400">
          <a:solidFill>
            <a:schemeClr val="tx2"/>
          </a:solidFill>
          <a:latin typeface="Corben" panose="020F0503020000020004" pitchFamily="34" charset="0"/>
        </a:defRPr>
      </a:lvl5pPr>
      <a:lvl6pPr marL="457200" algn="l" rtl="0" eaLnBrk="1" fontAlgn="base" hangingPunct="1">
        <a:lnSpc>
          <a:spcPct val="90000"/>
        </a:lnSpc>
        <a:spcBef>
          <a:spcPct val="0"/>
        </a:spcBef>
        <a:spcAft>
          <a:spcPct val="0"/>
        </a:spcAft>
        <a:defRPr sz="4400">
          <a:solidFill>
            <a:schemeClr val="tx1"/>
          </a:solidFill>
          <a:latin typeface="Corben" panose="020F0503020000020004" pitchFamily="34" charset="0"/>
        </a:defRPr>
      </a:lvl6pPr>
      <a:lvl7pPr marL="914400" algn="l" rtl="0" eaLnBrk="1" fontAlgn="base" hangingPunct="1">
        <a:lnSpc>
          <a:spcPct val="90000"/>
        </a:lnSpc>
        <a:spcBef>
          <a:spcPct val="0"/>
        </a:spcBef>
        <a:spcAft>
          <a:spcPct val="0"/>
        </a:spcAft>
        <a:defRPr sz="4400">
          <a:solidFill>
            <a:schemeClr val="tx1"/>
          </a:solidFill>
          <a:latin typeface="Corben" panose="020F0503020000020004" pitchFamily="34" charset="0"/>
        </a:defRPr>
      </a:lvl7pPr>
      <a:lvl8pPr marL="1371600" algn="l" rtl="0" eaLnBrk="1" fontAlgn="base" hangingPunct="1">
        <a:lnSpc>
          <a:spcPct val="90000"/>
        </a:lnSpc>
        <a:spcBef>
          <a:spcPct val="0"/>
        </a:spcBef>
        <a:spcAft>
          <a:spcPct val="0"/>
        </a:spcAft>
        <a:defRPr sz="4400">
          <a:solidFill>
            <a:schemeClr val="tx1"/>
          </a:solidFill>
          <a:latin typeface="Corben" panose="020F0503020000020004" pitchFamily="34" charset="0"/>
        </a:defRPr>
      </a:lvl8pPr>
      <a:lvl9pPr marL="1828800" algn="l" rtl="0" eaLnBrk="1" fontAlgn="base" hangingPunct="1">
        <a:lnSpc>
          <a:spcPct val="90000"/>
        </a:lnSpc>
        <a:spcBef>
          <a:spcPct val="0"/>
        </a:spcBef>
        <a:spcAft>
          <a:spcPct val="0"/>
        </a:spcAft>
        <a:defRPr sz="4400">
          <a:solidFill>
            <a:schemeClr val="tx1"/>
          </a:solidFill>
          <a:latin typeface="Corben" panose="020F0503020000020004" pitchFamily="34" charset="0"/>
        </a:defRPr>
      </a:lvl9pPr>
    </p:titleStyle>
    <p:bodyStyle>
      <a:lvl1pPr marL="228600" indent="-228600" algn="l" rtl="0" eaLnBrk="1" fontAlgn="base" hangingPunct="1">
        <a:lnSpc>
          <a:spcPct val="90000"/>
        </a:lnSpc>
        <a:spcBef>
          <a:spcPts val="1000"/>
        </a:spcBef>
        <a:spcAft>
          <a:spcPct val="0"/>
        </a:spcAft>
        <a:buFont typeface="Arial" panose="020B0604020202020204" pitchFamily="34" charset="0"/>
        <a:buChar char="•"/>
        <a:defRPr sz="2400" b="0" i="0" kern="1200">
          <a:solidFill>
            <a:schemeClr val="tx1"/>
          </a:solidFill>
          <a:latin typeface="Schibsted Grotesk" pitchFamily="2" charset="77"/>
          <a:ea typeface="Schibsted Grotesk" pitchFamily="2" charset="77"/>
          <a:cs typeface="Schibsted Grotesk" pitchFamily="2" charset="77"/>
        </a:defRPr>
      </a:lvl1pPr>
      <a:lvl2pPr marL="685800" indent="-228600"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Schibsted Grotesk" pitchFamily="2" charset="0"/>
          <a:ea typeface="Schibsted Grotesk" pitchFamily="2" charset="0"/>
          <a:cs typeface="Schibsted Grotesk" pitchFamily="2" charset="0"/>
        </a:defRPr>
      </a:lvl2pPr>
      <a:lvl3pPr marL="1143000" indent="-228600" algn="l" rtl="0" eaLnBrk="1" fontAlgn="base" hangingPunct="1">
        <a:lnSpc>
          <a:spcPct val="90000"/>
        </a:lnSpc>
        <a:spcBef>
          <a:spcPts val="500"/>
        </a:spcBef>
        <a:spcAft>
          <a:spcPct val="0"/>
        </a:spcAft>
        <a:buFont typeface="Arial" panose="020B0604020202020204" pitchFamily="34" charset="0"/>
        <a:buChar char="•"/>
        <a:defRPr sz="1800" kern="1200">
          <a:solidFill>
            <a:schemeClr val="tx1"/>
          </a:solidFill>
          <a:latin typeface="Schibsted Grotesk" pitchFamily="2" charset="0"/>
          <a:ea typeface="Schibsted Grotesk" pitchFamily="2" charset="0"/>
          <a:cs typeface="Schibsted Grotesk" pitchFamily="2" charset="0"/>
        </a:defRPr>
      </a:lvl3pPr>
      <a:lvl4pPr marL="1600200" indent="-228600" algn="l"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Schibsted Grotesk" pitchFamily="2" charset="0"/>
          <a:ea typeface="Schibsted Grotesk" pitchFamily="2" charset="0"/>
          <a:cs typeface="Schibsted Grotesk" pitchFamily="2" charset="0"/>
        </a:defRPr>
      </a:lvl4pPr>
      <a:lvl5pPr marL="2057400" indent="-228600" algn="l" rtl="0" eaLnBrk="1" fontAlgn="base" hangingPunct="1">
        <a:lnSpc>
          <a:spcPct val="90000"/>
        </a:lnSpc>
        <a:spcBef>
          <a:spcPts val="500"/>
        </a:spcBef>
        <a:spcAft>
          <a:spcPct val="0"/>
        </a:spcAft>
        <a:buFont typeface="Arial" panose="020B0604020202020204" pitchFamily="34" charset="0"/>
        <a:buChar char="•"/>
        <a:defRPr sz="1400" kern="1200">
          <a:solidFill>
            <a:schemeClr val="tx1"/>
          </a:solidFill>
          <a:latin typeface="Schibsted Grotesk" pitchFamily="2" charset="0"/>
          <a:ea typeface="Schibsted Grotesk" pitchFamily="2" charset="0"/>
          <a:cs typeface="Schibsted Grotesk" pitchFamily="2"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1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6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6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1.xml"/></Relationships>
</file>

<file path=ppt/slides/_rels/slide15.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1.xml"/></Relationships>
</file>

<file path=ppt/slides/_rels/slide16.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61.xml"/></Relationships>
</file>

<file path=ppt/slides/_rels/slide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6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6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10.xml"/></Relationships>
</file>

<file path=ppt/slides/_rels/slide2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64.xml"/></Relationships>
</file>

<file path=ppt/slides/_rels/slide2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64.xml"/></Relationships>
</file>

<file path=ppt/slides/_rels/slide2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4.xml"/></Relationships>
</file>

<file path=ppt/slides/_rels/slide24.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64.xml"/></Relationships>
</file>

<file path=ppt/slides/_rels/slide25.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64.xml"/></Relationships>
</file>

<file path=ppt/slides/_rels/slide26.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64.xml"/></Relationships>
</file>

<file path=ppt/slides/_rels/slide2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64.xml"/></Relationships>
</file>

<file path=ppt/slides/_rels/slide28.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64.xml"/></Relationships>
</file>

<file path=ppt/slides/_rels/slide29.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6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4.xml"/></Relationships>
</file>

<file path=ppt/slides/_rels/slide31.xml.rels><?xml version="1.0" encoding="UTF-8" standalone="yes"?>
<Relationships xmlns="http://schemas.openxmlformats.org/package/2006/relationships"><Relationship Id="rId2" Type="http://schemas.openxmlformats.org/officeDocument/2006/relationships/image" Target="../media/image64.png"/><Relationship Id="rId1" Type="http://schemas.openxmlformats.org/officeDocument/2006/relationships/slideLayout" Target="../slideLayouts/slideLayout64.xml"/></Relationships>
</file>

<file path=ppt/slides/_rels/slide32.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112.xml"/></Relationships>
</file>

<file path=ppt/slides/_rels/slide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8" Type="http://schemas.microsoft.com/office/2007/relationships/diagramDrawing" Target="../diagrams/drawing1.xml"/><Relationship Id="rId3" Type="http://schemas.microsoft.com/office/2018/10/relationships/comments" Target="../comments/modernComment_100_CA2835FD.xml"/><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60.xml"/><Relationship Id="rId6" Type="http://schemas.openxmlformats.org/officeDocument/2006/relationships/diagramQuickStyle" Target="../diagrams/quickStyle1.xml"/><Relationship Id="rId5" Type="http://schemas.openxmlformats.org/officeDocument/2006/relationships/diagramLayout" Target="../diagrams/layout1.xml"/><Relationship Id="rId10" Type="http://schemas.openxmlformats.org/officeDocument/2006/relationships/image" Target="../media/image28.svg"/><Relationship Id="rId4" Type="http://schemas.openxmlformats.org/officeDocument/2006/relationships/diagramData" Target="../diagrams/data1.xml"/><Relationship Id="rId9" Type="http://schemas.openxmlformats.org/officeDocument/2006/relationships/image" Target="../media/image2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58.xml"/><Relationship Id="rId1" Type="http://schemas.openxmlformats.org/officeDocument/2006/relationships/tags" Target="../tags/tag7.xml"/><Relationship Id="rId5" Type="http://schemas.openxmlformats.org/officeDocument/2006/relationships/image" Target="../media/image14.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re 46">
            <a:extLst>
              <a:ext uri="{FF2B5EF4-FFF2-40B4-BE49-F238E27FC236}">
                <a16:creationId xmlns:a16="http://schemas.microsoft.com/office/drawing/2014/main" id="{1D41B2C7-CA49-45CA-A7D0-03041642826A}"/>
              </a:ext>
            </a:extLst>
          </p:cNvPr>
          <p:cNvSpPr>
            <a:spLocks noGrp="1"/>
          </p:cNvSpPr>
          <p:nvPr>
            <p:ph type="ctrTitle"/>
          </p:nvPr>
        </p:nvSpPr>
        <p:spPr>
          <a:xfrm>
            <a:off x="6095999" y="925162"/>
            <a:ext cx="5724525" cy="2659190"/>
          </a:xfrm>
        </p:spPr>
        <p:txBody>
          <a:bodyPr/>
          <a:lstStyle/>
          <a:p>
            <a:r>
              <a:rPr lang="en-US"/>
              <a:t>Harnessing innovation in Cat Modelling: SCOR future vision</a:t>
            </a:r>
            <a:endParaRPr lang="fr-BE">
              <a:cs typeface="Arial"/>
            </a:endParaRPr>
          </a:p>
        </p:txBody>
      </p:sp>
      <p:sp>
        <p:nvSpPr>
          <p:cNvPr id="48" name="Sous-titre 47">
            <a:extLst>
              <a:ext uri="{FF2B5EF4-FFF2-40B4-BE49-F238E27FC236}">
                <a16:creationId xmlns:a16="http://schemas.microsoft.com/office/drawing/2014/main" id="{9DADBCE4-93AF-42A7-93E9-CA2A5A06C959}"/>
              </a:ext>
            </a:extLst>
          </p:cNvPr>
          <p:cNvSpPr>
            <a:spLocks noGrp="1"/>
          </p:cNvSpPr>
          <p:nvPr>
            <p:ph type="subTitle" idx="1"/>
          </p:nvPr>
        </p:nvSpPr>
        <p:spPr>
          <a:xfrm>
            <a:off x="6095999" y="3694856"/>
            <a:ext cx="5724525" cy="553998"/>
          </a:xfrm>
        </p:spPr>
        <p:txBody>
          <a:bodyPr/>
          <a:lstStyle/>
          <a:p>
            <a:r>
              <a:rPr lang="en-US"/>
              <a:t>Simos Koumoutsaris</a:t>
            </a:r>
            <a:br>
              <a:rPr lang="en-US"/>
            </a:br>
            <a:r>
              <a:rPr lang="en-US"/>
              <a:t>Global Head of Cat R&amp;D</a:t>
            </a:r>
            <a:endParaRPr lang="fr-BE"/>
          </a:p>
        </p:txBody>
      </p:sp>
      <p:pic>
        <p:nvPicPr>
          <p:cNvPr id="45" name="Espace réservé pour une image  44">
            <a:extLst>
              <a:ext uri="{FF2B5EF4-FFF2-40B4-BE49-F238E27FC236}">
                <a16:creationId xmlns:a16="http://schemas.microsoft.com/office/drawing/2014/main" id="{033E41BF-B85B-45CA-B11B-3744C34EFC75}"/>
              </a:ext>
            </a:extLst>
          </p:cNvPr>
          <p:cNvPicPr>
            <a:picLocks noGrp="1" noChangeAspect="1"/>
          </p:cNvPicPr>
          <p:nvPr>
            <p:ph type="pic" sz="quarter" idx="11"/>
          </p:nvPr>
        </p:nvPicPr>
        <p:blipFill rotWithShape="1">
          <a:blip r:embed="rId2" cstate="screen">
            <a:extLst>
              <a:ext uri="{28A0092B-C50C-407E-A947-70E740481C1C}">
                <a14:useLocalDpi xmlns:a14="http://schemas.microsoft.com/office/drawing/2010/main"/>
              </a:ext>
            </a:extLst>
          </a:blip>
          <a:srcRect/>
          <a:stretch/>
        </p:blipFill>
        <p:spPr>
          <a:xfrm>
            <a:off x="371477" y="1041993"/>
            <a:ext cx="4716412" cy="4763272"/>
          </a:xfrm>
        </p:spPr>
      </p:pic>
      <p:sp>
        <p:nvSpPr>
          <p:cNvPr id="5" name="Text Placeholder 4">
            <a:extLst>
              <a:ext uri="{FF2B5EF4-FFF2-40B4-BE49-F238E27FC236}">
                <a16:creationId xmlns:a16="http://schemas.microsoft.com/office/drawing/2014/main" id="{12A9D10E-660A-478F-9186-FDC9B7BCAB1B}"/>
              </a:ext>
            </a:extLst>
          </p:cNvPr>
          <p:cNvSpPr>
            <a:spLocks noGrp="1"/>
          </p:cNvSpPr>
          <p:nvPr>
            <p:ph type="body" sz="quarter" idx="12"/>
          </p:nvPr>
        </p:nvSpPr>
        <p:spPr>
          <a:xfrm>
            <a:off x="1402165" y="4819561"/>
            <a:ext cx="8595672" cy="696216"/>
          </a:xfrm>
        </p:spPr>
        <p:txBody>
          <a:bodyPr/>
          <a:lstStyle/>
          <a:p>
            <a:r>
              <a:rPr lang="en-US"/>
              <a:t>Oasis Insight Conference - Zurich 2025 in collaboration with Swiss Re</a:t>
            </a:r>
          </a:p>
        </p:txBody>
      </p:sp>
    </p:spTree>
    <p:extLst>
      <p:ext uri="{BB962C8B-B14F-4D97-AF65-F5344CB8AC3E}">
        <p14:creationId xmlns:p14="http://schemas.microsoft.com/office/powerpoint/2010/main" val="29421679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4778F-2B43-D941-9AB6-C1097A42D730}"/>
              </a:ext>
            </a:extLst>
          </p:cNvPr>
          <p:cNvSpPr>
            <a:spLocks noGrp="1"/>
          </p:cNvSpPr>
          <p:nvPr>
            <p:ph type="title"/>
          </p:nvPr>
        </p:nvSpPr>
        <p:spPr/>
        <p:txBody>
          <a:bodyPr/>
          <a:lstStyle/>
          <a:p>
            <a:r>
              <a:rPr lang="en-US"/>
              <a:t>Harnessing Innovation in Catastrophe Modelling</a:t>
            </a:r>
          </a:p>
        </p:txBody>
      </p:sp>
      <p:sp>
        <p:nvSpPr>
          <p:cNvPr id="4" name="Text Placeholder 3">
            <a:extLst>
              <a:ext uri="{FF2B5EF4-FFF2-40B4-BE49-F238E27FC236}">
                <a16:creationId xmlns:a16="http://schemas.microsoft.com/office/drawing/2014/main" id="{D22724A2-5365-864A-B37F-14BE490C0057}"/>
              </a:ext>
            </a:extLst>
          </p:cNvPr>
          <p:cNvSpPr>
            <a:spLocks noGrp="1"/>
          </p:cNvSpPr>
          <p:nvPr>
            <p:ph type="body" sz="quarter" idx="10"/>
          </p:nvPr>
        </p:nvSpPr>
        <p:spPr/>
        <p:txBody>
          <a:bodyPr/>
          <a:lstStyle/>
          <a:p>
            <a:r>
              <a:rPr lang="en-US"/>
              <a:t>Oasis Conference, Zurich</a:t>
            </a:r>
          </a:p>
        </p:txBody>
      </p:sp>
      <p:sp>
        <p:nvSpPr>
          <p:cNvPr id="3" name="Subtitle 2">
            <a:extLst>
              <a:ext uri="{FF2B5EF4-FFF2-40B4-BE49-F238E27FC236}">
                <a16:creationId xmlns:a16="http://schemas.microsoft.com/office/drawing/2014/main" id="{C0F208C4-02FB-3E45-9E38-36423EA30524}"/>
              </a:ext>
            </a:extLst>
          </p:cNvPr>
          <p:cNvSpPr>
            <a:spLocks noGrp="1"/>
          </p:cNvSpPr>
          <p:nvPr>
            <p:ph type="body" sz="quarter" idx="11"/>
          </p:nvPr>
        </p:nvSpPr>
        <p:spPr/>
        <p:txBody>
          <a:bodyPr/>
          <a:lstStyle/>
          <a:p>
            <a:r>
              <a:rPr lang="en-US"/>
              <a:t>June 19, 2025</a:t>
            </a:r>
          </a:p>
        </p:txBody>
      </p:sp>
    </p:spTree>
    <p:extLst>
      <p:ext uri="{BB962C8B-B14F-4D97-AF65-F5344CB8AC3E}">
        <p14:creationId xmlns:p14="http://schemas.microsoft.com/office/powerpoint/2010/main" val="1140705592"/>
      </p:ext>
    </p:extLst>
  </p:cSld>
  <p:clrMapOvr>
    <a:masterClrMapping/>
  </p:clrMapOvr>
  <p:transition spd="slow"/>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2DCE2BC-ADEF-A6B7-F3D9-A8C486BFA86F}"/>
              </a:ext>
            </a:extLst>
          </p:cNvPr>
          <p:cNvSpPr>
            <a:spLocks noGrp="1"/>
          </p:cNvSpPr>
          <p:nvPr>
            <p:ph type="title"/>
          </p:nvPr>
        </p:nvSpPr>
        <p:spPr/>
        <p:txBody>
          <a:bodyPr/>
          <a:lstStyle/>
          <a:p>
            <a:r>
              <a:rPr lang="en-GB"/>
              <a:t>In early April 2025, Verisk acquired Nasdaq Risk Modelling for Catastrophes</a:t>
            </a:r>
          </a:p>
        </p:txBody>
      </p:sp>
    </p:spTree>
    <p:extLst>
      <p:ext uri="{BB962C8B-B14F-4D97-AF65-F5344CB8AC3E}">
        <p14:creationId xmlns:p14="http://schemas.microsoft.com/office/powerpoint/2010/main" val="639849687"/>
      </p:ext>
    </p:extLst>
  </p:cSld>
  <p:clrMapOvr>
    <a:masterClrMapping/>
  </p:clrMapOvr>
  <p:transition spd="slow"/>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358986-EB46-085A-73CB-B1DAF506BE17}"/>
              </a:ext>
            </a:extLst>
          </p:cNvPr>
          <p:cNvSpPr>
            <a:spLocks noGrp="1"/>
          </p:cNvSpPr>
          <p:nvPr>
            <p:ph type="title"/>
          </p:nvPr>
        </p:nvSpPr>
        <p:spPr/>
        <p:txBody>
          <a:bodyPr/>
          <a:lstStyle/>
          <a:p>
            <a:r>
              <a:rPr lang="en-GB"/>
              <a:t>What’s Changed?</a:t>
            </a:r>
          </a:p>
        </p:txBody>
      </p:sp>
      <p:pic>
        <p:nvPicPr>
          <p:cNvPr id="4" name="Content Placeholder 3" descr="A screenshot of a computer&#10;&#10;AI-generated content may be incorrect.">
            <a:extLst>
              <a:ext uri="{FF2B5EF4-FFF2-40B4-BE49-F238E27FC236}">
                <a16:creationId xmlns:a16="http://schemas.microsoft.com/office/drawing/2014/main" id="{57708D68-2A44-9455-8F77-C75DD8952AC5}"/>
              </a:ext>
            </a:extLst>
          </p:cNvPr>
          <p:cNvPicPr>
            <a:picLocks noGrp="1" noChangeAspect="1"/>
          </p:cNvPicPr>
          <p:nvPr>
            <p:ph idx="1"/>
          </p:nvPr>
        </p:nvPicPr>
        <p:blipFill rotWithShape="1">
          <a:blip r:embed="rId2"/>
          <a:srcRect t="10833" r="1507" b="11956"/>
          <a:stretch>
            <a:fillRect/>
          </a:stretch>
        </p:blipFill>
        <p:spPr bwMode="auto">
          <a:xfrm>
            <a:off x="457200" y="2292390"/>
            <a:ext cx="9144000" cy="4032111"/>
          </a:xfrm>
          <a:prstGeom prst="rect">
            <a:avLst/>
          </a:prstGeom>
          <a:ln>
            <a:noFill/>
          </a:ln>
          <a:extLst>
            <a:ext uri="{53640926-AAD7-44D8-BBD7-CCE9431645EC}">
              <a14:shadowObscured xmlns:a14="http://schemas.microsoft.com/office/drawing/2010/main"/>
            </a:ext>
          </a:extLst>
        </p:spPr>
      </p:pic>
      <p:sp>
        <p:nvSpPr>
          <p:cNvPr id="9" name="Speech Bubble: Rectangle with Corners Rounded 8">
            <a:extLst>
              <a:ext uri="{FF2B5EF4-FFF2-40B4-BE49-F238E27FC236}">
                <a16:creationId xmlns:a16="http://schemas.microsoft.com/office/drawing/2014/main" id="{E7F32960-9757-6138-6669-C9F0B520BC7D}"/>
              </a:ext>
            </a:extLst>
          </p:cNvPr>
          <p:cNvSpPr/>
          <p:nvPr/>
        </p:nvSpPr>
        <p:spPr>
          <a:xfrm>
            <a:off x="457200" y="1399032"/>
            <a:ext cx="4278702" cy="772582"/>
          </a:xfrm>
          <a:prstGeom prst="wedgeRoundRectCallout">
            <a:avLst/>
          </a:prstGeom>
          <a:solidFill>
            <a:schemeClr val="accent3"/>
          </a:solidFill>
          <a:ln>
            <a:solidFill>
              <a:schemeClr val="accent3"/>
            </a:solidFill>
          </a:ln>
        </p:spPr>
        <p:style>
          <a:lnRef idx="2">
            <a:schemeClr val="accent6">
              <a:shade val="15000"/>
            </a:schemeClr>
          </a:lnRef>
          <a:fillRef idx="1">
            <a:schemeClr val="accent6"/>
          </a:fillRef>
          <a:effectRef idx="0">
            <a:schemeClr val="accent6"/>
          </a:effectRef>
          <a:fontRef idx="minor">
            <a:schemeClr val="lt1"/>
          </a:fontRef>
        </p:style>
        <p:txBody>
          <a:bodyPr lIns="0" tIns="0" rIns="0" bIns="0" rtlCol="0" anchor="ctr"/>
          <a:lstStyle/>
          <a:p>
            <a:pPr algn="ctr"/>
            <a:r>
              <a:rPr lang="en-GB">
                <a:latin typeface="Roboto" panose="02000000000000000000" pitchFamily="2" charset="0"/>
                <a:ea typeface="Roboto" panose="02000000000000000000" pitchFamily="2" charset="0"/>
              </a:rPr>
              <a:t>Nasdaq Risk Modelling for Catastrophes is now Model Exchange</a:t>
            </a:r>
          </a:p>
        </p:txBody>
      </p:sp>
    </p:spTree>
    <p:extLst>
      <p:ext uri="{BB962C8B-B14F-4D97-AF65-F5344CB8AC3E}">
        <p14:creationId xmlns:p14="http://schemas.microsoft.com/office/powerpoint/2010/main" val="352786835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AA70C2-BF78-41D4-FCAA-170631D84AE7}"/>
              </a:ext>
            </a:extLst>
          </p:cNvPr>
          <p:cNvSpPr>
            <a:spLocks noGrp="1"/>
          </p:cNvSpPr>
          <p:nvPr>
            <p:ph type="title"/>
          </p:nvPr>
        </p:nvSpPr>
        <p:spPr>
          <a:xfrm>
            <a:off x="457200" y="731520"/>
            <a:ext cx="8375904" cy="667512"/>
          </a:xfrm>
        </p:spPr>
        <p:txBody>
          <a:bodyPr wrap="square" anchor="t">
            <a:normAutofit/>
          </a:bodyPr>
          <a:lstStyle/>
          <a:p>
            <a:r>
              <a:rPr lang="en-GB"/>
              <a:t>What’s Changed?</a:t>
            </a:r>
          </a:p>
        </p:txBody>
      </p:sp>
      <p:graphicFrame>
        <p:nvGraphicFramePr>
          <p:cNvPr id="5" name="Content Placeholder 2">
            <a:extLst>
              <a:ext uri="{FF2B5EF4-FFF2-40B4-BE49-F238E27FC236}">
                <a16:creationId xmlns:a16="http://schemas.microsoft.com/office/drawing/2014/main" id="{F7152239-EE78-030C-AA3E-6EBB630335B3}"/>
              </a:ext>
            </a:extLst>
          </p:cNvPr>
          <p:cNvGraphicFramePr>
            <a:graphicFrameLocks noGrp="1"/>
          </p:cNvGraphicFramePr>
          <p:nvPr>
            <p:ph sz="quarter" idx="11"/>
          </p:nvPr>
        </p:nvGraphicFramePr>
        <p:xfrm>
          <a:off x="457200" y="2039112"/>
          <a:ext cx="9144000" cy="4144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723766600"/>
      </p:ext>
    </p:extLst>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D89DE00-B34C-25DF-D768-85FDCE74465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458718B5-1E89-BD89-A883-B4B4D8435A6F}"/>
              </a:ext>
            </a:extLst>
          </p:cNvPr>
          <p:cNvSpPr>
            <a:spLocks noGrp="1"/>
          </p:cNvSpPr>
          <p:nvPr>
            <p:ph type="title"/>
          </p:nvPr>
        </p:nvSpPr>
        <p:spPr/>
        <p:txBody>
          <a:bodyPr/>
          <a:lstStyle/>
          <a:p>
            <a:r>
              <a:rPr lang="en-GB"/>
              <a:t>What Hasn’t Changed?</a:t>
            </a:r>
          </a:p>
        </p:txBody>
      </p:sp>
      <p:sp>
        <p:nvSpPr>
          <p:cNvPr id="9" name="Speech Bubble: Rectangle with Corners Rounded 8">
            <a:extLst>
              <a:ext uri="{FF2B5EF4-FFF2-40B4-BE49-F238E27FC236}">
                <a16:creationId xmlns:a16="http://schemas.microsoft.com/office/drawing/2014/main" id="{1341126A-665F-1090-859C-28A66AD2517B}"/>
              </a:ext>
            </a:extLst>
          </p:cNvPr>
          <p:cNvSpPr/>
          <p:nvPr/>
        </p:nvSpPr>
        <p:spPr>
          <a:xfrm>
            <a:off x="5995359" y="871268"/>
            <a:ext cx="4278702" cy="966590"/>
          </a:xfrm>
          <a:prstGeom prst="wedgeRoundRectCallout">
            <a:avLst/>
          </a:prstGeom>
          <a:solidFill>
            <a:schemeClr val="accent3"/>
          </a:solidFill>
          <a:ln/>
        </p:spPr>
        <p:style>
          <a:lnRef idx="2">
            <a:schemeClr val="accent6">
              <a:shade val="15000"/>
            </a:schemeClr>
          </a:lnRef>
          <a:fillRef idx="1">
            <a:schemeClr val="accent6"/>
          </a:fillRef>
          <a:effectRef idx="0">
            <a:schemeClr val="accent6"/>
          </a:effectRef>
          <a:fontRef idx="minor">
            <a:schemeClr val="lt1"/>
          </a:fontRef>
        </p:style>
        <p:txBody>
          <a:bodyPr lIns="0" tIns="0" rIns="0" bIns="0" rtlCol="0" anchor="ctr"/>
          <a:lstStyle/>
          <a:p>
            <a:pPr algn="ctr"/>
            <a:r>
              <a:rPr lang="en-GB">
                <a:latin typeface="Roboto" panose="02000000000000000000" pitchFamily="2" charset="0"/>
                <a:ea typeface="Roboto" panose="02000000000000000000" pitchFamily="2" charset="0"/>
              </a:rPr>
              <a:t>Clients of Model Exchange have access to a vibrant community of model vendors via a single platform</a:t>
            </a:r>
          </a:p>
        </p:txBody>
      </p:sp>
      <p:pic>
        <p:nvPicPr>
          <p:cNvPr id="7" name="Content Placeholder 6" descr="A screenshot of a computer&#10;&#10;AI-generated content may be incorrect.">
            <a:extLst>
              <a:ext uri="{FF2B5EF4-FFF2-40B4-BE49-F238E27FC236}">
                <a16:creationId xmlns:a16="http://schemas.microsoft.com/office/drawing/2014/main" id="{54BC8DD0-62FD-4BEF-0378-A79050E158D7}"/>
              </a:ext>
            </a:extLst>
          </p:cNvPr>
          <p:cNvPicPr>
            <a:picLocks noGrp="1" noChangeAspect="1"/>
          </p:cNvPicPr>
          <p:nvPr>
            <p:ph idx="1"/>
          </p:nvPr>
        </p:nvPicPr>
        <p:blipFill rotWithShape="1">
          <a:blip r:embed="rId2"/>
          <a:srcRect l="998" t="10636" r="1617" b="7229"/>
          <a:stretch/>
        </p:blipFill>
        <p:spPr bwMode="auto">
          <a:xfrm>
            <a:off x="662377" y="2038350"/>
            <a:ext cx="8733645" cy="414337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5208417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DD354E9-7A29-711F-72F7-B0F448F59596}"/>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EC0A8D9-FAD5-EA14-72CD-870F6A0249E3}"/>
              </a:ext>
            </a:extLst>
          </p:cNvPr>
          <p:cNvSpPr>
            <a:spLocks noGrp="1"/>
          </p:cNvSpPr>
          <p:nvPr>
            <p:ph type="title"/>
          </p:nvPr>
        </p:nvSpPr>
        <p:spPr/>
        <p:txBody>
          <a:bodyPr/>
          <a:lstStyle/>
          <a:p>
            <a:r>
              <a:rPr lang="en-GB"/>
              <a:t>Easy to use, Intuitive User Interface</a:t>
            </a:r>
          </a:p>
        </p:txBody>
      </p:sp>
      <p:pic>
        <p:nvPicPr>
          <p:cNvPr id="10" name="Content Placeholder 9" descr="A screenshot of a computer&#10;&#10;AI-generated content may be incorrect.">
            <a:extLst>
              <a:ext uri="{FF2B5EF4-FFF2-40B4-BE49-F238E27FC236}">
                <a16:creationId xmlns:a16="http://schemas.microsoft.com/office/drawing/2014/main" id="{7B9A8EEE-39E2-41D1-5470-DB11BD4E53E2}"/>
              </a:ext>
            </a:extLst>
          </p:cNvPr>
          <p:cNvPicPr>
            <a:picLocks noGrp="1" noChangeAspect="1"/>
          </p:cNvPicPr>
          <p:nvPr>
            <p:ph idx="1"/>
          </p:nvPr>
        </p:nvPicPr>
        <p:blipFill rotWithShape="1">
          <a:blip r:embed="rId2"/>
          <a:srcRect t="10834" r="1950" b="7425"/>
          <a:stretch>
            <a:fillRect/>
          </a:stretch>
        </p:blipFill>
        <p:spPr bwMode="auto">
          <a:xfrm>
            <a:off x="611366" y="2038350"/>
            <a:ext cx="8835667" cy="4143375"/>
          </a:xfrm>
          <a:prstGeom prst="rect">
            <a:avLst/>
          </a:prstGeom>
          <a:ln>
            <a:noFill/>
          </a:ln>
          <a:extLst>
            <a:ext uri="{53640926-AAD7-44D8-BBD7-CCE9431645EC}">
              <a14:shadowObscured xmlns:a14="http://schemas.microsoft.com/office/drawing/2010/main"/>
            </a:ext>
          </a:extLst>
        </p:spPr>
      </p:pic>
      <p:sp>
        <p:nvSpPr>
          <p:cNvPr id="11" name="Speech Bubble: Rectangle with Corners Rounded 10">
            <a:extLst>
              <a:ext uri="{FF2B5EF4-FFF2-40B4-BE49-F238E27FC236}">
                <a16:creationId xmlns:a16="http://schemas.microsoft.com/office/drawing/2014/main" id="{062E47B7-9E4F-9F5A-136B-B70A260067D5}"/>
              </a:ext>
            </a:extLst>
          </p:cNvPr>
          <p:cNvSpPr/>
          <p:nvPr/>
        </p:nvSpPr>
        <p:spPr>
          <a:xfrm>
            <a:off x="7703389" y="828136"/>
            <a:ext cx="2587924" cy="966590"/>
          </a:xfrm>
          <a:prstGeom prst="wedgeRoundRectCallout">
            <a:avLst/>
          </a:prstGeom>
          <a:solidFill>
            <a:schemeClr val="accent3"/>
          </a:solidFill>
          <a:ln/>
        </p:spPr>
        <p:style>
          <a:lnRef idx="2">
            <a:schemeClr val="accent6">
              <a:shade val="15000"/>
            </a:schemeClr>
          </a:lnRef>
          <a:fillRef idx="1">
            <a:schemeClr val="accent6"/>
          </a:fillRef>
          <a:effectRef idx="0">
            <a:schemeClr val="accent6"/>
          </a:effectRef>
          <a:fontRef idx="minor">
            <a:schemeClr val="lt1"/>
          </a:fontRef>
        </p:style>
        <p:txBody>
          <a:bodyPr lIns="0" tIns="0" rIns="0" bIns="0" rtlCol="0" anchor="ctr"/>
          <a:lstStyle/>
          <a:p>
            <a:pPr algn="ctr"/>
            <a:r>
              <a:rPr lang="en-GB">
                <a:latin typeface="Roboto" panose="02000000000000000000" pitchFamily="2" charset="0"/>
                <a:ea typeface="Roboto" panose="02000000000000000000" pitchFamily="2" charset="0"/>
              </a:rPr>
              <a:t>Upload exposure data individually or in bulk</a:t>
            </a:r>
          </a:p>
        </p:txBody>
      </p:sp>
      <p:sp>
        <p:nvSpPr>
          <p:cNvPr id="12" name="Speech Bubble: Rectangle with Corners Rounded 11">
            <a:extLst>
              <a:ext uri="{FF2B5EF4-FFF2-40B4-BE49-F238E27FC236}">
                <a16:creationId xmlns:a16="http://schemas.microsoft.com/office/drawing/2014/main" id="{6AC3E034-2DA7-70FF-E74E-82F7AB772459}"/>
              </a:ext>
            </a:extLst>
          </p:cNvPr>
          <p:cNvSpPr/>
          <p:nvPr/>
        </p:nvSpPr>
        <p:spPr>
          <a:xfrm>
            <a:off x="5750944" y="2550543"/>
            <a:ext cx="2587924" cy="966590"/>
          </a:xfrm>
          <a:prstGeom prst="wedgeRoundRectCallout">
            <a:avLst/>
          </a:prstGeom>
          <a:solidFill>
            <a:schemeClr val="accent3"/>
          </a:solidFill>
          <a:ln/>
        </p:spPr>
        <p:style>
          <a:lnRef idx="2">
            <a:schemeClr val="accent6">
              <a:shade val="15000"/>
            </a:schemeClr>
          </a:lnRef>
          <a:fillRef idx="1">
            <a:schemeClr val="accent6"/>
          </a:fillRef>
          <a:effectRef idx="0">
            <a:schemeClr val="accent6"/>
          </a:effectRef>
          <a:fontRef idx="minor">
            <a:schemeClr val="lt1"/>
          </a:fontRef>
        </p:style>
        <p:txBody>
          <a:bodyPr lIns="0" tIns="0" rIns="0" bIns="0" rtlCol="0" anchor="ctr"/>
          <a:lstStyle/>
          <a:p>
            <a:pPr algn="ctr"/>
            <a:r>
              <a:rPr lang="en-GB">
                <a:latin typeface="Roboto" panose="02000000000000000000" pitchFamily="2" charset="0"/>
                <a:ea typeface="Roboto" panose="02000000000000000000" pitchFamily="2" charset="0"/>
              </a:rPr>
              <a:t>Exposure files are validated by Model Exchange</a:t>
            </a:r>
          </a:p>
        </p:txBody>
      </p:sp>
    </p:spTree>
    <p:extLst>
      <p:ext uri="{BB962C8B-B14F-4D97-AF65-F5344CB8AC3E}">
        <p14:creationId xmlns:p14="http://schemas.microsoft.com/office/powerpoint/2010/main" val="283358839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2"/>
                                        </p:tgtEl>
                                        <p:attrNameLst>
                                          <p:attrName>style.visibility</p:attrName>
                                        </p:attrNameLst>
                                      </p:cBhvr>
                                      <p:to>
                                        <p:strVal val="visible"/>
                                      </p:to>
                                    </p:set>
                                    <p:animEffect transition="in" filter="fade">
                                      <p:cBhvr>
                                        <p:cTn id="14" dur="1000"/>
                                        <p:tgtEl>
                                          <p:spTgt spid="12"/>
                                        </p:tgtEl>
                                      </p:cBhvr>
                                    </p:animEffect>
                                    <p:anim calcmode="lin" valueType="num">
                                      <p:cBhvr>
                                        <p:cTn id="15" dur="1000" fill="hold"/>
                                        <p:tgtEl>
                                          <p:spTgt spid="12"/>
                                        </p:tgtEl>
                                        <p:attrNameLst>
                                          <p:attrName>ppt_x</p:attrName>
                                        </p:attrNameLst>
                                      </p:cBhvr>
                                      <p:tavLst>
                                        <p:tav tm="0">
                                          <p:val>
                                            <p:strVal val="#ppt_x"/>
                                          </p:val>
                                        </p:tav>
                                        <p:tav tm="100000">
                                          <p:val>
                                            <p:strVal val="#ppt_x"/>
                                          </p:val>
                                        </p:tav>
                                      </p:tavLst>
                                    </p:anim>
                                    <p:anim calcmode="lin" valueType="num">
                                      <p:cBhvr>
                                        <p:cTn id="16"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4B01D4-796C-8CAE-1E94-7BE058D559E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1247D2C8-8D69-33B3-B52A-53828BA3392B}"/>
              </a:ext>
            </a:extLst>
          </p:cNvPr>
          <p:cNvSpPr>
            <a:spLocks noGrp="1"/>
          </p:cNvSpPr>
          <p:nvPr>
            <p:ph type="title"/>
          </p:nvPr>
        </p:nvSpPr>
        <p:spPr/>
        <p:txBody>
          <a:bodyPr/>
          <a:lstStyle/>
          <a:p>
            <a:r>
              <a:rPr lang="en-GB"/>
              <a:t>Easy to use, Intuitive User Interface</a:t>
            </a:r>
          </a:p>
        </p:txBody>
      </p:sp>
      <p:pic>
        <p:nvPicPr>
          <p:cNvPr id="5" name="Content Placeholder 4" descr="A screenshot of a computer&#10;&#10;AI-generated content may be incorrect.">
            <a:extLst>
              <a:ext uri="{FF2B5EF4-FFF2-40B4-BE49-F238E27FC236}">
                <a16:creationId xmlns:a16="http://schemas.microsoft.com/office/drawing/2014/main" id="{80601E73-181F-418B-5AFC-D89EBF23946C}"/>
              </a:ext>
            </a:extLst>
          </p:cNvPr>
          <p:cNvPicPr>
            <a:picLocks noGrp="1" noChangeAspect="1"/>
          </p:cNvPicPr>
          <p:nvPr>
            <p:ph idx="1"/>
          </p:nvPr>
        </p:nvPicPr>
        <p:blipFill rotWithShape="1">
          <a:blip r:embed="rId2"/>
          <a:srcRect t="10833" r="1950" b="8410"/>
          <a:stretch>
            <a:fillRect/>
          </a:stretch>
        </p:blipFill>
        <p:spPr bwMode="auto">
          <a:xfrm>
            <a:off x="557536" y="2038350"/>
            <a:ext cx="8943327" cy="4143375"/>
          </a:xfrm>
          <a:prstGeom prst="rect">
            <a:avLst/>
          </a:prstGeom>
          <a:ln>
            <a:noFill/>
          </a:ln>
          <a:extLst>
            <a:ext uri="{53640926-AAD7-44D8-BBD7-CCE9431645EC}">
              <a14:shadowObscured xmlns:a14="http://schemas.microsoft.com/office/drawing/2010/main"/>
            </a:ext>
          </a:extLst>
        </p:spPr>
      </p:pic>
      <p:sp>
        <p:nvSpPr>
          <p:cNvPr id="6" name="Speech Bubble: Rectangle with Corners Rounded 5">
            <a:extLst>
              <a:ext uri="{FF2B5EF4-FFF2-40B4-BE49-F238E27FC236}">
                <a16:creationId xmlns:a16="http://schemas.microsoft.com/office/drawing/2014/main" id="{6778594E-F868-1AF3-7751-95801324F263}"/>
              </a:ext>
            </a:extLst>
          </p:cNvPr>
          <p:cNvSpPr/>
          <p:nvPr/>
        </p:nvSpPr>
        <p:spPr>
          <a:xfrm>
            <a:off x="7450348" y="915737"/>
            <a:ext cx="2587924" cy="966590"/>
          </a:xfrm>
          <a:prstGeom prst="wedgeRoundRectCallout">
            <a:avLst/>
          </a:prstGeom>
          <a:solidFill>
            <a:schemeClr val="accent3"/>
          </a:solidFill>
          <a:ln/>
        </p:spPr>
        <p:style>
          <a:lnRef idx="2">
            <a:schemeClr val="accent6">
              <a:shade val="15000"/>
            </a:schemeClr>
          </a:lnRef>
          <a:fillRef idx="1">
            <a:schemeClr val="accent6"/>
          </a:fillRef>
          <a:effectRef idx="0">
            <a:schemeClr val="accent6"/>
          </a:effectRef>
          <a:fontRef idx="minor">
            <a:schemeClr val="lt1"/>
          </a:fontRef>
        </p:style>
        <p:txBody>
          <a:bodyPr lIns="0" tIns="0" rIns="0" bIns="0" rtlCol="0" anchor="ctr"/>
          <a:lstStyle/>
          <a:p>
            <a:pPr algn="ctr"/>
            <a:r>
              <a:rPr lang="en-GB">
                <a:latin typeface="Roboto" panose="02000000000000000000" pitchFamily="2" charset="0"/>
                <a:ea typeface="Roboto" panose="02000000000000000000" pitchFamily="2" charset="0"/>
              </a:rPr>
              <a:t>Create Portfolios in one simple to use form</a:t>
            </a:r>
          </a:p>
        </p:txBody>
      </p:sp>
      <p:sp>
        <p:nvSpPr>
          <p:cNvPr id="7" name="Speech Bubble: Rectangle with Corners Rounded 6">
            <a:extLst>
              <a:ext uri="{FF2B5EF4-FFF2-40B4-BE49-F238E27FC236}">
                <a16:creationId xmlns:a16="http://schemas.microsoft.com/office/drawing/2014/main" id="{38D7DDB3-82EF-4546-62B7-3BFC9F5F7AA9}"/>
              </a:ext>
            </a:extLst>
          </p:cNvPr>
          <p:cNvSpPr/>
          <p:nvPr/>
        </p:nvSpPr>
        <p:spPr>
          <a:xfrm>
            <a:off x="3735237" y="4974565"/>
            <a:ext cx="2070340" cy="966590"/>
          </a:xfrm>
          <a:prstGeom prst="wedgeRoundRectCallout">
            <a:avLst/>
          </a:prstGeom>
          <a:solidFill>
            <a:schemeClr val="accent3"/>
          </a:solidFill>
          <a:ln/>
        </p:spPr>
        <p:style>
          <a:lnRef idx="2">
            <a:schemeClr val="accent6">
              <a:shade val="15000"/>
            </a:schemeClr>
          </a:lnRef>
          <a:fillRef idx="1">
            <a:schemeClr val="accent6"/>
          </a:fillRef>
          <a:effectRef idx="0">
            <a:schemeClr val="accent6"/>
          </a:effectRef>
          <a:fontRef idx="minor">
            <a:schemeClr val="lt1"/>
          </a:fontRef>
        </p:style>
        <p:txBody>
          <a:bodyPr lIns="0" tIns="0" rIns="0" bIns="0" rtlCol="0" anchor="ctr"/>
          <a:lstStyle/>
          <a:p>
            <a:pPr algn="ctr"/>
            <a:r>
              <a:rPr lang="en-GB">
                <a:latin typeface="Roboto" panose="02000000000000000000" pitchFamily="2" charset="0"/>
                <a:ea typeface="Roboto" panose="02000000000000000000" pitchFamily="2" charset="0"/>
              </a:rPr>
              <a:t>Add currency conversion table for each portfolio</a:t>
            </a:r>
          </a:p>
        </p:txBody>
      </p:sp>
    </p:spTree>
    <p:extLst>
      <p:ext uri="{BB962C8B-B14F-4D97-AF65-F5344CB8AC3E}">
        <p14:creationId xmlns:p14="http://schemas.microsoft.com/office/powerpoint/2010/main" val="3074135160"/>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AD4069-D25B-3E59-306D-4BAA6EB78307}"/>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93C685C-F246-6AEC-E5DC-2A569D893F7D}"/>
              </a:ext>
            </a:extLst>
          </p:cNvPr>
          <p:cNvSpPr>
            <a:spLocks noGrp="1"/>
          </p:cNvSpPr>
          <p:nvPr>
            <p:ph type="title"/>
          </p:nvPr>
        </p:nvSpPr>
        <p:spPr/>
        <p:txBody>
          <a:bodyPr/>
          <a:lstStyle/>
          <a:p>
            <a:r>
              <a:rPr lang="en-GB"/>
              <a:t>Easy to use, Intuitive User Interface</a:t>
            </a:r>
          </a:p>
        </p:txBody>
      </p:sp>
      <p:pic>
        <p:nvPicPr>
          <p:cNvPr id="7" name="Content Placeholder 6" descr="A screenshot of a computer&#10;&#10;AI-generated content may be incorrect.">
            <a:extLst>
              <a:ext uri="{FF2B5EF4-FFF2-40B4-BE49-F238E27FC236}">
                <a16:creationId xmlns:a16="http://schemas.microsoft.com/office/drawing/2014/main" id="{12405BBC-D7E5-51B5-5C41-4C59AE0467A1}"/>
              </a:ext>
            </a:extLst>
          </p:cNvPr>
          <p:cNvPicPr>
            <a:picLocks noGrp="1" noChangeAspect="1"/>
          </p:cNvPicPr>
          <p:nvPr>
            <p:ph idx="1"/>
          </p:nvPr>
        </p:nvPicPr>
        <p:blipFill rotWithShape="1">
          <a:blip r:embed="rId2"/>
          <a:srcRect t="10439" r="1950" b="7622"/>
          <a:stretch>
            <a:fillRect/>
          </a:stretch>
        </p:blipFill>
        <p:spPr bwMode="auto">
          <a:xfrm>
            <a:off x="622042" y="2038350"/>
            <a:ext cx="8814316" cy="4143375"/>
          </a:xfrm>
          <a:prstGeom prst="rect">
            <a:avLst/>
          </a:prstGeom>
          <a:ln>
            <a:noFill/>
          </a:ln>
          <a:extLst>
            <a:ext uri="{53640926-AAD7-44D8-BBD7-CCE9431645EC}">
              <a14:shadowObscured xmlns:a14="http://schemas.microsoft.com/office/drawing/2010/main"/>
            </a:ext>
          </a:extLst>
        </p:spPr>
      </p:pic>
      <p:sp>
        <p:nvSpPr>
          <p:cNvPr id="8" name="Speech Bubble: Rectangle with Corners Rounded 7">
            <a:extLst>
              <a:ext uri="{FF2B5EF4-FFF2-40B4-BE49-F238E27FC236}">
                <a16:creationId xmlns:a16="http://schemas.microsoft.com/office/drawing/2014/main" id="{5F26AFFC-C42C-2581-C3CE-C1EC024D9E20}"/>
              </a:ext>
            </a:extLst>
          </p:cNvPr>
          <p:cNvSpPr/>
          <p:nvPr/>
        </p:nvSpPr>
        <p:spPr>
          <a:xfrm>
            <a:off x="6245180" y="1214815"/>
            <a:ext cx="2587924" cy="667512"/>
          </a:xfrm>
          <a:prstGeom prst="wedgeRoundRectCallout">
            <a:avLst/>
          </a:prstGeom>
          <a:solidFill>
            <a:schemeClr val="accent3"/>
          </a:solidFill>
          <a:ln/>
        </p:spPr>
        <p:style>
          <a:lnRef idx="2">
            <a:schemeClr val="accent6">
              <a:shade val="15000"/>
            </a:schemeClr>
          </a:lnRef>
          <a:fillRef idx="1">
            <a:schemeClr val="accent6"/>
          </a:fillRef>
          <a:effectRef idx="0">
            <a:schemeClr val="accent6"/>
          </a:effectRef>
          <a:fontRef idx="minor">
            <a:schemeClr val="lt1"/>
          </a:fontRef>
        </p:style>
        <p:txBody>
          <a:bodyPr lIns="0" tIns="0" rIns="0" bIns="0" rtlCol="0" anchor="ctr"/>
          <a:lstStyle/>
          <a:p>
            <a:pPr algn="ctr"/>
            <a:r>
              <a:rPr lang="en-GB">
                <a:latin typeface="Roboto" panose="02000000000000000000" pitchFamily="2" charset="0"/>
                <a:ea typeface="Roboto" panose="02000000000000000000" pitchFamily="2" charset="0"/>
              </a:rPr>
              <a:t>One system, multiple workspaces.</a:t>
            </a:r>
          </a:p>
        </p:txBody>
      </p:sp>
      <p:sp>
        <p:nvSpPr>
          <p:cNvPr id="9" name="Speech Bubble: Rectangle with Corners Rounded 8">
            <a:extLst>
              <a:ext uri="{FF2B5EF4-FFF2-40B4-BE49-F238E27FC236}">
                <a16:creationId xmlns:a16="http://schemas.microsoft.com/office/drawing/2014/main" id="{A50F4426-6E89-04E9-F8D4-911F6334BF99}"/>
              </a:ext>
            </a:extLst>
          </p:cNvPr>
          <p:cNvSpPr/>
          <p:nvPr/>
        </p:nvSpPr>
        <p:spPr>
          <a:xfrm>
            <a:off x="2826589" y="1548571"/>
            <a:ext cx="2587924" cy="966590"/>
          </a:xfrm>
          <a:prstGeom prst="wedgeRoundRectCallout">
            <a:avLst/>
          </a:prstGeom>
          <a:solidFill>
            <a:schemeClr val="accent3"/>
          </a:solidFill>
          <a:ln/>
        </p:spPr>
        <p:style>
          <a:lnRef idx="2">
            <a:schemeClr val="accent6">
              <a:shade val="15000"/>
            </a:schemeClr>
          </a:lnRef>
          <a:fillRef idx="1">
            <a:schemeClr val="accent6"/>
          </a:fillRef>
          <a:effectRef idx="0">
            <a:schemeClr val="accent6"/>
          </a:effectRef>
          <a:fontRef idx="minor">
            <a:schemeClr val="lt1"/>
          </a:fontRef>
        </p:style>
        <p:txBody>
          <a:bodyPr lIns="0" tIns="0" rIns="0" bIns="0" rtlCol="0" anchor="ctr"/>
          <a:lstStyle/>
          <a:p>
            <a:pPr algn="ctr"/>
            <a:r>
              <a:rPr lang="en-GB">
                <a:latin typeface="Roboto" panose="02000000000000000000" pitchFamily="2" charset="0"/>
                <a:ea typeface="Roboto" panose="02000000000000000000" pitchFamily="2" charset="0"/>
              </a:rPr>
              <a:t>Visualise and download model results</a:t>
            </a:r>
          </a:p>
        </p:txBody>
      </p:sp>
    </p:spTree>
    <p:extLst>
      <p:ext uri="{BB962C8B-B14F-4D97-AF65-F5344CB8AC3E}">
        <p14:creationId xmlns:p14="http://schemas.microsoft.com/office/powerpoint/2010/main" val="2491004601"/>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1000"/>
                                        <p:tgtEl>
                                          <p:spTgt spid="9"/>
                                        </p:tgtEl>
                                      </p:cBhvr>
                                    </p:animEffect>
                                    <p:anim calcmode="lin" valueType="num">
                                      <p:cBhvr>
                                        <p:cTn id="15" dur="1000" fill="hold"/>
                                        <p:tgtEl>
                                          <p:spTgt spid="9"/>
                                        </p:tgtEl>
                                        <p:attrNameLst>
                                          <p:attrName>ppt_x</p:attrName>
                                        </p:attrNameLst>
                                      </p:cBhvr>
                                      <p:tavLst>
                                        <p:tav tm="0">
                                          <p:val>
                                            <p:strVal val="#ppt_x"/>
                                          </p:val>
                                        </p:tav>
                                        <p:tav tm="100000">
                                          <p:val>
                                            <p:strVal val="#ppt_x"/>
                                          </p:val>
                                        </p:tav>
                                      </p:tavLst>
                                    </p:anim>
                                    <p:anim calcmode="lin" valueType="num">
                                      <p:cBhvr>
                                        <p:cTn id="16"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14E47-9BBA-5A9F-DE35-B94D3FFAB8DF}"/>
              </a:ext>
            </a:extLst>
          </p:cNvPr>
          <p:cNvSpPr>
            <a:spLocks noGrp="1"/>
          </p:cNvSpPr>
          <p:nvPr>
            <p:ph type="title"/>
          </p:nvPr>
        </p:nvSpPr>
        <p:spPr>
          <a:xfrm>
            <a:off x="457200" y="731520"/>
            <a:ext cx="8375904" cy="667512"/>
          </a:xfrm>
        </p:spPr>
        <p:txBody>
          <a:bodyPr wrap="square" anchor="t">
            <a:normAutofit/>
          </a:bodyPr>
          <a:lstStyle/>
          <a:p>
            <a:r>
              <a:rPr lang="en-GB"/>
              <a:t>Working with Model Vendors</a:t>
            </a:r>
          </a:p>
        </p:txBody>
      </p:sp>
      <p:graphicFrame>
        <p:nvGraphicFramePr>
          <p:cNvPr id="15" name="Content Placeholder 2">
            <a:extLst>
              <a:ext uri="{FF2B5EF4-FFF2-40B4-BE49-F238E27FC236}">
                <a16:creationId xmlns:a16="http://schemas.microsoft.com/office/drawing/2014/main" id="{B5135012-C70A-55DF-284C-E46E90B1D8EE}"/>
              </a:ext>
            </a:extLst>
          </p:cNvPr>
          <p:cNvGraphicFramePr>
            <a:graphicFrameLocks noGrp="1"/>
          </p:cNvGraphicFramePr>
          <p:nvPr>
            <p:ph sz="quarter" idx="11"/>
          </p:nvPr>
        </p:nvGraphicFramePr>
        <p:xfrm>
          <a:off x="457200" y="2039112"/>
          <a:ext cx="9144000" cy="4144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9972180"/>
      </p:ext>
    </p:extLst>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F59183-720F-A9FC-0728-1A1580C6791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7598274-85A1-8D27-039C-9B7185C9C06C}"/>
              </a:ext>
            </a:extLst>
          </p:cNvPr>
          <p:cNvSpPr>
            <a:spLocks noGrp="1"/>
          </p:cNvSpPr>
          <p:nvPr>
            <p:ph type="title"/>
          </p:nvPr>
        </p:nvSpPr>
        <p:spPr>
          <a:xfrm>
            <a:off x="457200" y="731520"/>
            <a:ext cx="8375904" cy="667512"/>
          </a:xfrm>
        </p:spPr>
        <p:txBody>
          <a:bodyPr wrap="square" anchor="t">
            <a:normAutofit/>
          </a:bodyPr>
          <a:lstStyle/>
          <a:p>
            <a:r>
              <a:rPr lang="en-GB"/>
              <a:t>What Next for Model Exchange?</a:t>
            </a:r>
          </a:p>
        </p:txBody>
      </p:sp>
      <p:graphicFrame>
        <p:nvGraphicFramePr>
          <p:cNvPr id="7" name="Content Placeholder 2">
            <a:extLst>
              <a:ext uri="{FF2B5EF4-FFF2-40B4-BE49-F238E27FC236}">
                <a16:creationId xmlns:a16="http://schemas.microsoft.com/office/drawing/2014/main" id="{AE539116-062B-820F-5A53-DBA263C33AEE}"/>
              </a:ext>
            </a:extLst>
          </p:cNvPr>
          <p:cNvGraphicFramePr>
            <a:graphicFrameLocks noGrp="1"/>
          </p:cNvGraphicFramePr>
          <p:nvPr>
            <p:ph sz="quarter" idx="11"/>
          </p:nvPr>
        </p:nvGraphicFramePr>
        <p:xfrm>
          <a:off x="457200" y="2039112"/>
          <a:ext cx="9144000" cy="4144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81752654"/>
      </p:ext>
    </p:extLst>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20BAF4-9AD1-393F-DBDF-C9FC01B73085}"/>
              </a:ext>
            </a:extLst>
          </p:cNvPr>
          <p:cNvSpPr>
            <a:spLocks noGrp="1"/>
          </p:cNvSpPr>
          <p:nvPr>
            <p:ph type="title"/>
          </p:nvPr>
        </p:nvSpPr>
        <p:spPr/>
        <p:txBody>
          <a:bodyPr/>
          <a:lstStyle/>
          <a:p>
            <a:r>
              <a:rPr lang="en-US"/>
              <a:t>SCOR Cat Modelling workflow</a:t>
            </a:r>
            <a:endParaRPr lang="de-CH"/>
          </a:p>
        </p:txBody>
      </p:sp>
      <p:sp>
        <p:nvSpPr>
          <p:cNvPr id="3" name="Text Placeholder 2">
            <a:extLst>
              <a:ext uri="{FF2B5EF4-FFF2-40B4-BE49-F238E27FC236}">
                <a16:creationId xmlns:a16="http://schemas.microsoft.com/office/drawing/2014/main" id="{0134C39D-5D2D-65CB-54C4-512990FCB9CF}"/>
              </a:ext>
            </a:extLst>
          </p:cNvPr>
          <p:cNvSpPr>
            <a:spLocks noGrp="1"/>
          </p:cNvSpPr>
          <p:nvPr>
            <p:ph type="body" sz="quarter" idx="13"/>
          </p:nvPr>
        </p:nvSpPr>
        <p:spPr/>
        <p:txBody>
          <a:bodyPr/>
          <a:lstStyle/>
          <a:p>
            <a:r>
              <a:rPr lang="en-US"/>
              <a:t>Current and future vision</a:t>
            </a:r>
            <a:endParaRPr lang="de-CH"/>
          </a:p>
        </p:txBody>
      </p:sp>
      <p:sp>
        <p:nvSpPr>
          <p:cNvPr id="4" name="Text Placeholder 3">
            <a:extLst>
              <a:ext uri="{FF2B5EF4-FFF2-40B4-BE49-F238E27FC236}">
                <a16:creationId xmlns:a16="http://schemas.microsoft.com/office/drawing/2014/main" id="{02CFA38F-CFF5-A516-AB0D-FBAA9242304E}"/>
              </a:ext>
            </a:extLst>
          </p:cNvPr>
          <p:cNvSpPr>
            <a:spLocks noGrp="1"/>
          </p:cNvSpPr>
          <p:nvPr>
            <p:ph type="body" sz="quarter" idx="15"/>
          </p:nvPr>
        </p:nvSpPr>
        <p:spPr>
          <a:xfrm>
            <a:off x="4439816" y="6294467"/>
            <a:ext cx="6120678" cy="153888"/>
          </a:xfrm>
        </p:spPr>
        <p:txBody>
          <a:bodyPr/>
          <a:lstStyle/>
          <a:p>
            <a:endParaRPr lang="de-CH"/>
          </a:p>
        </p:txBody>
      </p:sp>
      <p:sp>
        <p:nvSpPr>
          <p:cNvPr id="5" name="Footer Placeholder 4">
            <a:extLst>
              <a:ext uri="{FF2B5EF4-FFF2-40B4-BE49-F238E27FC236}">
                <a16:creationId xmlns:a16="http://schemas.microsoft.com/office/drawing/2014/main" id="{841A1B80-32E0-7BAA-C964-533E5908FC28}"/>
              </a:ext>
            </a:extLst>
          </p:cNvPr>
          <p:cNvSpPr>
            <a:spLocks noGrp="1"/>
          </p:cNvSpPr>
          <p:nvPr>
            <p:ph type="ftr" sz="quarter" idx="16"/>
          </p:nvPr>
        </p:nvSpPr>
        <p:spPr/>
        <p:txBody>
          <a:bodyPr/>
          <a:lstStyle/>
          <a:p>
            <a:r>
              <a:rPr lang="fr-BE"/>
              <a:t>SCOR cat modeling future vision</a:t>
            </a:r>
          </a:p>
        </p:txBody>
      </p:sp>
      <p:sp>
        <p:nvSpPr>
          <p:cNvPr id="6" name="Slide Number Placeholder 5">
            <a:extLst>
              <a:ext uri="{FF2B5EF4-FFF2-40B4-BE49-F238E27FC236}">
                <a16:creationId xmlns:a16="http://schemas.microsoft.com/office/drawing/2014/main" id="{2CF8AC9D-692D-4A4F-D5E3-EDD40E4D355C}"/>
              </a:ext>
            </a:extLst>
          </p:cNvPr>
          <p:cNvSpPr>
            <a:spLocks noGrp="1"/>
          </p:cNvSpPr>
          <p:nvPr>
            <p:ph type="sldNum" sz="quarter" idx="17"/>
          </p:nvPr>
        </p:nvSpPr>
        <p:spPr/>
        <p:txBody>
          <a:bodyPr/>
          <a:lstStyle/>
          <a:p>
            <a:fld id="{820150FD-603F-44AF-ADBB-D2D9D0B3C68D}" type="slidenum">
              <a:rPr lang="fr-BE" smtClean="0"/>
              <a:pPr/>
              <a:t>2</a:t>
            </a:fld>
            <a:endParaRPr lang="fr-BE"/>
          </a:p>
        </p:txBody>
      </p:sp>
      <p:sp>
        <p:nvSpPr>
          <p:cNvPr id="588" name="TextBox 587">
            <a:extLst>
              <a:ext uri="{FF2B5EF4-FFF2-40B4-BE49-F238E27FC236}">
                <a16:creationId xmlns:a16="http://schemas.microsoft.com/office/drawing/2014/main" id="{56A90C8C-C3A1-FDDB-DEA5-7C601B585821}"/>
              </a:ext>
            </a:extLst>
          </p:cNvPr>
          <p:cNvSpPr txBox="1"/>
          <p:nvPr/>
        </p:nvSpPr>
        <p:spPr>
          <a:xfrm>
            <a:off x="414019" y="1625337"/>
            <a:ext cx="11077841" cy="1323439"/>
          </a:xfrm>
          <a:prstGeom prst="rect">
            <a:avLst/>
          </a:prstGeom>
          <a:noFill/>
        </p:spPr>
        <p:txBody>
          <a:bodyPr wrap="square">
            <a:spAutoFit/>
          </a:bodyPr>
          <a:lstStyle/>
          <a:p>
            <a:pPr marL="171450" indent="-171450">
              <a:spcAft>
                <a:spcPts val="600"/>
              </a:spcAft>
              <a:buFont typeface="Arial" panose="020B0604020202020204" pitchFamily="34" charset="0"/>
              <a:buChar char="•"/>
            </a:pPr>
            <a:r>
              <a:rPr lang="en-US" sz="1200"/>
              <a:t>Strategy development and deployment of small models where the large vendors do not have a model representation or models with suboptimal performance.</a:t>
            </a:r>
          </a:p>
          <a:p>
            <a:pPr marL="628650" lvl="1" indent="-171450">
              <a:spcAft>
                <a:spcPts val="600"/>
              </a:spcAft>
              <a:buFont typeface="Arial" panose="020B0604020202020204" pitchFamily="34" charset="0"/>
              <a:buChar char="•"/>
            </a:pPr>
            <a:r>
              <a:rPr lang="en-US" sz="1200" i="1"/>
              <a:t>Example: </a:t>
            </a:r>
            <a:r>
              <a:rPr lang="en-US" sz="1200"/>
              <a:t>SCOR in-house Oasis platform and California Wildfire model. </a:t>
            </a:r>
          </a:p>
          <a:p>
            <a:pPr marL="171450" indent="-171450">
              <a:spcAft>
                <a:spcPts val="600"/>
              </a:spcAft>
              <a:buFont typeface="Arial" panose="020B0604020202020204" pitchFamily="34" charset="0"/>
              <a:buChar char="•"/>
            </a:pPr>
            <a:r>
              <a:rPr lang="en-US" sz="1200"/>
              <a:t>The current SCOR cat modeling workflow for Oasis models is manual, time consuming, and resource intensive.</a:t>
            </a:r>
          </a:p>
          <a:p>
            <a:pPr marL="171450" indent="-171450">
              <a:spcAft>
                <a:spcPts val="600"/>
              </a:spcAft>
              <a:buFont typeface="Arial" panose="020B0604020202020204" pitchFamily="34" charset="0"/>
              <a:buChar char="•"/>
            </a:pPr>
            <a:r>
              <a:rPr lang="en-US" sz="1200"/>
              <a:t>The goal is to </a:t>
            </a:r>
            <a:r>
              <a:rPr lang="en-GB" sz="1200"/>
              <a:t>leverage automated API workflows through a Central Exposure Repository and a Model Execution tool.</a:t>
            </a:r>
            <a:endParaRPr lang="en-US" sz="1200"/>
          </a:p>
          <a:p>
            <a:pPr marL="171450" indent="-171450">
              <a:spcAft>
                <a:spcPts val="600"/>
              </a:spcAft>
              <a:buFont typeface="Arial" panose="020B0604020202020204" pitchFamily="34" charset="0"/>
              <a:buChar char="•"/>
            </a:pPr>
            <a:r>
              <a:rPr lang="en-US" sz="1200"/>
              <a:t>The future vision will enable aligned automated processes and analytics for both Oasis and Vendor Catastrophe modelling.</a:t>
            </a:r>
          </a:p>
        </p:txBody>
      </p:sp>
      <p:grpSp>
        <p:nvGrpSpPr>
          <p:cNvPr id="649" name="Group 648">
            <a:extLst>
              <a:ext uri="{FF2B5EF4-FFF2-40B4-BE49-F238E27FC236}">
                <a16:creationId xmlns:a16="http://schemas.microsoft.com/office/drawing/2014/main" id="{42E23E0F-8846-7C93-433F-3D13D9E47325}"/>
              </a:ext>
            </a:extLst>
          </p:cNvPr>
          <p:cNvGrpSpPr/>
          <p:nvPr/>
        </p:nvGrpSpPr>
        <p:grpSpPr>
          <a:xfrm>
            <a:off x="191110" y="3322363"/>
            <a:ext cx="11809778" cy="2493825"/>
            <a:chOff x="262886" y="3788173"/>
            <a:chExt cx="11809778" cy="2493825"/>
          </a:xfrm>
        </p:grpSpPr>
        <p:sp>
          <p:nvSpPr>
            <p:cNvPr id="631" name="Rectangle 630">
              <a:extLst>
                <a:ext uri="{FF2B5EF4-FFF2-40B4-BE49-F238E27FC236}">
                  <a16:creationId xmlns:a16="http://schemas.microsoft.com/office/drawing/2014/main" id="{9166CCAE-FE38-A94F-55C3-55D435E021A9}"/>
                </a:ext>
              </a:extLst>
            </p:cNvPr>
            <p:cNvSpPr/>
            <p:nvPr/>
          </p:nvSpPr>
          <p:spPr>
            <a:xfrm>
              <a:off x="263352" y="4005063"/>
              <a:ext cx="11809312" cy="2276935"/>
            </a:xfrm>
            <a:prstGeom prst="rect">
              <a:avLst/>
            </a:prstGeom>
            <a:solidFill>
              <a:schemeClr val="bg1">
                <a:lumMod val="8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sp>
          <p:nvSpPr>
            <p:cNvPr id="402" name="Rectangle: Rounded Corners 401">
              <a:extLst>
                <a:ext uri="{FF2B5EF4-FFF2-40B4-BE49-F238E27FC236}">
                  <a16:creationId xmlns:a16="http://schemas.microsoft.com/office/drawing/2014/main" id="{9F53901B-E594-3C19-E71C-CD3B7AF8AB56}"/>
                </a:ext>
              </a:extLst>
            </p:cNvPr>
            <p:cNvSpPr/>
            <p:nvPr/>
          </p:nvSpPr>
          <p:spPr>
            <a:xfrm>
              <a:off x="5326638" y="4190154"/>
              <a:ext cx="898856" cy="468000"/>
            </a:xfrm>
            <a:prstGeom prst="roundRect">
              <a:avLst/>
            </a:prstGeom>
            <a:solidFill>
              <a:srgbClr val="C00000"/>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Connect to SCOR Oasis Server</a:t>
              </a:r>
            </a:p>
          </p:txBody>
        </p:sp>
        <p:sp>
          <p:nvSpPr>
            <p:cNvPr id="489" name="Rectangle: Rounded Corners 488">
              <a:extLst>
                <a:ext uri="{FF2B5EF4-FFF2-40B4-BE49-F238E27FC236}">
                  <a16:creationId xmlns:a16="http://schemas.microsoft.com/office/drawing/2014/main" id="{B7626042-A83B-904E-3B53-D2F106A81474}"/>
                </a:ext>
              </a:extLst>
            </p:cNvPr>
            <p:cNvSpPr/>
            <p:nvPr/>
          </p:nvSpPr>
          <p:spPr>
            <a:xfrm>
              <a:off x="996717" y="5049084"/>
              <a:ext cx="898856" cy="468000"/>
            </a:xfrm>
            <a:prstGeom prst="roundRect">
              <a:avLst/>
            </a:prstGeom>
            <a:solidFill>
              <a:schemeClr val="tx2"/>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Client Data provided to SCOR</a:t>
              </a:r>
            </a:p>
          </p:txBody>
        </p:sp>
        <p:sp>
          <p:nvSpPr>
            <p:cNvPr id="490" name="Rectangle: Rounded Corners 489">
              <a:extLst>
                <a:ext uri="{FF2B5EF4-FFF2-40B4-BE49-F238E27FC236}">
                  <a16:creationId xmlns:a16="http://schemas.microsoft.com/office/drawing/2014/main" id="{216312B1-FFD0-3347-7A05-552BFE911C3F}"/>
                </a:ext>
              </a:extLst>
            </p:cNvPr>
            <p:cNvSpPr/>
            <p:nvPr/>
          </p:nvSpPr>
          <p:spPr>
            <a:xfrm>
              <a:off x="2064349" y="5049084"/>
              <a:ext cx="898856" cy="468000"/>
            </a:xfrm>
            <a:prstGeom prst="roundRect">
              <a:avLst/>
            </a:prstGeom>
            <a:solidFill>
              <a:schemeClr val="tx2"/>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 Perils</a:t>
              </a:r>
            </a:p>
          </p:txBody>
        </p:sp>
        <p:sp>
          <p:nvSpPr>
            <p:cNvPr id="491" name="Rectangle: Rounded Corners 490">
              <a:extLst>
                <a:ext uri="{FF2B5EF4-FFF2-40B4-BE49-F238E27FC236}">
                  <a16:creationId xmlns:a16="http://schemas.microsoft.com/office/drawing/2014/main" id="{6BAD01E5-B80E-F20E-BAC5-F64E82ABC1A9}"/>
                </a:ext>
              </a:extLst>
            </p:cNvPr>
            <p:cNvSpPr/>
            <p:nvPr/>
          </p:nvSpPr>
          <p:spPr>
            <a:xfrm>
              <a:off x="3144567" y="5049084"/>
              <a:ext cx="898856" cy="468000"/>
            </a:xfrm>
            <a:prstGeom prst="roundRect">
              <a:avLst/>
            </a:prstGeom>
            <a:solidFill>
              <a:schemeClr val="tx2"/>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Data Auto manipulated</a:t>
              </a:r>
            </a:p>
          </p:txBody>
        </p:sp>
        <p:sp>
          <p:nvSpPr>
            <p:cNvPr id="492" name="Rectangle: Rounded Corners 491">
              <a:extLst>
                <a:ext uri="{FF2B5EF4-FFF2-40B4-BE49-F238E27FC236}">
                  <a16:creationId xmlns:a16="http://schemas.microsoft.com/office/drawing/2014/main" id="{B01A5911-F13F-1768-CDE6-F2F5BCF61192}"/>
                </a:ext>
              </a:extLst>
            </p:cNvPr>
            <p:cNvSpPr/>
            <p:nvPr/>
          </p:nvSpPr>
          <p:spPr>
            <a:xfrm>
              <a:off x="5326637" y="5049232"/>
              <a:ext cx="898856" cy="468000"/>
            </a:xfrm>
            <a:prstGeom prst="roundRect">
              <a:avLst/>
            </a:prstGeom>
            <a:solidFill>
              <a:schemeClr val="tx2"/>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Central Exposure Repository</a:t>
              </a:r>
            </a:p>
          </p:txBody>
        </p:sp>
        <p:sp>
          <p:nvSpPr>
            <p:cNvPr id="493" name="Rectangle: Rounded Corners 492">
              <a:extLst>
                <a:ext uri="{FF2B5EF4-FFF2-40B4-BE49-F238E27FC236}">
                  <a16:creationId xmlns:a16="http://schemas.microsoft.com/office/drawing/2014/main" id="{422FD09D-3640-DB20-81A3-A5F13CF64B1F}"/>
                </a:ext>
              </a:extLst>
            </p:cNvPr>
            <p:cNvSpPr/>
            <p:nvPr/>
          </p:nvSpPr>
          <p:spPr>
            <a:xfrm>
              <a:off x="6460003" y="5049232"/>
              <a:ext cx="898856" cy="468000"/>
            </a:xfrm>
            <a:prstGeom prst="roundRect">
              <a:avLst/>
            </a:prstGeom>
            <a:solidFill>
              <a:schemeClr val="tx2"/>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Model Execution</a:t>
              </a:r>
            </a:p>
          </p:txBody>
        </p:sp>
        <p:sp>
          <p:nvSpPr>
            <p:cNvPr id="494" name="Rectangle: Rounded Corners 493">
              <a:extLst>
                <a:ext uri="{FF2B5EF4-FFF2-40B4-BE49-F238E27FC236}">
                  <a16:creationId xmlns:a16="http://schemas.microsoft.com/office/drawing/2014/main" id="{C14EBE7F-829F-B173-2F7E-7E1E292CD109}"/>
                </a:ext>
              </a:extLst>
            </p:cNvPr>
            <p:cNvSpPr/>
            <p:nvPr/>
          </p:nvSpPr>
          <p:spPr>
            <a:xfrm>
              <a:off x="4229257" y="5049084"/>
              <a:ext cx="898856" cy="468000"/>
            </a:xfrm>
            <a:prstGeom prst="roundRect">
              <a:avLst/>
            </a:prstGeom>
            <a:solidFill>
              <a:schemeClr val="tx2"/>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Augment, Enrich &amp; Enhance</a:t>
              </a:r>
            </a:p>
          </p:txBody>
        </p:sp>
        <p:cxnSp>
          <p:nvCxnSpPr>
            <p:cNvPr id="495" name="Straight Arrow Connector 494">
              <a:extLst>
                <a:ext uri="{FF2B5EF4-FFF2-40B4-BE49-F238E27FC236}">
                  <a16:creationId xmlns:a16="http://schemas.microsoft.com/office/drawing/2014/main" id="{F73E1A4F-D701-0A17-C027-6B6D3C7A0F50}"/>
                </a:ext>
              </a:extLst>
            </p:cNvPr>
            <p:cNvCxnSpPr>
              <a:cxnSpLocks/>
              <a:stCxn id="489" idx="3"/>
              <a:endCxn id="490" idx="1"/>
            </p:cNvCxnSpPr>
            <p:nvPr/>
          </p:nvCxnSpPr>
          <p:spPr>
            <a:xfrm>
              <a:off x="1895573" y="5283084"/>
              <a:ext cx="168776" cy="0"/>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6" name="Straight Arrow Connector 495">
              <a:extLst>
                <a:ext uri="{FF2B5EF4-FFF2-40B4-BE49-F238E27FC236}">
                  <a16:creationId xmlns:a16="http://schemas.microsoft.com/office/drawing/2014/main" id="{478FF3AA-14AC-0AEF-AA8A-D2963050E9C0}"/>
                </a:ext>
              </a:extLst>
            </p:cNvPr>
            <p:cNvCxnSpPr>
              <a:cxnSpLocks/>
              <a:stCxn id="490" idx="3"/>
              <a:endCxn id="491" idx="1"/>
            </p:cNvCxnSpPr>
            <p:nvPr/>
          </p:nvCxnSpPr>
          <p:spPr>
            <a:xfrm>
              <a:off x="2963205" y="5283084"/>
              <a:ext cx="181362" cy="0"/>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7" name="Straight Arrow Connector 496">
              <a:extLst>
                <a:ext uri="{FF2B5EF4-FFF2-40B4-BE49-F238E27FC236}">
                  <a16:creationId xmlns:a16="http://schemas.microsoft.com/office/drawing/2014/main" id="{03C98714-77D9-0FB4-F819-A1F8AF9F563A}"/>
                </a:ext>
              </a:extLst>
            </p:cNvPr>
            <p:cNvCxnSpPr>
              <a:cxnSpLocks/>
              <a:stCxn id="491" idx="3"/>
              <a:endCxn id="494" idx="1"/>
            </p:cNvCxnSpPr>
            <p:nvPr/>
          </p:nvCxnSpPr>
          <p:spPr>
            <a:xfrm>
              <a:off x="4043423" y="5283084"/>
              <a:ext cx="185834" cy="0"/>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98" name="Straight Arrow Connector 497">
              <a:extLst>
                <a:ext uri="{FF2B5EF4-FFF2-40B4-BE49-F238E27FC236}">
                  <a16:creationId xmlns:a16="http://schemas.microsoft.com/office/drawing/2014/main" id="{9862F391-724D-B016-CFF7-FA868063A076}"/>
                </a:ext>
              </a:extLst>
            </p:cNvPr>
            <p:cNvCxnSpPr>
              <a:cxnSpLocks/>
              <a:stCxn id="494" idx="3"/>
              <a:endCxn id="492" idx="1"/>
            </p:cNvCxnSpPr>
            <p:nvPr/>
          </p:nvCxnSpPr>
          <p:spPr>
            <a:xfrm>
              <a:off x="5128113" y="5283084"/>
              <a:ext cx="198524" cy="148"/>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03" name="Rectangle: Rounded Corners 502">
              <a:extLst>
                <a:ext uri="{FF2B5EF4-FFF2-40B4-BE49-F238E27FC236}">
                  <a16:creationId xmlns:a16="http://schemas.microsoft.com/office/drawing/2014/main" id="{7009CB0F-120F-3AA0-1A55-9EB5868F51FD}"/>
                </a:ext>
              </a:extLst>
            </p:cNvPr>
            <p:cNvSpPr/>
            <p:nvPr/>
          </p:nvSpPr>
          <p:spPr>
            <a:xfrm>
              <a:off x="4229257" y="4190154"/>
              <a:ext cx="900000" cy="468000"/>
            </a:xfrm>
            <a:prstGeom prst="roundRect">
              <a:avLst/>
            </a:prstGeom>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Manual Data Review</a:t>
              </a:r>
            </a:p>
          </p:txBody>
        </p:sp>
        <p:sp>
          <p:nvSpPr>
            <p:cNvPr id="507" name="Rectangle: Rounded Corners 506">
              <a:extLst>
                <a:ext uri="{FF2B5EF4-FFF2-40B4-BE49-F238E27FC236}">
                  <a16:creationId xmlns:a16="http://schemas.microsoft.com/office/drawing/2014/main" id="{BEBA0F44-73F1-87BF-3CD4-C04C3E51E896}"/>
                </a:ext>
              </a:extLst>
            </p:cNvPr>
            <p:cNvSpPr/>
            <p:nvPr/>
          </p:nvSpPr>
          <p:spPr>
            <a:xfrm>
              <a:off x="9804720" y="5047554"/>
              <a:ext cx="898856" cy="468000"/>
            </a:xfrm>
            <a:prstGeom prst="roundRect">
              <a:avLst/>
            </a:prstGeom>
            <a:solidFill>
              <a:schemeClr val="tx2"/>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SCOR Data Platform</a:t>
              </a:r>
            </a:p>
          </p:txBody>
        </p:sp>
        <p:sp>
          <p:nvSpPr>
            <p:cNvPr id="508" name="Rectangle: Rounded Corners 507">
              <a:extLst>
                <a:ext uri="{FF2B5EF4-FFF2-40B4-BE49-F238E27FC236}">
                  <a16:creationId xmlns:a16="http://schemas.microsoft.com/office/drawing/2014/main" id="{6BCECAED-AB75-EADF-8D63-ED0ADE7C7C29}"/>
                </a:ext>
              </a:extLst>
            </p:cNvPr>
            <p:cNvSpPr/>
            <p:nvPr/>
          </p:nvSpPr>
          <p:spPr>
            <a:xfrm>
              <a:off x="8607853" y="5047554"/>
              <a:ext cx="900000" cy="468000"/>
            </a:xfrm>
            <a:prstGeom prst="roundRect">
              <a:avLst/>
            </a:prstGeom>
            <a:solidFill>
              <a:schemeClr val="tx2"/>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err="1"/>
                <a:t>RiskReveal</a:t>
              </a:r>
              <a:r>
                <a:rPr lang="en-GB" sz="900"/>
                <a:t> (</a:t>
              </a:r>
              <a:r>
                <a:rPr lang="en-GB" sz="900" err="1"/>
                <a:t>Scor</a:t>
              </a:r>
              <a:r>
                <a:rPr lang="en-GB" sz="900"/>
                <a:t> </a:t>
              </a:r>
              <a:r>
                <a:rPr lang="en-GB" sz="900" err="1"/>
                <a:t>VoR</a:t>
              </a:r>
              <a:r>
                <a:rPr lang="en-GB" sz="900"/>
                <a:t>)</a:t>
              </a:r>
            </a:p>
          </p:txBody>
        </p:sp>
        <p:cxnSp>
          <p:nvCxnSpPr>
            <p:cNvPr id="511" name="Straight Arrow Connector 510">
              <a:extLst>
                <a:ext uri="{FF2B5EF4-FFF2-40B4-BE49-F238E27FC236}">
                  <a16:creationId xmlns:a16="http://schemas.microsoft.com/office/drawing/2014/main" id="{B1162559-2F5F-BB02-F406-9F0D4E3D0191}"/>
                </a:ext>
              </a:extLst>
            </p:cNvPr>
            <p:cNvCxnSpPr>
              <a:cxnSpLocks/>
              <a:stCxn id="493" idx="3"/>
              <a:endCxn id="508" idx="1"/>
            </p:cNvCxnSpPr>
            <p:nvPr/>
          </p:nvCxnSpPr>
          <p:spPr>
            <a:xfrm flipV="1">
              <a:off x="7358859" y="5281554"/>
              <a:ext cx="1248994" cy="1678"/>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69" name="Rectangle: Rounded Corners 568">
              <a:extLst>
                <a:ext uri="{FF2B5EF4-FFF2-40B4-BE49-F238E27FC236}">
                  <a16:creationId xmlns:a16="http://schemas.microsoft.com/office/drawing/2014/main" id="{4C77C910-80C6-6040-37FC-5BA11DF84E35}"/>
                </a:ext>
              </a:extLst>
            </p:cNvPr>
            <p:cNvSpPr/>
            <p:nvPr/>
          </p:nvSpPr>
          <p:spPr>
            <a:xfrm>
              <a:off x="10892356" y="5047554"/>
              <a:ext cx="898856" cy="468000"/>
            </a:xfrm>
            <a:prstGeom prst="roundRect">
              <a:avLst/>
            </a:prstGeom>
            <a:solidFill>
              <a:schemeClr val="tx2"/>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Utilise Internally</a:t>
              </a:r>
            </a:p>
          </p:txBody>
        </p:sp>
        <p:cxnSp>
          <p:nvCxnSpPr>
            <p:cNvPr id="570" name="Straight Arrow Connector 569">
              <a:extLst>
                <a:ext uri="{FF2B5EF4-FFF2-40B4-BE49-F238E27FC236}">
                  <a16:creationId xmlns:a16="http://schemas.microsoft.com/office/drawing/2014/main" id="{42C72D2E-85BC-406A-88E6-EDDEE945015E}"/>
                </a:ext>
              </a:extLst>
            </p:cNvPr>
            <p:cNvCxnSpPr>
              <a:cxnSpLocks/>
              <a:stCxn id="507" idx="3"/>
              <a:endCxn id="569" idx="1"/>
            </p:cNvCxnSpPr>
            <p:nvPr/>
          </p:nvCxnSpPr>
          <p:spPr>
            <a:xfrm>
              <a:off x="10703576" y="5281554"/>
              <a:ext cx="188780" cy="0"/>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76" name="Rectangle: Rounded Corners 575">
              <a:extLst>
                <a:ext uri="{FF2B5EF4-FFF2-40B4-BE49-F238E27FC236}">
                  <a16:creationId xmlns:a16="http://schemas.microsoft.com/office/drawing/2014/main" id="{2727E731-302A-32D1-A168-485EC92AFAD3}"/>
                </a:ext>
              </a:extLst>
            </p:cNvPr>
            <p:cNvSpPr/>
            <p:nvPr/>
          </p:nvSpPr>
          <p:spPr>
            <a:xfrm>
              <a:off x="996717" y="4190154"/>
              <a:ext cx="898856" cy="468000"/>
            </a:xfrm>
            <a:prstGeom prst="roundRect">
              <a:avLst/>
            </a:prstGeom>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Client Data provided to SCOR</a:t>
              </a:r>
            </a:p>
          </p:txBody>
        </p:sp>
        <p:sp>
          <p:nvSpPr>
            <p:cNvPr id="577" name="Rectangle: Rounded Corners 576">
              <a:extLst>
                <a:ext uri="{FF2B5EF4-FFF2-40B4-BE49-F238E27FC236}">
                  <a16:creationId xmlns:a16="http://schemas.microsoft.com/office/drawing/2014/main" id="{94C8EEC7-FA55-6FCD-11C7-11A6D9A5B8C5}"/>
                </a:ext>
              </a:extLst>
            </p:cNvPr>
            <p:cNvSpPr/>
            <p:nvPr/>
          </p:nvSpPr>
          <p:spPr>
            <a:xfrm>
              <a:off x="3144567" y="4190154"/>
              <a:ext cx="929289" cy="468000"/>
            </a:xfrm>
            <a:prstGeom prst="roundRect">
              <a:avLst/>
            </a:prstGeom>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Manual Data Manipulation (SQL scripts)</a:t>
              </a:r>
            </a:p>
          </p:txBody>
        </p:sp>
        <p:sp>
          <p:nvSpPr>
            <p:cNvPr id="579" name="Rectangle: Rounded Corners 578">
              <a:extLst>
                <a:ext uri="{FF2B5EF4-FFF2-40B4-BE49-F238E27FC236}">
                  <a16:creationId xmlns:a16="http://schemas.microsoft.com/office/drawing/2014/main" id="{C240B5A9-0891-D098-2673-23CC629DE320}"/>
                </a:ext>
              </a:extLst>
            </p:cNvPr>
            <p:cNvSpPr/>
            <p:nvPr/>
          </p:nvSpPr>
          <p:spPr>
            <a:xfrm>
              <a:off x="2064349" y="4190154"/>
              <a:ext cx="898856" cy="468000"/>
            </a:xfrm>
            <a:prstGeom prst="roundRect">
              <a:avLst/>
            </a:prstGeom>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California Wildfire</a:t>
              </a:r>
            </a:p>
          </p:txBody>
        </p:sp>
        <p:sp>
          <p:nvSpPr>
            <p:cNvPr id="580" name="Rectangle: Rounded Corners 579">
              <a:extLst>
                <a:ext uri="{FF2B5EF4-FFF2-40B4-BE49-F238E27FC236}">
                  <a16:creationId xmlns:a16="http://schemas.microsoft.com/office/drawing/2014/main" id="{75FD7D18-5F7F-0449-AE96-DDC149EBBDAD}"/>
                </a:ext>
              </a:extLst>
            </p:cNvPr>
            <p:cNvSpPr/>
            <p:nvPr/>
          </p:nvSpPr>
          <p:spPr>
            <a:xfrm>
              <a:off x="6406855" y="4190154"/>
              <a:ext cx="946283" cy="468000"/>
            </a:xfrm>
            <a:prstGeom prst="roundRect">
              <a:avLst/>
            </a:prstGeom>
            <a:solidFill>
              <a:srgbClr val="C00000"/>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SCOR Wildfire Model</a:t>
              </a:r>
            </a:p>
          </p:txBody>
        </p:sp>
        <p:sp>
          <p:nvSpPr>
            <p:cNvPr id="582" name="Rectangle: Rounded Corners 581">
              <a:extLst>
                <a:ext uri="{FF2B5EF4-FFF2-40B4-BE49-F238E27FC236}">
                  <a16:creationId xmlns:a16="http://schemas.microsoft.com/office/drawing/2014/main" id="{ED377250-6B71-E8A7-9874-3004758DF4F6}"/>
                </a:ext>
              </a:extLst>
            </p:cNvPr>
            <p:cNvSpPr/>
            <p:nvPr/>
          </p:nvSpPr>
          <p:spPr>
            <a:xfrm>
              <a:off x="7465047" y="4190154"/>
              <a:ext cx="946283" cy="468000"/>
            </a:xfrm>
            <a:prstGeom prst="roundRect">
              <a:avLst/>
            </a:prstGeom>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Manually Extract Output </a:t>
              </a:r>
            </a:p>
          </p:txBody>
        </p:sp>
        <p:sp>
          <p:nvSpPr>
            <p:cNvPr id="583" name="Rectangle: Rounded Corners 582">
              <a:extLst>
                <a:ext uri="{FF2B5EF4-FFF2-40B4-BE49-F238E27FC236}">
                  <a16:creationId xmlns:a16="http://schemas.microsoft.com/office/drawing/2014/main" id="{7DBB272A-953C-EB64-0895-5F38F643A7BE}"/>
                </a:ext>
              </a:extLst>
            </p:cNvPr>
            <p:cNvSpPr/>
            <p:nvPr/>
          </p:nvSpPr>
          <p:spPr>
            <a:xfrm>
              <a:off x="9804720" y="4190154"/>
              <a:ext cx="898856" cy="468000"/>
            </a:xfrm>
            <a:prstGeom prst="roundRect">
              <a:avLst/>
            </a:prstGeom>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SCOR Data Platform</a:t>
              </a:r>
            </a:p>
          </p:txBody>
        </p:sp>
        <p:sp>
          <p:nvSpPr>
            <p:cNvPr id="584" name="Rectangle: Rounded Corners 583">
              <a:extLst>
                <a:ext uri="{FF2B5EF4-FFF2-40B4-BE49-F238E27FC236}">
                  <a16:creationId xmlns:a16="http://schemas.microsoft.com/office/drawing/2014/main" id="{15F89897-FEBC-BC82-A7ED-628D556006E8}"/>
                </a:ext>
              </a:extLst>
            </p:cNvPr>
            <p:cNvSpPr/>
            <p:nvPr/>
          </p:nvSpPr>
          <p:spPr>
            <a:xfrm>
              <a:off x="8607853" y="4190154"/>
              <a:ext cx="900000" cy="468000"/>
            </a:xfrm>
            <a:prstGeom prst="roundRect">
              <a:avLst/>
            </a:prstGeom>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err="1"/>
                <a:t>RiskReveal</a:t>
              </a:r>
              <a:r>
                <a:rPr lang="en-GB" sz="900"/>
                <a:t> (</a:t>
              </a:r>
              <a:r>
                <a:rPr lang="en-GB" sz="900" err="1"/>
                <a:t>Scor</a:t>
              </a:r>
              <a:r>
                <a:rPr lang="en-GB" sz="900"/>
                <a:t> </a:t>
              </a:r>
              <a:r>
                <a:rPr lang="en-GB" sz="900" err="1"/>
                <a:t>VoR</a:t>
              </a:r>
              <a:r>
                <a:rPr lang="en-GB" sz="900"/>
                <a:t>)</a:t>
              </a:r>
            </a:p>
          </p:txBody>
        </p:sp>
        <p:sp>
          <p:nvSpPr>
            <p:cNvPr id="585" name="Rectangle: Rounded Corners 584">
              <a:extLst>
                <a:ext uri="{FF2B5EF4-FFF2-40B4-BE49-F238E27FC236}">
                  <a16:creationId xmlns:a16="http://schemas.microsoft.com/office/drawing/2014/main" id="{D6AFF84F-3F8D-B2C3-DDA2-100B2AEE01F1}"/>
                </a:ext>
              </a:extLst>
            </p:cNvPr>
            <p:cNvSpPr/>
            <p:nvPr/>
          </p:nvSpPr>
          <p:spPr>
            <a:xfrm>
              <a:off x="10892356" y="4190154"/>
              <a:ext cx="898856" cy="468000"/>
            </a:xfrm>
            <a:prstGeom prst="roundRect">
              <a:avLst/>
            </a:prstGeom>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Utilise Internally</a:t>
              </a:r>
            </a:p>
          </p:txBody>
        </p:sp>
        <p:cxnSp>
          <p:nvCxnSpPr>
            <p:cNvPr id="590" name="Straight Arrow Connector 589">
              <a:extLst>
                <a:ext uri="{FF2B5EF4-FFF2-40B4-BE49-F238E27FC236}">
                  <a16:creationId xmlns:a16="http://schemas.microsoft.com/office/drawing/2014/main" id="{0F36EE7B-8AFE-A92D-C1D8-0AEA25CC3CF4}"/>
                </a:ext>
              </a:extLst>
            </p:cNvPr>
            <p:cNvCxnSpPr>
              <a:cxnSpLocks/>
              <a:stCxn id="492" idx="3"/>
              <a:endCxn id="493" idx="1"/>
            </p:cNvCxnSpPr>
            <p:nvPr/>
          </p:nvCxnSpPr>
          <p:spPr>
            <a:xfrm>
              <a:off x="6225493" y="5283232"/>
              <a:ext cx="234510" cy="0"/>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97" name="Straight Arrow Connector 596">
              <a:extLst>
                <a:ext uri="{FF2B5EF4-FFF2-40B4-BE49-F238E27FC236}">
                  <a16:creationId xmlns:a16="http://schemas.microsoft.com/office/drawing/2014/main" id="{0D45176E-0C95-E52F-4B20-7CADBEE55FEF}"/>
                </a:ext>
              </a:extLst>
            </p:cNvPr>
            <p:cNvCxnSpPr>
              <a:cxnSpLocks/>
              <a:stCxn id="508" idx="3"/>
              <a:endCxn id="507" idx="1"/>
            </p:cNvCxnSpPr>
            <p:nvPr/>
          </p:nvCxnSpPr>
          <p:spPr>
            <a:xfrm>
              <a:off x="9507853" y="5281554"/>
              <a:ext cx="296867" cy="0"/>
            </a:xfrm>
            <a:prstGeom prst="straightConnector1">
              <a:avLst/>
            </a:prstGeom>
            <a:ln w="25400">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1" name="Straight Arrow Connector 600">
              <a:extLst>
                <a:ext uri="{FF2B5EF4-FFF2-40B4-BE49-F238E27FC236}">
                  <a16:creationId xmlns:a16="http://schemas.microsoft.com/office/drawing/2014/main" id="{C448F757-D2E6-F8F0-B4D2-BBF98E7115C6}"/>
                </a:ext>
              </a:extLst>
            </p:cNvPr>
            <p:cNvCxnSpPr>
              <a:cxnSpLocks/>
              <a:stCxn id="576" idx="3"/>
              <a:endCxn id="579" idx="1"/>
            </p:cNvCxnSpPr>
            <p:nvPr/>
          </p:nvCxnSpPr>
          <p:spPr>
            <a:xfrm>
              <a:off x="1895573" y="4424154"/>
              <a:ext cx="168776"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02" name="Straight Arrow Connector 601">
              <a:extLst>
                <a:ext uri="{FF2B5EF4-FFF2-40B4-BE49-F238E27FC236}">
                  <a16:creationId xmlns:a16="http://schemas.microsoft.com/office/drawing/2014/main" id="{5A52EEFB-EED4-B43A-781B-9BB4068FE512}"/>
                </a:ext>
              </a:extLst>
            </p:cNvPr>
            <p:cNvCxnSpPr>
              <a:cxnSpLocks/>
              <a:stCxn id="579" idx="3"/>
              <a:endCxn id="577" idx="1"/>
            </p:cNvCxnSpPr>
            <p:nvPr/>
          </p:nvCxnSpPr>
          <p:spPr>
            <a:xfrm>
              <a:off x="2963205" y="4424154"/>
              <a:ext cx="181362"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03" name="Straight Arrow Connector 602">
              <a:extLst>
                <a:ext uri="{FF2B5EF4-FFF2-40B4-BE49-F238E27FC236}">
                  <a16:creationId xmlns:a16="http://schemas.microsoft.com/office/drawing/2014/main" id="{0D705CEA-C2E3-758F-72E7-C1ABA890A9CF}"/>
                </a:ext>
              </a:extLst>
            </p:cNvPr>
            <p:cNvCxnSpPr>
              <a:cxnSpLocks/>
              <a:stCxn id="577" idx="3"/>
              <a:endCxn id="503" idx="1"/>
            </p:cNvCxnSpPr>
            <p:nvPr/>
          </p:nvCxnSpPr>
          <p:spPr>
            <a:xfrm>
              <a:off x="4073856" y="4424154"/>
              <a:ext cx="155401"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04" name="Straight Arrow Connector 603">
              <a:extLst>
                <a:ext uri="{FF2B5EF4-FFF2-40B4-BE49-F238E27FC236}">
                  <a16:creationId xmlns:a16="http://schemas.microsoft.com/office/drawing/2014/main" id="{8D14A191-D738-B4EF-0938-55D396FD33FC}"/>
                </a:ext>
              </a:extLst>
            </p:cNvPr>
            <p:cNvCxnSpPr>
              <a:cxnSpLocks/>
              <a:stCxn id="503" idx="3"/>
              <a:endCxn id="402" idx="1"/>
            </p:cNvCxnSpPr>
            <p:nvPr/>
          </p:nvCxnSpPr>
          <p:spPr>
            <a:xfrm>
              <a:off x="5129257" y="4424154"/>
              <a:ext cx="197381"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05" name="Straight Arrow Connector 604">
              <a:extLst>
                <a:ext uri="{FF2B5EF4-FFF2-40B4-BE49-F238E27FC236}">
                  <a16:creationId xmlns:a16="http://schemas.microsoft.com/office/drawing/2014/main" id="{0234EE06-A150-F1A2-083E-E062958D8DB3}"/>
                </a:ext>
              </a:extLst>
            </p:cNvPr>
            <p:cNvCxnSpPr>
              <a:cxnSpLocks/>
              <a:stCxn id="583" idx="3"/>
              <a:endCxn id="585" idx="1"/>
            </p:cNvCxnSpPr>
            <p:nvPr/>
          </p:nvCxnSpPr>
          <p:spPr>
            <a:xfrm>
              <a:off x="10703576" y="4424154"/>
              <a:ext cx="188780"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06" name="Straight Arrow Connector 605">
              <a:extLst>
                <a:ext uri="{FF2B5EF4-FFF2-40B4-BE49-F238E27FC236}">
                  <a16:creationId xmlns:a16="http://schemas.microsoft.com/office/drawing/2014/main" id="{B6DBBA54-6858-64C3-8379-64C8A8B5DD7E}"/>
                </a:ext>
              </a:extLst>
            </p:cNvPr>
            <p:cNvCxnSpPr>
              <a:cxnSpLocks/>
              <a:stCxn id="402" idx="3"/>
              <a:endCxn id="580" idx="1"/>
            </p:cNvCxnSpPr>
            <p:nvPr/>
          </p:nvCxnSpPr>
          <p:spPr>
            <a:xfrm>
              <a:off x="6225494" y="4424154"/>
              <a:ext cx="181361"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07" name="Straight Arrow Connector 606">
              <a:extLst>
                <a:ext uri="{FF2B5EF4-FFF2-40B4-BE49-F238E27FC236}">
                  <a16:creationId xmlns:a16="http://schemas.microsoft.com/office/drawing/2014/main" id="{3B571999-D12E-B040-9C24-4AE8B2740A13}"/>
                </a:ext>
              </a:extLst>
            </p:cNvPr>
            <p:cNvCxnSpPr>
              <a:cxnSpLocks/>
              <a:stCxn id="584" idx="3"/>
              <a:endCxn id="583" idx="1"/>
            </p:cNvCxnSpPr>
            <p:nvPr/>
          </p:nvCxnSpPr>
          <p:spPr>
            <a:xfrm>
              <a:off x="9507853" y="4424154"/>
              <a:ext cx="296867"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22" name="Straight Arrow Connector 621">
              <a:extLst>
                <a:ext uri="{FF2B5EF4-FFF2-40B4-BE49-F238E27FC236}">
                  <a16:creationId xmlns:a16="http://schemas.microsoft.com/office/drawing/2014/main" id="{4A63EE33-9FB4-AF4E-032C-4ABF2CBB6513}"/>
                </a:ext>
              </a:extLst>
            </p:cNvPr>
            <p:cNvCxnSpPr>
              <a:cxnSpLocks/>
              <a:stCxn id="582" idx="3"/>
              <a:endCxn id="584" idx="1"/>
            </p:cNvCxnSpPr>
            <p:nvPr/>
          </p:nvCxnSpPr>
          <p:spPr>
            <a:xfrm>
              <a:off x="8411330" y="4424154"/>
              <a:ext cx="196523"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25" name="Straight Arrow Connector 624">
              <a:extLst>
                <a:ext uri="{FF2B5EF4-FFF2-40B4-BE49-F238E27FC236}">
                  <a16:creationId xmlns:a16="http://schemas.microsoft.com/office/drawing/2014/main" id="{FF55F03C-7059-1930-1D16-4907A9933557}"/>
                </a:ext>
              </a:extLst>
            </p:cNvPr>
            <p:cNvCxnSpPr>
              <a:cxnSpLocks/>
              <a:stCxn id="580" idx="3"/>
              <a:endCxn id="582" idx="1"/>
            </p:cNvCxnSpPr>
            <p:nvPr/>
          </p:nvCxnSpPr>
          <p:spPr>
            <a:xfrm>
              <a:off x="7353138" y="4424154"/>
              <a:ext cx="111909" cy="0"/>
            </a:xfrm>
            <a:prstGeom prst="straightConnector1">
              <a:avLst/>
            </a:prstGeom>
            <a:ln w="25400">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32" name="Straight Connector 631">
              <a:extLst>
                <a:ext uri="{FF2B5EF4-FFF2-40B4-BE49-F238E27FC236}">
                  <a16:creationId xmlns:a16="http://schemas.microsoft.com/office/drawing/2014/main" id="{A29B1CEC-99B3-AA77-8A4F-9B759CFA7533}"/>
                </a:ext>
              </a:extLst>
            </p:cNvPr>
            <p:cNvCxnSpPr>
              <a:cxnSpLocks/>
            </p:cNvCxnSpPr>
            <p:nvPr/>
          </p:nvCxnSpPr>
          <p:spPr>
            <a:xfrm>
              <a:off x="371475" y="4869160"/>
              <a:ext cx="11346897" cy="0"/>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633" name="TextBox 175">
              <a:extLst>
                <a:ext uri="{FF2B5EF4-FFF2-40B4-BE49-F238E27FC236}">
                  <a16:creationId xmlns:a16="http://schemas.microsoft.com/office/drawing/2014/main" id="{54C8DD55-FA18-BA19-AA57-0ED5A338F5FF}"/>
                </a:ext>
              </a:extLst>
            </p:cNvPr>
            <p:cNvSpPr txBox="1"/>
            <p:nvPr/>
          </p:nvSpPr>
          <p:spPr>
            <a:xfrm>
              <a:off x="263352" y="3788173"/>
              <a:ext cx="3382657" cy="261610"/>
            </a:xfrm>
            <a:prstGeom prst="rect">
              <a:avLst/>
            </a:prstGeom>
            <a:noFill/>
          </p:spPr>
          <p:txBody>
            <a:bodyPr wrap="non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1" i="1">
                  <a:solidFill>
                    <a:schemeClr val="tx1">
                      <a:lumMod val="65000"/>
                      <a:lumOff val="35000"/>
                    </a:schemeClr>
                  </a:solidFill>
                </a:rPr>
                <a:t>SCOR Cat Modelling workflow for </a:t>
              </a:r>
              <a:r>
                <a:rPr lang="en-GB" sz="1100" b="1" i="1">
                  <a:solidFill>
                    <a:srgbClr val="C00000"/>
                  </a:solidFill>
                </a:rPr>
                <a:t>Oasis</a:t>
              </a:r>
              <a:r>
                <a:rPr lang="en-GB" sz="1100" b="1" i="1">
                  <a:solidFill>
                    <a:schemeClr val="tx1">
                      <a:lumMod val="65000"/>
                      <a:lumOff val="35000"/>
                    </a:schemeClr>
                  </a:solidFill>
                </a:rPr>
                <a:t> models</a:t>
              </a:r>
            </a:p>
          </p:txBody>
        </p:sp>
        <p:cxnSp>
          <p:nvCxnSpPr>
            <p:cNvPr id="635" name="Straight Connector 634">
              <a:extLst>
                <a:ext uri="{FF2B5EF4-FFF2-40B4-BE49-F238E27FC236}">
                  <a16:creationId xmlns:a16="http://schemas.microsoft.com/office/drawing/2014/main" id="{2332BC1B-577A-BC15-BF55-CDE0423BE834}"/>
                </a:ext>
              </a:extLst>
            </p:cNvPr>
            <p:cNvCxnSpPr>
              <a:cxnSpLocks/>
            </p:cNvCxnSpPr>
            <p:nvPr/>
          </p:nvCxnSpPr>
          <p:spPr>
            <a:xfrm>
              <a:off x="6589501" y="5723912"/>
              <a:ext cx="375283"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636" name="Rectangle: Rounded Corners 635">
              <a:extLst>
                <a:ext uri="{FF2B5EF4-FFF2-40B4-BE49-F238E27FC236}">
                  <a16:creationId xmlns:a16="http://schemas.microsoft.com/office/drawing/2014/main" id="{54FC9F0B-D0C3-1637-2461-D187A965A943}"/>
                </a:ext>
              </a:extLst>
            </p:cNvPr>
            <p:cNvSpPr/>
            <p:nvPr/>
          </p:nvSpPr>
          <p:spPr>
            <a:xfrm>
              <a:off x="5917224" y="5909000"/>
              <a:ext cx="898856" cy="269345"/>
            </a:xfrm>
            <a:prstGeom prst="roundRect">
              <a:avLst/>
            </a:prstGeom>
            <a:solidFill>
              <a:schemeClr val="tx2"/>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Other platforms</a:t>
              </a:r>
            </a:p>
          </p:txBody>
        </p:sp>
        <p:sp>
          <p:nvSpPr>
            <p:cNvPr id="637" name="Rectangle: Rounded Corners 636">
              <a:extLst>
                <a:ext uri="{FF2B5EF4-FFF2-40B4-BE49-F238E27FC236}">
                  <a16:creationId xmlns:a16="http://schemas.microsoft.com/office/drawing/2014/main" id="{3DE7DD81-9FD5-87A5-8F0B-AEA905713043}"/>
                </a:ext>
              </a:extLst>
            </p:cNvPr>
            <p:cNvSpPr/>
            <p:nvPr/>
          </p:nvSpPr>
          <p:spPr>
            <a:xfrm>
              <a:off x="5903741" y="5589240"/>
              <a:ext cx="898856" cy="269344"/>
            </a:xfrm>
            <a:prstGeom prst="roundRect">
              <a:avLst/>
            </a:prstGeom>
            <a:solidFill>
              <a:srgbClr val="C00000"/>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OASIS</a:t>
              </a:r>
            </a:p>
          </p:txBody>
        </p:sp>
        <p:cxnSp>
          <p:nvCxnSpPr>
            <p:cNvPr id="638" name="Straight Connector 637">
              <a:extLst>
                <a:ext uri="{FF2B5EF4-FFF2-40B4-BE49-F238E27FC236}">
                  <a16:creationId xmlns:a16="http://schemas.microsoft.com/office/drawing/2014/main" id="{1C3F3F20-298C-8399-5FD6-F63880050B2E}"/>
                </a:ext>
              </a:extLst>
            </p:cNvPr>
            <p:cNvCxnSpPr>
              <a:cxnSpLocks/>
            </p:cNvCxnSpPr>
            <p:nvPr/>
          </p:nvCxnSpPr>
          <p:spPr>
            <a:xfrm>
              <a:off x="6600056" y="6043672"/>
              <a:ext cx="364728" cy="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39" name="Straight Connector 638">
              <a:extLst>
                <a:ext uri="{FF2B5EF4-FFF2-40B4-BE49-F238E27FC236}">
                  <a16:creationId xmlns:a16="http://schemas.microsoft.com/office/drawing/2014/main" id="{BBBDED93-37B6-7DA4-B379-DF29148F0672}"/>
                </a:ext>
              </a:extLst>
            </p:cNvPr>
            <p:cNvCxnSpPr>
              <a:cxnSpLocks/>
            </p:cNvCxnSpPr>
            <p:nvPr/>
          </p:nvCxnSpPr>
          <p:spPr>
            <a:xfrm>
              <a:off x="6956274" y="5517232"/>
              <a:ext cx="0" cy="526440"/>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647" name="TextBox 175">
              <a:extLst>
                <a:ext uri="{FF2B5EF4-FFF2-40B4-BE49-F238E27FC236}">
                  <a16:creationId xmlns:a16="http://schemas.microsoft.com/office/drawing/2014/main" id="{92A0A6D8-0671-5D55-C076-ABC58CC1665A}"/>
                </a:ext>
              </a:extLst>
            </p:cNvPr>
            <p:cNvSpPr txBox="1"/>
            <p:nvPr/>
          </p:nvSpPr>
          <p:spPr>
            <a:xfrm rot="16200000">
              <a:off x="66809" y="4293348"/>
              <a:ext cx="694421" cy="261610"/>
            </a:xfrm>
            <a:prstGeom prst="rect">
              <a:avLst/>
            </a:prstGeom>
            <a:noFill/>
          </p:spPr>
          <p:txBody>
            <a:bodyPr wrap="non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1" i="1">
                  <a:solidFill>
                    <a:schemeClr val="tx1">
                      <a:lumMod val="65000"/>
                      <a:lumOff val="35000"/>
                    </a:schemeClr>
                  </a:solidFill>
                </a:rPr>
                <a:t>Current</a:t>
              </a:r>
            </a:p>
          </p:txBody>
        </p:sp>
        <p:sp>
          <p:nvSpPr>
            <p:cNvPr id="648" name="TextBox 175">
              <a:extLst>
                <a:ext uri="{FF2B5EF4-FFF2-40B4-BE49-F238E27FC236}">
                  <a16:creationId xmlns:a16="http://schemas.microsoft.com/office/drawing/2014/main" id="{1DDECE98-CAD3-0EFF-213F-05304115AC74}"/>
                </a:ext>
              </a:extLst>
            </p:cNvPr>
            <p:cNvSpPr txBox="1"/>
            <p:nvPr/>
          </p:nvSpPr>
          <p:spPr>
            <a:xfrm rot="16200000">
              <a:off x="-141071" y="5376426"/>
              <a:ext cx="1069524" cy="261610"/>
            </a:xfrm>
            <a:prstGeom prst="rect">
              <a:avLst/>
            </a:prstGeom>
            <a:noFill/>
          </p:spPr>
          <p:txBody>
            <a:bodyPr wrap="non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1" i="1">
                  <a:solidFill>
                    <a:schemeClr val="tx1">
                      <a:lumMod val="65000"/>
                      <a:lumOff val="35000"/>
                    </a:schemeClr>
                  </a:solidFill>
                </a:rPr>
                <a:t>Future vision</a:t>
              </a:r>
            </a:p>
          </p:txBody>
        </p:sp>
      </p:grpSp>
    </p:spTree>
    <p:extLst>
      <p:ext uri="{BB962C8B-B14F-4D97-AF65-F5344CB8AC3E}">
        <p14:creationId xmlns:p14="http://schemas.microsoft.com/office/powerpoint/2010/main" val="36178969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CC191C-7155-68DD-0AD7-AEB33DDDE4D8}"/>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0DD3D0C-FEA2-85D1-A36E-00F34BA0C95D}"/>
              </a:ext>
            </a:extLst>
          </p:cNvPr>
          <p:cNvSpPr>
            <a:spLocks noGrp="1"/>
          </p:cNvSpPr>
          <p:nvPr>
            <p:ph type="title"/>
          </p:nvPr>
        </p:nvSpPr>
        <p:spPr/>
        <p:txBody>
          <a:bodyPr/>
          <a:lstStyle/>
          <a:p>
            <a:r>
              <a:rPr lang="en-US"/>
              <a:t>Thank You</a:t>
            </a:r>
          </a:p>
        </p:txBody>
      </p:sp>
      <p:sp>
        <p:nvSpPr>
          <p:cNvPr id="3" name="Footer Placeholder 2">
            <a:extLst>
              <a:ext uri="{FF2B5EF4-FFF2-40B4-BE49-F238E27FC236}">
                <a16:creationId xmlns:a16="http://schemas.microsoft.com/office/drawing/2014/main" id="{D4B0634E-017F-14EE-B65F-4FC0C08B4535}"/>
              </a:ext>
            </a:extLst>
          </p:cNvPr>
          <p:cNvSpPr>
            <a:spLocks noGrp="1"/>
          </p:cNvSpPr>
          <p:nvPr>
            <p:ph type="ftr" sz="quarter" idx="10"/>
          </p:nvPr>
        </p:nvSpPr>
        <p:spPr/>
        <p:txBody>
          <a:bodyPr/>
          <a:lstStyle/>
          <a:p>
            <a:r>
              <a:rPr kumimoji="0" lang="en-US" sz="700" b="1" i="0" u="none" strike="noStrike" kern="1200" cap="none" spc="0" normalizeH="0" baseline="0" noProof="0">
                <a:ln>
                  <a:noFill/>
                </a:ln>
                <a:solidFill>
                  <a:srgbClr val="009D4F"/>
                </a:solidFill>
                <a:effectLst/>
                <a:uLnTx/>
                <a:uFillTx/>
                <a:latin typeface="Roboto" panose="02000000000000000000" pitchFamily="2" charset="0"/>
                <a:ea typeface="Roboto" panose="02000000000000000000" pitchFamily="2" charset="0"/>
                <a:cs typeface="Arial" charset="0"/>
              </a:rPr>
              <a:t>CONFIDENTIAL</a:t>
            </a:r>
          </a:p>
        </p:txBody>
      </p:sp>
    </p:spTree>
    <p:extLst>
      <p:ext uri="{BB962C8B-B14F-4D97-AF65-F5344CB8AC3E}">
        <p14:creationId xmlns:p14="http://schemas.microsoft.com/office/powerpoint/2010/main" val="6000940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C9DDDBC-C3D8-A634-96E7-F469CA09B50E}"/>
              </a:ext>
            </a:extLst>
          </p:cNvPr>
          <p:cNvPicPr>
            <a:picLocks noChangeAspect="1"/>
          </p:cNvPicPr>
          <p:nvPr/>
        </p:nvPicPr>
        <p:blipFill>
          <a:blip r:embed="rId2"/>
          <a:stretch>
            <a:fillRect/>
          </a:stretch>
        </p:blipFill>
        <p:spPr>
          <a:xfrm>
            <a:off x="9707" y="0"/>
            <a:ext cx="12172586" cy="6858000"/>
          </a:xfrm>
          <a:prstGeom prst="rect">
            <a:avLst/>
          </a:prstGeom>
        </p:spPr>
      </p:pic>
    </p:spTree>
    <p:extLst>
      <p:ext uri="{BB962C8B-B14F-4D97-AF65-F5344CB8AC3E}">
        <p14:creationId xmlns:p14="http://schemas.microsoft.com/office/powerpoint/2010/main" val="220207237"/>
      </p:ext>
    </p:extLst>
  </p:cSld>
  <p:clrMapOvr>
    <a:masterClrMapping/>
  </p:clrMapOvr>
  <p:transition spd="slow"/>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CB54AE4-2148-C0B7-33C5-66926F1D4F6E}"/>
            </a:ext>
          </a:extLst>
        </p:cNvPr>
        <p:cNvGrpSpPr/>
        <p:nvPr/>
      </p:nvGrpSpPr>
      <p:grpSpPr>
        <a:xfrm>
          <a:off x="0" y="0"/>
          <a:ext cx="0" cy="0"/>
          <a:chOff x="0" y="0"/>
          <a:chExt cx="0" cy="0"/>
        </a:xfrm>
      </p:grpSpPr>
      <p:pic>
        <p:nvPicPr>
          <p:cNvPr id="2" name="Picture 1" descr="A white background with blue text&#10;&#10;AI-generated content may be incorrect.">
            <a:extLst>
              <a:ext uri="{FF2B5EF4-FFF2-40B4-BE49-F238E27FC236}">
                <a16:creationId xmlns:a16="http://schemas.microsoft.com/office/drawing/2014/main" id="{A1D82B7B-A8D1-4DDB-AFB9-F49AD92D06EE}"/>
              </a:ext>
            </a:extLst>
          </p:cNvPr>
          <p:cNvPicPr>
            <a:picLocks noChangeAspect="1"/>
          </p:cNvPicPr>
          <p:nvPr/>
        </p:nvPicPr>
        <p:blipFill>
          <a:blip r:embed="rId2"/>
          <a:stretch>
            <a:fillRect/>
          </a:stretch>
        </p:blipFill>
        <p:spPr>
          <a:xfrm>
            <a:off x="945" y="0"/>
            <a:ext cx="12158025" cy="6858000"/>
          </a:xfrm>
          <a:prstGeom prst="rect">
            <a:avLst/>
          </a:prstGeom>
        </p:spPr>
      </p:pic>
    </p:spTree>
    <p:extLst>
      <p:ext uri="{BB962C8B-B14F-4D97-AF65-F5344CB8AC3E}">
        <p14:creationId xmlns:p14="http://schemas.microsoft.com/office/powerpoint/2010/main" val="2635150534"/>
      </p:ext>
    </p:extLst>
  </p:cSld>
  <p:clrMapOvr>
    <a:masterClrMapping/>
  </p:clrMapOvr>
  <p:transition spd="slow"/>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11EE52-CF63-8326-6447-CCC32A248D27}"/>
            </a:ext>
          </a:extLst>
        </p:cNvPr>
        <p:cNvGrpSpPr/>
        <p:nvPr/>
      </p:nvGrpSpPr>
      <p:grpSpPr>
        <a:xfrm>
          <a:off x="0" y="0"/>
          <a:ext cx="0" cy="0"/>
          <a:chOff x="0" y="0"/>
          <a:chExt cx="0" cy="0"/>
        </a:xfrm>
      </p:grpSpPr>
      <p:pic>
        <p:nvPicPr>
          <p:cNvPr id="4" name="Picture 3" descr="A mountain with snow and a map&#10;&#10;AI-generated content may be incorrect.">
            <a:extLst>
              <a:ext uri="{FF2B5EF4-FFF2-40B4-BE49-F238E27FC236}">
                <a16:creationId xmlns:a16="http://schemas.microsoft.com/office/drawing/2014/main" id="{5F255296-1AAC-E633-8799-132DE4F4989E}"/>
              </a:ext>
            </a:extLst>
          </p:cNvPr>
          <p:cNvPicPr>
            <a:picLocks noChangeAspect="1"/>
          </p:cNvPicPr>
          <p:nvPr/>
        </p:nvPicPr>
        <p:blipFill>
          <a:blip r:embed="rId2"/>
          <a:stretch>
            <a:fillRect/>
          </a:stretch>
        </p:blipFill>
        <p:spPr>
          <a:xfrm>
            <a:off x="0" y="364"/>
            <a:ext cx="12192000" cy="6825187"/>
          </a:xfrm>
          <a:prstGeom prst="rect">
            <a:avLst/>
          </a:prstGeom>
        </p:spPr>
      </p:pic>
    </p:spTree>
    <p:extLst>
      <p:ext uri="{BB962C8B-B14F-4D97-AF65-F5344CB8AC3E}">
        <p14:creationId xmlns:p14="http://schemas.microsoft.com/office/powerpoint/2010/main" val="3898729921"/>
      </p:ext>
    </p:extLst>
  </p:cSld>
  <p:clrMapOvr>
    <a:masterClrMapping/>
  </p:clrMapOvr>
  <p:transition spd="slow"/>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420B33-3D0B-5D50-F73C-4896F2D4E5A8}"/>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D757A030-97BB-C88E-F19A-5085EF1884B0}"/>
              </a:ext>
            </a:extLst>
          </p:cNvPr>
          <p:cNvPicPr>
            <a:picLocks noChangeAspect="1"/>
          </p:cNvPicPr>
          <p:nvPr/>
        </p:nvPicPr>
        <p:blipFill>
          <a:blip r:embed="rId2"/>
          <a:stretch>
            <a:fillRect/>
          </a:stretch>
        </p:blipFill>
        <p:spPr>
          <a:xfrm>
            <a:off x="-1461" y="0"/>
            <a:ext cx="12146797" cy="6858000"/>
          </a:xfrm>
          <a:prstGeom prst="rect">
            <a:avLst/>
          </a:prstGeom>
        </p:spPr>
      </p:pic>
    </p:spTree>
    <p:extLst>
      <p:ext uri="{BB962C8B-B14F-4D97-AF65-F5344CB8AC3E}">
        <p14:creationId xmlns:p14="http://schemas.microsoft.com/office/powerpoint/2010/main" val="3256313044"/>
      </p:ext>
    </p:extLst>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D3AE3C-364C-4128-11A2-4D920DF42CA2}"/>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0515B4F5-F105-F2B5-0CE6-A02041B87C3A}"/>
              </a:ext>
            </a:extLst>
          </p:cNvPr>
          <p:cNvPicPr>
            <a:picLocks noChangeAspect="1"/>
          </p:cNvPicPr>
          <p:nvPr/>
        </p:nvPicPr>
        <p:blipFill>
          <a:blip r:embed="rId2"/>
          <a:stretch>
            <a:fillRect/>
          </a:stretch>
        </p:blipFill>
        <p:spPr>
          <a:xfrm>
            <a:off x="9707" y="0"/>
            <a:ext cx="12172586" cy="6858000"/>
          </a:xfrm>
          <a:prstGeom prst="rect">
            <a:avLst/>
          </a:prstGeom>
        </p:spPr>
      </p:pic>
    </p:spTree>
    <p:extLst>
      <p:ext uri="{BB962C8B-B14F-4D97-AF65-F5344CB8AC3E}">
        <p14:creationId xmlns:p14="http://schemas.microsoft.com/office/powerpoint/2010/main" val="1991446735"/>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77A1E9D-8DB0-76B5-8BE2-EADFBB16A117}"/>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94005D9D-9EA0-95A3-2F04-8CE6475153E3}"/>
              </a:ext>
            </a:extLst>
          </p:cNvPr>
          <p:cNvPicPr>
            <a:picLocks noChangeAspect="1"/>
          </p:cNvPicPr>
          <p:nvPr/>
        </p:nvPicPr>
        <p:blipFill>
          <a:blip r:embed="rId2"/>
          <a:stretch>
            <a:fillRect/>
          </a:stretch>
        </p:blipFill>
        <p:spPr>
          <a:xfrm>
            <a:off x="24268" y="0"/>
            <a:ext cx="12143465" cy="6858000"/>
          </a:xfrm>
          <a:prstGeom prst="rect">
            <a:avLst/>
          </a:prstGeom>
        </p:spPr>
      </p:pic>
    </p:spTree>
    <p:extLst>
      <p:ext uri="{BB962C8B-B14F-4D97-AF65-F5344CB8AC3E}">
        <p14:creationId xmlns:p14="http://schemas.microsoft.com/office/powerpoint/2010/main" val="1064078206"/>
      </p:ext>
    </p:extLst>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9CA9A2-BF7F-63FB-068B-CAE6C205ADC5}"/>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97687F4E-C033-A62B-8CA5-4C920548A214}"/>
              </a:ext>
            </a:extLst>
          </p:cNvPr>
          <p:cNvPicPr>
            <a:picLocks noChangeAspect="1"/>
          </p:cNvPicPr>
          <p:nvPr/>
        </p:nvPicPr>
        <p:blipFill>
          <a:blip r:embed="rId2"/>
          <a:stretch>
            <a:fillRect/>
          </a:stretch>
        </p:blipFill>
        <p:spPr>
          <a:xfrm>
            <a:off x="0" y="9115"/>
            <a:ext cx="12192000" cy="6839770"/>
          </a:xfrm>
          <a:prstGeom prst="rect">
            <a:avLst/>
          </a:prstGeom>
        </p:spPr>
      </p:pic>
    </p:spTree>
    <p:extLst>
      <p:ext uri="{BB962C8B-B14F-4D97-AF65-F5344CB8AC3E}">
        <p14:creationId xmlns:p14="http://schemas.microsoft.com/office/powerpoint/2010/main" val="2453466267"/>
      </p:ext>
    </p:extLst>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BCF9FA5-4033-394D-F6AE-C0A78236C7BA}"/>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2F7F5588-FE80-55EE-D553-66C011C0257D}"/>
              </a:ext>
            </a:extLst>
          </p:cNvPr>
          <p:cNvPicPr>
            <a:picLocks noChangeAspect="1"/>
          </p:cNvPicPr>
          <p:nvPr/>
        </p:nvPicPr>
        <p:blipFill>
          <a:blip r:embed="rId2"/>
          <a:stretch>
            <a:fillRect/>
          </a:stretch>
        </p:blipFill>
        <p:spPr>
          <a:xfrm>
            <a:off x="0" y="1823"/>
            <a:ext cx="12192000" cy="6854354"/>
          </a:xfrm>
          <a:prstGeom prst="rect">
            <a:avLst/>
          </a:prstGeom>
        </p:spPr>
      </p:pic>
    </p:spTree>
    <p:extLst>
      <p:ext uri="{BB962C8B-B14F-4D97-AF65-F5344CB8AC3E}">
        <p14:creationId xmlns:p14="http://schemas.microsoft.com/office/powerpoint/2010/main" val="891270679"/>
      </p:ext>
    </p:extLst>
  </p:cSld>
  <p:clrMapOvr>
    <a:masterClrMapping/>
  </p:clrMapOvr>
  <p:transition spd="slow"/>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8F1A91-0798-ED80-9878-7ADD15CC1BEB}"/>
            </a:ext>
          </a:extLst>
        </p:cNvPr>
        <p:cNvGrpSpPr/>
        <p:nvPr/>
      </p:nvGrpSpPr>
      <p:grpSpPr>
        <a:xfrm>
          <a:off x="0" y="0"/>
          <a:ext cx="0" cy="0"/>
          <a:chOff x="0" y="0"/>
          <a:chExt cx="0" cy="0"/>
        </a:xfrm>
      </p:grpSpPr>
      <p:pic>
        <p:nvPicPr>
          <p:cNvPr id="3" name="Picture 2" descr="A person looking at a map&#10;&#10;AI-generated content may be incorrect.">
            <a:extLst>
              <a:ext uri="{FF2B5EF4-FFF2-40B4-BE49-F238E27FC236}">
                <a16:creationId xmlns:a16="http://schemas.microsoft.com/office/drawing/2014/main" id="{CB98B074-9BA6-4361-117E-73B861CD4F7B}"/>
              </a:ext>
            </a:extLst>
          </p:cNvPr>
          <p:cNvPicPr>
            <a:picLocks noChangeAspect="1"/>
          </p:cNvPicPr>
          <p:nvPr/>
        </p:nvPicPr>
        <p:blipFill>
          <a:blip r:embed="rId2"/>
          <a:stretch>
            <a:fillRect/>
          </a:stretch>
        </p:blipFill>
        <p:spPr>
          <a:xfrm>
            <a:off x="0" y="2728"/>
            <a:ext cx="12192000" cy="6852544"/>
          </a:xfrm>
          <a:prstGeom prst="rect">
            <a:avLst/>
          </a:prstGeom>
        </p:spPr>
      </p:pic>
    </p:spTree>
    <p:extLst>
      <p:ext uri="{BB962C8B-B14F-4D97-AF65-F5344CB8AC3E}">
        <p14:creationId xmlns:p14="http://schemas.microsoft.com/office/powerpoint/2010/main" val="1672104629"/>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973A0-34E7-5E22-1BD1-FAFBC36BF4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66D0EAE8-EE4D-6702-443F-05FBDF5A678F}"/>
              </a:ext>
            </a:extLst>
          </p:cNvPr>
          <p:cNvSpPr>
            <a:spLocks noGrp="1"/>
          </p:cNvSpPr>
          <p:nvPr>
            <p:ph type="title"/>
          </p:nvPr>
        </p:nvSpPr>
        <p:spPr/>
        <p:txBody>
          <a:bodyPr/>
          <a:lstStyle/>
          <a:p>
            <a:r>
              <a:rPr lang="en-US"/>
              <a:t>SCOR Model Development workflow</a:t>
            </a:r>
            <a:endParaRPr lang="de-CH"/>
          </a:p>
        </p:txBody>
      </p:sp>
      <p:sp>
        <p:nvSpPr>
          <p:cNvPr id="3" name="Text Placeholder 2">
            <a:extLst>
              <a:ext uri="{FF2B5EF4-FFF2-40B4-BE49-F238E27FC236}">
                <a16:creationId xmlns:a16="http://schemas.microsoft.com/office/drawing/2014/main" id="{F3742E0D-34C3-112C-76BA-E922D5E4C1B2}"/>
              </a:ext>
            </a:extLst>
          </p:cNvPr>
          <p:cNvSpPr>
            <a:spLocks noGrp="1"/>
          </p:cNvSpPr>
          <p:nvPr>
            <p:ph type="body" sz="quarter" idx="13"/>
          </p:nvPr>
        </p:nvSpPr>
        <p:spPr>
          <a:xfrm>
            <a:off x="371475" y="945479"/>
            <a:ext cx="11449050" cy="360099"/>
          </a:xfrm>
        </p:spPr>
        <p:txBody>
          <a:bodyPr/>
          <a:lstStyle/>
          <a:p>
            <a:r>
              <a:rPr lang="en-US"/>
              <a:t>Current and future vision</a:t>
            </a:r>
            <a:endParaRPr lang="de-CH"/>
          </a:p>
        </p:txBody>
      </p:sp>
      <p:sp>
        <p:nvSpPr>
          <p:cNvPr id="4" name="Text Placeholder 3">
            <a:extLst>
              <a:ext uri="{FF2B5EF4-FFF2-40B4-BE49-F238E27FC236}">
                <a16:creationId xmlns:a16="http://schemas.microsoft.com/office/drawing/2014/main" id="{9F8A7BEE-C148-A89E-A3E9-75561628AB59}"/>
              </a:ext>
            </a:extLst>
          </p:cNvPr>
          <p:cNvSpPr>
            <a:spLocks noGrp="1"/>
          </p:cNvSpPr>
          <p:nvPr>
            <p:ph type="body" sz="quarter" idx="15"/>
          </p:nvPr>
        </p:nvSpPr>
        <p:spPr/>
        <p:txBody>
          <a:bodyPr/>
          <a:lstStyle/>
          <a:p>
            <a:endParaRPr lang="de-CH"/>
          </a:p>
        </p:txBody>
      </p:sp>
      <p:sp>
        <p:nvSpPr>
          <p:cNvPr id="5" name="Footer Placeholder 4">
            <a:extLst>
              <a:ext uri="{FF2B5EF4-FFF2-40B4-BE49-F238E27FC236}">
                <a16:creationId xmlns:a16="http://schemas.microsoft.com/office/drawing/2014/main" id="{86C3918D-23A9-DCDB-B6E1-111CA0FA9368}"/>
              </a:ext>
            </a:extLst>
          </p:cNvPr>
          <p:cNvSpPr>
            <a:spLocks noGrp="1"/>
          </p:cNvSpPr>
          <p:nvPr>
            <p:ph type="ftr" sz="quarter" idx="16"/>
          </p:nvPr>
        </p:nvSpPr>
        <p:spPr/>
        <p:txBody>
          <a:bodyPr/>
          <a:lstStyle/>
          <a:p>
            <a:r>
              <a:rPr lang="fr-BE"/>
              <a:t>SCOR cat modeling future vision</a:t>
            </a:r>
          </a:p>
        </p:txBody>
      </p:sp>
      <p:sp>
        <p:nvSpPr>
          <p:cNvPr id="6" name="Slide Number Placeholder 5">
            <a:extLst>
              <a:ext uri="{FF2B5EF4-FFF2-40B4-BE49-F238E27FC236}">
                <a16:creationId xmlns:a16="http://schemas.microsoft.com/office/drawing/2014/main" id="{318F0F9E-6969-5FBB-894B-977663365666}"/>
              </a:ext>
            </a:extLst>
          </p:cNvPr>
          <p:cNvSpPr>
            <a:spLocks noGrp="1"/>
          </p:cNvSpPr>
          <p:nvPr>
            <p:ph type="sldNum" sz="quarter" idx="17"/>
          </p:nvPr>
        </p:nvSpPr>
        <p:spPr/>
        <p:txBody>
          <a:bodyPr/>
          <a:lstStyle/>
          <a:p>
            <a:fld id="{820150FD-603F-44AF-ADBB-D2D9D0B3C68D}" type="slidenum">
              <a:rPr lang="fr-BE" smtClean="0"/>
              <a:pPr/>
              <a:t>3</a:t>
            </a:fld>
            <a:endParaRPr lang="fr-BE"/>
          </a:p>
        </p:txBody>
      </p:sp>
      <p:sp>
        <p:nvSpPr>
          <p:cNvPr id="4140" name="TextBox 4139">
            <a:extLst>
              <a:ext uri="{FF2B5EF4-FFF2-40B4-BE49-F238E27FC236}">
                <a16:creationId xmlns:a16="http://schemas.microsoft.com/office/drawing/2014/main" id="{14F008A5-6D06-1F6D-B145-9C95DD0C1CD4}"/>
              </a:ext>
            </a:extLst>
          </p:cNvPr>
          <p:cNvSpPr txBox="1"/>
          <p:nvPr/>
        </p:nvSpPr>
        <p:spPr>
          <a:xfrm>
            <a:off x="301431" y="1605368"/>
            <a:ext cx="11393680" cy="1579343"/>
          </a:xfrm>
          <a:prstGeom prst="rect">
            <a:avLst/>
          </a:prstGeom>
          <a:noFill/>
        </p:spPr>
        <p:txBody>
          <a:bodyPr wrap="square">
            <a:spAutoFit/>
          </a:bodyPr>
          <a:lstStyle/>
          <a:p>
            <a:pPr marL="285750" indent="-285750">
              <a:lnSpc>
                <a:spcPct val="115000"/>
              </a:lnSpc>
              <a:spcAft>
                <a:spcPts val="600"/>
              </a:spcAft>
              <a:buFont typeface="Arial" panose="020B0604020202020204" pitchFamily="34" charset="0"/>
              <a:buChar char="•"/>
            </a:pPr>
            <a:r>
              <a:rPr lang="en-US" sz="1200"/>
              <a:t>Developing models is currently a complex, time-consuming and tailored process.</a:t>
            </a:r>
          </a:p>
          <a:p>
            <a:pPr marL="742950" lvl="1" indent="-285750">
              <a:lnSpc>
                <a:spcPct val="115000"/>
              </a:lnSpc>
              <a:spcAft>
                <a:spcPts val="600"/>
              </a:spcAft>
              <a:buFont typeface="Arial" panose="020B0604020202020204" pitchFamily="34" charset="0"/>
              <a:buChar char="•"/>
            </a:pPr>
            <a:r>
              <a:rPr lang="en-GB" sz="1200" i="1"/>
              <a:t>Example: </a:t>
            </a:r>
            <a:r>
              <a:rPr lang="en-GB" sz="1200"/>
              <a:t>Creating the California Wildfire model required significant effort to understand Oasis platform’s logic, develop the necessary files and codes, and conduct extensive testing and debugging. </a:t>
            </a:r>
          </a:p>
          <a:p>
            <a:pPr marL="285750" indent="-285750">
              <a:lnSpc>
                <a:spcPct val="115000"/>
              </a:lnSpc>
              <a:spcAft>
                <a:spcPts val="600"/>
              </a:spcAft>
              <a:buFont typeface="Arial" panose="020B0604020202020204" pitchFamily="34" charset="0"/>
              <a:buChar char="•"/>
            </a:pPr>
            <a:r>
              <a:rPr lang="en-US" sz="1200"/>
              <a:t>An Oasis-curated Model Builder tool could streamline the development and deployment of catastrophe models on the </a:t>
            </a:r>
            <a:r>
              <a:rPr lang="en-US" sz="1200" err="1"/>
              <a:t>OasisLMF</a:t>
            </a:r>
            <a:r>
              <a:rPr lang="en-US" sz="1200"/>
              <a:t> platform.</a:t>
            </a:r>
          </a:p>
          <a:p>
            <a:pPr marL="742950" lvl="1" indent="-285750">
              <a:lnSpc>
                <a:spcPct val="115000"/>
              </a:lnSpc>
              <a:spcAft>
                <a:spcPts val="600"/>
              </a:spcAft>
              <a:buFont typeface="Arial" panose="020B0604020202020204" pitchFamily="34" charset="0"/>
              <a:buChar char="•"/>
            </a:pPr>
            <a:r>
              <a:rPr lang="en-US" sz="1200"/>
              <a:t>This tool would enable users to input data such as hazard footprints and vulnerability parameters, automatically constructing all the necessary components and datasets for running an Oasis model.</a:t>
            </a:r>
            <a:r>
              <a:rPr lang="en-GB" sz="1200"/>
              <a:t> </a:t>
            </a:r>
          </a:p>
        </p:txBody>
      </p:sp>
      <p:grpSp>
        <p:nvGrpSpPr>
          <p:cNvPr id="4148" name="Group 4147">
            <a:extLst>
              <a:ext uri="{FF2B5EF4-FFF2-40B4-BE49-F238E27FC236}">
                <a16:creationId xmlns:a16="http://schemas.microsoft.com/office/drawing/2014/main" id="{7239D446-4046-6D7D-8EC0-F5F1E9136C5E}"/>
              </a:ext>
            </a:extLst>
          </p:cNvPr>
          <p:cNvGrpSpPr/>
          <p:nvPr/>
        </p:nvGrpSpPr>
        <p:grpSpPr>
          <a:xfrm>
            <a:off x="191810" y="3657399"/>
            <a:ext cx="11809312" cy="2578494"/>
            <a:chOff x="191810" y="3645024"/>
            <a:chExt cx="11809312" cy="2578494"/>
          </a:xfrm>
        </p:grpSpPr>
        <p:sp>
          <p:nvSpPr>
            <p:cNvPr id="4141" name="Rectangle 4140">
              <a:extLst>
                <a:ext uri="{FF2B5EF4-FFF2-40B4-BE49-F238E27FC236}">
                  <a16:creationId xmlns:a16="http://schemas.microsoft.com/office/drawing/2014/main" id="{5CCE4C66-039C-356F-190A-C821AEA89538}"/>
                </a:ext>
              </a:extLst>
            </p:cNvPr>
            <p:cNvSpPr/>
            <p:nvPr/>
          </p:nvSpPr>
          <p:spPr>
            <a:xfrm>
              <a:off x="191810" y="3645024"/>
              <a:ext cx="11809312" cy="2578494"/>
            </a:xfrm>
            <a:prstGeom prst="rect">
              <a:avLst/>
            </a:prstGeom>
            <a:solidFill>
              <a:schemeClr val="bg1">
                <a:lumMod val="85000"/>
                <a:alpha val="5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p>
          </p:txBody>
        </p:sp>
        <p:grpSp>
          <p:nvGrpSpPr>
            <p:cNvPr id="129" name="Group 128">
              <a:extLst>
                <a:ext uri="{FF2B5EF4-FFF2-40B4-BE49-F238E27FC236}">
                  <a16:creationId xmlns:a16="http://schemas.microsoft.com/office/drawing/2014/main" id="{37CD33E7-1437-911E-85BE-30DB7BD255DD}"/>
                </a:ext>
              </a:extLst>
            </p:cNvPr>
            <p:cNvGrpSpPr/>
            <p:nvPr/>
          </p:nvGrpSpPr>
          <p:grpSpPr>
            <a:xfrm>
              <a:off x="3520782" y="4293192"/>
              <a:ext cx="1982674" cy="1230951"/>
              <a:chOff x="5956749" y="3281869"/>
              <a:chExt cx="4055640" cy="1302583"/>
            </a:xfrm>
          </p:grpSpPr>
          <p:grpSp>
            <p:nvGrpSpPr>
              <p:cNvPr id="70" name="Group 69">
                <a:extLst>
                  <a:ext uri="{FF2B5EF4-FFF2-40B4-BE49-F238E27FC236}">
                    <a16:creationId xmlns:a16="http://schemas.microsoft.com/office/drawing/2014/main" id="{B4C72EBE-B899-69D7-76C6-62B9F78469DF}"/>
                  </a:ext>
                </a:extLst>
              </p:cNvPr>
              <p:cNvGrpSpPr/>
              <p:nvPr/>
            </p:nvGrpSpPr>
            <p:grpSpPr>
              <a:xfrm>
                <a:off x="5956749" y="3356696"/>
                <a:ext cx="4055640" cy="1145448"/>
                <a:chOff x="5303912" y="1609634"/>
                <a:chExt cx="2880320" cy="1145448"/>
              </a:xfrm>
            </p:grpSpPr>
            <p:sp>
              <p:nvSpPr>
                <p:cNvPr id="66" name="Oval 65">
                  <a:extLst>
                    <a:ext uri="{FF2B5EF4-FFF2-40B4-BE49-F238E27FC236}">
                      <a16:creationId xmlns:a16="http://schemas.microsoft.com/office/drawing/2014/main" id="{BF9DC062-B5EB-91C0-3A49-D008FD65EDDD}"/>
                    </a:ext>
                  </a:extLst>
                </p:cNvPr>
                <p:cNvSpPr/>
                <p:nvPr/>
              </p:nvSpPr>
              <p:spPr>
                <a:xfrm>
                  <a:off x="5643965" y="1609634"/>
                  <a:ext cx="2280868" cy="1145448"/>
                </a:xfrm>
                <a:prstGeom prst="ellipse">
                  <a:avLst/>
                </a:prstGeom>
                <a:noFill/>
                <a:ln w="9525" cap="flat" cmpd="sng" algn="ctr">
                  <a:solidFill>
                    <a:schemeClr val="tx1">
                      <a:lumMod val="50000"/>
                      <a:lumOff val="50000"/>
                    </a:schemeClr>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de-CH"/>
                </a:p>
              </p:txBody>
            </p:sp>
            <p:sp>
              <p:nvSpPr>
                <p:cNvPr id="67" name="Rectangle 66">
                  <a:extLst>
                    <a:ext uri="{FF2B5EF4-FFF2-40B4-BE49-F238E27FC236}">
                      <a16:creationId xmlns:a16="http://schemas.microsoft.com/office/drawing/2014/main" id="{F9787535-B581-E411-0BDA-5AC9C01BFD84}"/>
                    </a:ext>
                  </a:extLst>
                </p:cNvPr>
                <p:cNvSpPr/>
                <p:nvPr/>
              </p:nvSpPr>
              <p:spPr>
                <a:xfrm>
                  <a:off x="5303912" y="1896823"/>
                  <a:ext cx="2880320" cy="59607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sp>
              <p:nvSpPr>
                <p:cNvPr id="68" name="Isosceles Triangle 67">
                  <a:extLst>
                    <a:ext uri="{FF2B5EF4-FFF2-40B4-BE49-F238E27FC236}">
                      <a16:creationId xmlns:a16="http://schemas.microsoft.com/office/drawing/2014/main" id="{A6E039E1-E49E-781B-4D55-69A1BE299A86}"/>
                    </a:ext>
                  </a:extLst>
                </p:cNvPr>
                <p:cNvSpPr/>
                <p:nvPr/>
              </p:nvSpPr>
              <p:spPr>
                <a:xfrm rot="7514641">
                  <a:off x="7713909" y="1847722"/>
                  <a:ext cx="80829" cy="98658"/>
                </a:xfrm>
                <a:prstGeom prst="triangle">
                  <a:avLst/>
                </a:prstGeom>
                <a:solidFill>
                  <a:schemeClr val="tx2"/>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64" name="TextBox 63">
                <a:extLst>
                  <a:ext uri="{FF2B5EF4-FFF2-40B4-BE49-F238E27FC236}">
                    <a16:creationId xmlns:a16="http://schemas.microsoft.com/office/drawing/2014/main" id="{AB8440B4-F2AB-76D9-2FC9-E9A079F99FF4}"/>
                  </a:ext>
                </a:extLst>
              </p:cNvPr>
              <p:cNvSpPr txBox="1"/>
              <p:nvPr/>
            </p:nvSpPr>
            <p:spPr>
              <a:xfrm>
                <a:off x="7612878" y="3281869"/>
                <a:ext cx="977801" cy="200055"/>
              </a:xfrm>
              <a:prstGeom prst="rect">
                <a:avLst/>
              </a:prstGeom>
              <a:solidFill>
                <a:schemeClr val="bg2"/>
              </a:solidFill>
            </p:spPr>
            <p:txBody>
              <a:bodyPr wrap="none" rtlCol="0">
                <a:spAutoFit/>
              </a:bodyPr>
              <a:lstStyle/>
              <a:p>
                <a:r>
                  <a:rPr lang="en-US" sz="700">
                    <a:solidFill>
                      <a:schemeClr val="tx2"/>
                    </a:solidFill>
                  </a:rPr>
                  <a:t>Testing</a:t>
                </a:r>
                <a:endParaRPr lang="de-CH" sz="700">
                  <a:solidFill>
                    <a:schemeClr val="tx2"/>
                  </a:solidFill>
                </a:endParaRPr>
              </a:p>
            </p:txBody>
          </p:sp>
          <p:sp>
            <p:nvSpPr>
              <p:cNvPr id="65" name="TextBox 64">
                <a:extLst>
                  <a:ext uri="{FF2B5EF4-FFF2-40B4-BE49-F238E27FC236}">
                    <a16:creationId xmlns:a16="http://schemas.microsoft.com/office/drawing/2014/main" id="{A6423AF1-4813-A467-A989-C6BE3F3708C0}"/>
                  </a:ext>
                </a:extLst>
              </p:cNvPr>
              <p:cNvSpPr txBox="1"/>
              <p:nvPr/>
            </p:nvSpPr>
            <p:spPr>
              <a:xfrm>
                <a:off x="7439707" y="4384397"/>
                <a:ext cx="1259795" cy="200055"/>
              </a:xfrm>
              <a:prstGeom prst="rect">
                <a:avLst/>
              </a:prstGeom>
              <a:solidFill>
                <a:schemeClr val="bg2"/>
              </a:solidFill>
            </p:spPr>
            <p:txBody>
              <a:bodyPr wrap="none" rtlCol="0">
                <a:spAutoFit/>
              </a:bodyPr>
              <a:lstStyle>
                <a:defPPr>
                  <a:defRPr lang="fr-FR"/>
                </a:defPPr>
                <a:lvl1pPr>
                  <a:defRPr sz="1000"/>
                </a:lvl1pPr>
              </a:lstStyle>
              <a:p>
                <a:r>
                  <a:rPr lang="en-US" sz="700">
                    <a:solidFill>
                      <a:schemeClr val="tx2"/>
                    </a:solidFill>
                  </a:rPr>
                  <a:t>Debugging</a:t>
                </a:r>
                <a:endParaRPr lang="de-CH" sz="700">
                  <a:solidFill>
                    <a:schemeClr val="tx2"/>
                  </a:solidFill>
                </a:endParaRPr>
              </a:p>
            </p:txBody>
          </p:sp>
          <p:sp>
            <p:nvSpPr>
              <p:cNvPr id="72" name="Isosceles Triangle 71">
                <a:extLst>
                  <a:ext uri="{FF2B5EF4-FFF2-40B4-BE49-F238E27FC236}">
                    <a16:creationId xmlns:a16="http://schemas.microsoft.com/office/drawing/2014/main" id="{51E6232F-2D94-70CF-008C-C78704064B37}"/>
                  </a:ext>
                </a:extLst>
              </p:cNvPr>
              <p:cNvSpPr/>
              <p:nvPr/>
            </p:nvSpPr>
            <p:spPr>
              <a:xfrm rot="18580667">
                <a:off x="6665521" y="4164739"/>
                <a:ext cx="80829" cy="138916"/>
              </a:xfrm>
              <a:prstGeom prst="triangle">
                <a:avLst/>
              </a:prstGeom>
              <a:solidFill>
                <a:schemeClr val="tx2"/>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CH"/>
              </a:p>
            </p:txBody>
          </p:sp>
        </p:grpSp>
        <p:sp>
          <p:nvSpPr>
            <p:cNvPr id="75" name="Rectangle: Rounded Corners 74">
              <a:extLst>
                <a:ext uri="{FF2B5EF4-FFF2-40B4-BE49-F238E27FC236}">
                  <a16:creationId xmlns:a16="http://schemas.microsoft.com/office/drawing/2014/main" id="{885F2CCB-D294-3A0F-3B58-572612610B55}"/>
                </a:ext>
              </a:extLst>
            </p:cNvPr>
            <p:cNvSpPr/>
            <p:nvPr/>
          </p:nvSpPr>
          <p:spPr>
            <a:xfrm>
              <a:off x="2361300" y="5727399"/>
              <a:ext cx="900000" cy="388068"/>
            </a:xfrm>
            <a:prstGeom prst="roundRect">
              <a:avLst/>
            </a:prstGeom>
            <a:solidFill>
              <a:schemeClr val="tx2">
                <a:lumMod val="60000"/>
                <a:lumOff val="40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Settings files</a:t>
              </a:r>
            </a:p>
          </p:txBody>
        </p:sp>
        <p:sp>
          <p:nvSpPr>
            <p:cNvPr id="76" name="Rectangle: Rounded Corners 75">
              <a:extLst>
                <a:ext uri="{FF2B5EF4-FFF2-40B4-BE49-F238E27FC236}">
                  <a16:creationId xmlns:a16="http://schemas.microsoft.com/office/drawing/2014/main" id="{6C9C76BD-7224-FA2A-C5BC-649DCB4FF579}"/>
                </a:ext>
              </a:extLst>
            </p:cNvPr>
            <p:cNvSpPr/>
            <p:nvPr/>
          </p:nvSpPr>
          <p:spPr>
            <a:xfrm>
              <a:off x="2361300" y="3711446"/>
              <a:ext cx="898856" cy="388068"/>
            </a:xfrm>
            <a:prstGeom prst="roundRect">
              <a:avLst/>
            </a:prstGeom>
            <a:solidFill>
              <a:schemeClr val="tx2">
                <a:lumMod val="60000"/>
                <a:lumOff val="40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Variable Grid </a:t>
              </a:r>
              <a:r>
                <a:rPr lang="en-GB" sz="800"/>
                <a:t>Development</a:t>
              </a:r>
              <a:endParaRPr lang="en-GB" sz="900"/>
            </a:p>
          </p:txBody>
        </p:sp>
        <p:sp>
          <p:nvSpPr>
            <p:cNvPr id="77" name="Rectangle: Rounded Corners 76">
              <a:extLst>
                <a:ext uri="{FF2B5EF4-FFF2-40B4-BE49-F238E27FC236}">
                  <a16:creationId xmlns:a16="http://schemas.microsoft.com/office/drawing/2014/main" id="{AFF4DA8F-867C-B3BF-3834-1ABA2785A6BD}"/>
                </a:ext>
              </a:extLst>
            </p:cNvPr>
            <p:cNvSpPr/>
            <p:nvPr/>
          </p:nvSpPr>
          <p:spPr>
            <a:xfrm>
              <a:off x="2346084" y="4714634"/>
              <a:ext cx="929289" cy="388068"/>
            </a:xfrm>
            <a:prstGeom prst="roundRect">
              <a:avLst/>
            </a:prstGeom>
            <a:solidFill>
              <a:schemeClr val="tx2">
                <a:lumMod val="60000"/>
                <a:lumOff val="40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Vulnerability model files </a:t>
              </a:r>
            </a:p>
          </p:txBody>
        </p:sp>
        <p:sp>
          <p:nvSpPr>
            <p:cNvPr id="78" name="Rectangle: Rounded Corners 77">
              <a:extLst>
                <a:ext uri="{FF2B5EF4-FFF2-40B4-BE49-F238E27FC236}">
                  <a16:creationId xmlns:a16="http://schemas.microsoft.com/office/drawing/2014/main" id="{3C4528DD-7D11-3045-57AD-2600F31305C6}"/>
                </a:ext>
              </a:extLst>
            </p:cNvPr>
            <p:cNvSpPr/>
            <p:nvPr/>
          </p:nvSpPr>
          <p:spPr>
            <a:xfrm>
              <a:off x="2361300" y="4188734"/>
              <a:ext cx="898856" cy="388068"/>
            </a:xfrm>
            <a:prstGeom prst="roundRect">
              <a:avLst/>
            </a:prstGeom>
            <a:solidFill>
              <a:schemeClr val="tx2">
                <a:lumMod val="60000"/>
                <a:lumOff val="40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Hazard model files</a:t>
              </a:r>
            </a:p>
          </p:txBody>
        </p:sp>
        <p:sp>
          <p:nvSpPr>
            <p:cNvPr id="86" name="Rectangle: Rounded Corners 85">
              <a:extLst>
                <a:ext uri="{FF2B5EF4-FFF2-40B4-BE49-F238E27FC236}">
                  <a16:creationId xmlns:a16="http://schemas.microsoft.com/office/drawing/2014/main" id="{2C7033B2-096E-08F9-3DD0-D2AED6730F5D}"/>
                </a:ext>
              </a:extLst>
            </p:cNvPr>
            <p:cNvSpPr/>
            <p:nvPr/>
          </p:nvSpPr>
          <p:spPr>
            <a:xfrm>
              <a:off x="4735373" y="4733994"/>
              <a:ext cx="838495" cy="388067"/>
            </a:xfrm>
            <a:prstGeom prst="roundRect">
              <a:avLst/>
            </a:prstGeom>
            <a:solidFill>
              <a:srgbClr val="C00000"/>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OASIS</a:t>
              </a:r>
            </a:p>
          </p:txBody>
        </p:sp>
        <p:sp>
          <p:nvSpPr>
            <p:cNvPr id="7" name="Rectangle: Rounded Corners 6">
              <a:extLst>
                <a:ext uri="{FF2B5EF4-FFF2-40B4-BE49-F238E27FC236}">
                  <a16:creationId xmlns:a16="http://schemas.microsoft.com/office/drawing/2014/main" id="{F458746E-85A7-5570-4985-F720C3B76869}"/>
                </a:ext>
              </a:extLst>
            </p:cNvPr>
            <p:cNvSpPr/>
            <p:nvPr/>
          </p:nvSpPr>
          <p:spPr>
            <a:xfrm>
              <a:off x="1142804" y="3711446"/>
              <a:ext cx="898856" cy="388067"/>
            </a:xfrm>
            <a:prstGeom prst="roundRect">
              <a:avLst/>
            </a:prstGeom>
            <a:noFill/>
            <a:ln w="6350">
              <a:solidFill>
                <a:schemeClr val="tx2"/>
              </a:solid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2"/>
                  </a:solidFill>
                </a:rPr>
                <a:t>Census Data Blocks</a:t>
              </a:r>
            </a:p>
          </p:txBody>
        </p:sp>
        <p:cxnSp>
          <p:nvCxnSpPr>
            <p:cNvPr id="43" name="Straight Arrow Connector 42">
              <a:extLst>
                <a:ext uri="{FF2B5EF4-FFF2-40B4-BE49-F238E27FC236}">
                  <a16:creationId xmlns:a16="http://schemas.microsoft.com/office/drawing/2014/main" id="{90E5E003-3926-9B44-FA84-9D2AF7259820}"/>
                </a:ext>
              </a:extLst>
            </p:cNvPr>
            <p:cNvCxnSpPr>
              <a:cxnSpLocks/>
              <a:stCxn id="7" idx="3"/>
              <a:endCxn id="76" idx="1"/>
            </p:cNvCxnSpPr>
            <p:nvPr/>
          </p:nvCxnSpPr>
          <p:spPr>
            <a:xfrm>
              <a:off x="2041660" y="3905480"/>
              <a:ext cx="31964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5" name="Rectangle: Rounded Corners 44">
              <a:extLst>
                <a:ext uri="{FF2B5EF4-FFF2-40B4-BE49-F238E27FC236}">
                  <a16:creationId xmlns:a16="http://schemas.microsoft.com/office/drawing/2014/main" id="{5B51DE24-C059-07A4-1FE5-1B5BACB5CB01}"/>
                </a:ext>
              </a:extLst>
            </p:cNvPr>
            <p:cNvSpPr/>
            <p:nvPr/>
          </p:nvSpPr>
          <p:spPr>
            <a:xfrm>
              <a:off x="1142804" y="4188734"/>
              <a:ext cx="898856" cy="388068"/>
            </a:xfrm>
            <a:prstGeom prst="roundRect">
              <a:avLst/>
            </a:prstGeom>
            <a:noFill/>
            <a:ln w="6350">
              <a:solidFill>
                <a:schemeClr val="tx2"/>
              </a:solid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2"/>
                  </a:solidFill>
                </a:rPr>
                <a:t>FSIM footprints</a:t>
              </a:r>
            </a:p>
          </p:txBody>
        </p:sp>
        <p:sp>
          <p:nvSpPr>
            <p:cNvPr id="54" name="Rectangle: Rounded Corners 53">
              <a:extLst>
                <a:ext uri="{FF2B5EF4-FFF2-40B4-BE49-F238E27FC236}">
                  <a16:creationId xmlns:a16="http://schemas.microsoft.com/office/drawing/2014/main" id="{91A25F0B-D023-55C0-5F34-8BF39C112441}"/>
                </a:ext>
              </a:extLst>
            </p:cNvPr>
            <p:cNvSpPr/>
            <p:nvPr/>
          </p:nvSpPr>
          <p:spPr>
            <a:xfrm>
              <a:off x="1142804" y="4714634"/>
              <a:ext cx="898856" cy="388068"/>
            </a:xfrm>
            <a:prstGeom prst="roundRect">
              <a:avLst/>
            </a:prstGeom>
            <a:noFill/>
            <a:ln w="6350">
              <a:solidFill>
                <a:schemeClr val="tx2"/>
              </a:solid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700">
                  <a:solidFill>
                    <a:schemeClr val="tx2"/>
                  </a:solidFill>
                </a:rPr>
                <a:t>Vegetation, land use types, damage curves</a:t>
              </a:r>
            </a:p>
          </p:txBody>
        </p:sp>
        <p:cxnSp>
          <p:nvCxnSpPr>
            <p:cNvPr id="57" name="Straight Arrow Connector 56">
              <a:extLst>
                <a:ext uri="{FF2B5EF4-FFF2-40B4-BE49-F238E27FC236}">
                  <a16:creationId xmlns:a16="http://schemas.microsoft.com/office/drawing/2014/main" id="{121C0DD6-A88D-7F43-3CDC-A5F7C191F3BE}"/>
                </a:ext>
              </a:extLst>
            </p:cNvPr>
            <p:cNvCxnSpPr>
              <a:cxnSpLocks/>
              <a:stCxn id="45" idx="3"/>
              <a:endCxn id="78" idx="1"/>
            </p:cNvCxnSpPr>
            <p:nvPr/>
          </p:nvCxnSpPr>
          <p:spPr>
            <a:xfrm>
              <a:off x="2041660" y="4382768"/>
              <a:ext cx="319640"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C2DBBB93-3CDF-40B3-13D5-C405B14F0333}"/>
                </a:ext>
              </a:extLst>
            </p:cNvPr>
            <p:cNvCxnSpPr>
              <a:cxnSpLocks/>
              <a:stCxn id="54" idx="3"/>
              <a:endCxn id="77" idx="1"/>
            </p:cNvCxnSpPr>
            <p:nvPr/>
          </p:nvCxnSpPr>
          <p:spPr>
            <a:xfrm>
              <a:off x="2041660" y="4908668"/>
              <a:ext cx="304424"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21" name="Rectangle: Rounded Corners 120">
              <a:extLst>
                <a:ext uri="{FF2B5EF4-FFF2-40B4-BE49-F238E27FC236}">
                  <a16:creationId xmlns:a16="http://schemas.microsoft.com/office/drawing/2014/main" id="{18E73FB1-A715-54FB-13D1-C1DBA6C5D0E8}"/>
                </a:ext>
              </a:extLst>
            </p:cNvPr>
            <p:cNvSpPr/>
            <p:nvPr/>
          </p:nvSpPr>
          <p:spPr>
            <a:xfrm>
              <a:off x="2361300" y="5221016"/>
              <a:ext cx="900000" cy="388068"/>
            </a:xfrm>
            <a:prstGeom prst="roundRect">
              <a:avLst/>
            </a:prstGeom>
            <a:solidFill>
              <a:schemeClr val="tx2">
                <a:lumMod val="60000"/>
                <a:lumOff val="40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Keys Server</a:t>
              </a:r>
            </a:p>
          </p:txBody>
        </p:sp>
        <p:sp>
          <p:nvSpPr>
            <p:cNvPr id="141" name="Rectangle: Rounded Corners 140">
              <a:extLst>
                <a:ext uri="{FF2B5EF4-FFF2-40B4-BE49-F238E27FC236}">
                  <a16:creationId xmlns:a16="http://schemas.microsoft.com/office/drawing/2014/main" id="{E1817668-7927-D34B-8F93-BC279DB03C03}"/>
                </a:ext>
              </a:extLst>
            </p:cNvPr>
            <p:cNvSpPr/>
            <p:nvPr/>
          </p:nvSpPr>
          <p:spPr>
            <a:xfrm>
              <a:off x="1143376" y="5221016"/>
              <a:ext cx="898856" cy="388068"/>
            </a:xfrm>
            <a:prstGeom prst="roundRect">
              <a:avLst/>
            </a:prstGeom>
            <a:noFill/>
            <a:ln w="6350">
              <a:solidFill>
                <a:schemeClr val="tx2"/>
              </a:solid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2"/>
                  </a:solidFill>
                </a:rPr>
                <a:t>Codes</a:t>
              </a:r>
            </a:p>
          </p:txBody>
        </p:sp>
        <p:cxnSp>
          <p:nvCxnSpPr>
            <p:cNvPr id="144" name="Straight Arrow Connector 143">
              <a:extLst>
                <a:ext uri="{FF2B5EF4-FFF2-40B4-BE49-F238E27FC236}">
                  <a16:creationId xmlns:a16="http://schemas.microsoft.com/office/drawing/2014/main" id="{3114E0BB-D4B6-BE4C-588F-B2F9BEE1584F}"/>
                </a:ext>
              </a:extLst>
            </p:cNvPr>
            <p:cNvCxnSpPr>
              <a:cxnSpLocks/>
              <a:stCxn id="141" idx="3"/>
              <a:endCxn id="121" idx="1"/>
            </p:cNvCxnSpPr>
            <p:nvPr/>
          </p:nvCxnSpPr>
          <p:spPr>
            <a:xfrm>
              <a:off x="2042232" y="5415050"/>
              <a:ext cx="31906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47" name="Rectangle: Rounded Corners 146">
              <a:extLst>
                <a:ext uri="{FF2B5EF4-FFF2-40B4-BE49-F238E27FC236}">
                  <a16:creationId xmlns:a16="http://schemas.microsoft.com/office/drawing/2014/main" id="{E861B434-FB59-CFF5-9E81-D4C1BBD17ED0}"/>
                </a:ext>
              </a:extLst>
            </p:cNvPr>
            <p:cNvSpPr/>
            <p:nvPr/>
          </p:nvSpPr>
          <p:spPr>
            <a:xfrm>
              <a:off x="1143376" y="5727399"/>
              <a:ext cx="898856" cy="388068"/>
            </a:xfrm>
            <a:prstGeom prst="roundRect">
              <a:avLst/>
            </a:prstGeom>
            <a:noFill/>
            <a:ln w="6350">
              <a:solidFill>
                <a:schemeClr val="tx2"/>
              </a:solid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2"/>
                  </a:solidFill>
                </a:rPr>
                <a:t>Parameters</a:t>
              </a:r>
            </a:p>
          </p:txBody>
        </p:sp>
        <p:cxnSp>
          <p:nvCxnSpPr>
            <p:cNvPr id="148" name="Straight Arrow Connector 147">
              <a:extLst>
                <a:ext uri="{FF2B5EF4-FFF2-40B4-BE49-F238E27FC236}">
                  <a16:creationId xmlns:a16="http://schemas.microsoft.com/office/drawing/2014/main" id="{577765EC-5607-592F-06C7-94BE2202EE67}"/>
                </a:ext>
              </a:extLst>
            </p:cNvPr>
            <p:cNvCxnSpPr>
              <a:cxnSpLocks/>
              <a:stCxn id="147" idx="3"/>
              <a:endCxn id="75" idx="1"/>
            </p:cNvCxnSpPr>
            <p:nvPr/>
          </p:nvCxnSpPr>
          <p:spPr>
            <a:xfrm>
              <a:off x="2042232" y="5921433"/>
              <a:ext cx="319068" cy="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84" name="Rectangle: Rounded Corners 183">
              <a:extLst>
                <a:ext uri="{FF2B5EF4-FFF2-40B4-BE49-F238E27FC236}">
                  <a16:creationId xmlns:a16="http://schemas.microsoft.com/office/drawing/2014/main" id="{AEAD2925-E52B-A2D7-59E1-2E61C82E4C9D}"/>
                </a:ext>
              </a:extLst>
            </p:cNvPr>
            <p:cNvSpPr/>
            <p:nvPr/>
          </p:nvSpPr>
          <p:spPr>
            <a:xfrm>
              <a:off x="3561003" y="4733993"/>
              <a:ext cx="898856" cy="388068"/>
            </a:xfrm>
            <a:prstGeom prst="roundRect">
              <a:avLst/>
            </a:prstGeom>
            <a:solidFill>
              <a:schemeClr val="tx2">
                <a:lumMod val="60000"/>
                <a:lumOff val="40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Oasis CAWF Model files</a:t>
              </a:r>
            </a:p>
          </p:txBody>
        </p:sp>
        <p:sp>
          <p:nvSpPr>
            <p:cNvPr id="185" name="Right Brace 184">
              <a:extLst>
                <a:ext uri="{FF2B5EF4-FFF2-40B4-BE49-F238E27FC236}">
                  <a16:creationId xmlns:a16="http://schemas.microsoft.com/office/drawing/2014/main" id="{2DFC2592-8808-B3EA-D84C-9CF3B325B911}"/>
                </a:ext>
              </a:extLst>
            </p:cNvPr>
            <p:cNvSpPr/>
            <p:nvPr/>
          </p:nvSpPr>
          <p:spPr>
            <a:xfrm>
              <a:off x="3339993" y="3710318"/>
              <a:ext cx="116169" cy="2405149"/>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4104" name="Rectangle: Rounded Corners 4103">
              <a:extLst>
                <a:ext uri="{FF2B5EF4-FFF2-40B4-BE49-F238E27FC236}">
                  <a16:creationId xmlns:a16="http://schemas.microsoft.com/office/drawing/2014/main" id="{A06A2CEC-1447-CE12-E6B4-6F0FC15AFCBB}"/>
                </a:ext>
              </a:extLst>
            </p:cNvPr>
            <p:cNvSpPr/>
            <p:nvPr/>
          </p:nvSpPr>
          <p:spPr>
            <a:xfrm>
              <a:off x="10662611" y="4826911"/>
              <a:ext cx="838495" cy="388067"/>
            </a:xfrm>
            <a:prstGeom prst="roundRect">
              <a:avLst/>
            </a:prstGeom>
            <a:solidFill>
              <a:srgbClr val="C00000"/>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OASIS</a:t>
              </a:r>
            </a:p>
          </p:txBody>
        </p:sp>
        <p:sp>
          <p:nvSpPr>
            <p:cNvPr id="4105" name="Rectangle: Rounded Corners 4104">
              <a:extLst>
                <a:ext uri="{FF2B5EF4-FFF2-40B4-BE49-F238E27FC236}">
                  <a16:creationId xmlns:a16="http://schemas.microsoft.com/office/drawing/2014/main" id="{137D7AEE-F4E8-2806-C80B-3CF590CC4952}"/>
                </a:ext>
              </a:extLst>
            </p:cNvPr>
            <p:cNvSpPr/>
            <p:nvPr/>
          </p:nvSpPr>
          <p:spPr>
            <a:xfrm>
              <a:off x="6527419" y="3804363"/>
              <a:ext cx="898856" cy="388067"/>
            </a:xfrm>
            <a:prstGeom prst="roundRect">
              <a:avLst/>
            </a:prstGeom>
            <a:noFill/>
            <a:ln w="6350">
              <a:solidFill>
                <a:schemeClr val="tx2"/>
              </a:solid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2"/>
                  </a:solidFill>
                </a:rPr>
                <a:t>Built environment</a:t>
              </a:r>
            </a:p>
          </p:txBody>
        </p:sp>
        <p:sp>
          <p:nvSpPr>
            <p:cNvPr id="4107" name="Rectangle: Rounded Corners 4106">
              <a:extLst>
                <a:ext uri="{FF2B5EF4-FFF2-40B4-BE49-F238E27FC236}">
                  <a16:creationId xmlns:a16="http://schemas.microsoft.com/office/drawing/2014/main" id="{8E9B2519-2CF8-4954-6A30-D912C9AD946A}"/>
                </a:ext>
              </a:extLst>
            </p:cNvPr>
            <p:cNvSpPr/>
            <p:nvPr/>
          </p:nvSpPr>
          <p:spPr>
            <a:xfrm>
              <a:off x="6527419" y="4281651"/>
              <a:ext cx="898856" cy="388068"/>
            </a:xfrm>
            <a:prstGeom prst="roundRect">
              <a:avLst/>
            </a:prstGeom>
            <a:noFill/>
            <a:ln w="6350">
              <a:solidFill>
                <a:schemeClr val="tx2"/>
              </a:solid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2"/>
                  </a:solidFill>
                </a:rPr>
                <a:t>Hazard raster or shapefiles</a:t>
              </a:r>
            </a:p>
          </p:txBody>
        </p:sp>
        <p:sp>
          <p:nvSpPr>
            <p:cNvPr id="4108" name="Rectangle: Rounded Corners 4107">
              <a:extLst>
                <a:ext uri="{FF2B5EF4-FFF2-40B4-BE49-F238E27FC236}">
                  <a16:creationId xmlns:a16="http://schemas.microsoft.com/office/drawing/2014/main" id="{0CD4FFA7-E5E0-236E-DE78-753C1540CB8B}"/>
                </a:ext>
              </a:extLst>
            </p:cNvPr>
            <p:cNvSpPr/>
            <p:nvPr/>
          </p:nvSpPr>
          <p:spPr>
            <a:xfrm>
              <a:off x="6527419" y="4807551"/>
              <a:ext cx="898856" cy="388068"/>
            </a:xfrm>
            <a:prstGeom prst="roundRect">
              <a:avLst/>
            </a:prstGeom>
            <a:noFill/>
            <a:ln w="6350">
              <a:solidFill>
                <a:schemeClr val="tx2"/>
              </a:solid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2"/>
                  </a:solidFill>
                </a:rPr>
                <a:t>Vulnerability parameters</a:t>
              </a:r>
            </a:p>
          </p:txBody>
        </p:sp>
        <p:sp>
          <p:nvSpPr>
            <p:cNvPr id="4112" name="Rectangle: Rounded Corners 4111">
              <a:extLst>
                <a:ext uri="{FF2B5EF4-FFF2-40B4-BE49-F238E27FC236}">
                  <a16:creationId xmlns:a16="http://schemas.microsoft.com/office/drawing/2014/main" id="{882CC8DD-1FA3-2FAC-23E9-6AD751CBE28B}"/>
                </a:ext>
              </a:extLst>
            </p:cNvPr>
            <p:cNvSpPr/>
            <p:nvPr/>
          </p:nvSpPr>
          <p:spPr>
            <a:xfrm>
              <a:off x="6527991" y="5313933"/>
              <a:ext cx="898856" cy="388068"/>
            </a:xfrm>
            <a:prstGeom prst="roundRect">
              <a:avLst/>
            </a:prstGeom>
            <a:noFill/>
            <a:ln w="6350">
              <a:solidFill>
                <a:schemeClr val="tx2"/>
              </a:solid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2"/>
                  </a:solidFill>
                </a:rPr>
                <a:t>Built environment</a:t>
              </a:r>
            </a:p>
          </p:txBody>
        </p:sp>
        <p:sp>
          <p:nvSpPr>
            <p:cNvPr id="4114" name="Rectangle: Rounded Corners 4113">
              <a:extLst>
                <a:ext uri="{FF2B5EF4-FFF2-40B4-BE49-F238E27FC236}">
                  <a16:creationId xmlns:a16="http://schemas.microsoft.com/office/drawing/2014/main" id="{8639C06E-5B58-48C6-D942-5116A2582156}"/>
                </a:ext>
              </a:extLst>
            </p:cNvPr>
            <p:cNvSpPr/>
            <p:nvPr/>
          </p:nvSpPr>
          <p:spPr>
            <a:xfrm>
              <a:off x="6527991" y="5820316"/>
              <a:ext cx="898856" cy="388068"/>
            </a:xfrm>
            <a:prstGeom prst="roundRect">
              <a:avLst/>
            </a:prstGeom>
            <a:noFill/>
            <a:ln w="6350">
              <a:solidFill>
                <a:schemeClr val="tx2"/>
              </a:solid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solidFill>
                    <a:schemeClr val="tx2"/>
                  </a:solidFill>
                </a:rPr>
                <a:t>Parameters</a:t>
              </a:r>
            </a:p>
          </p:txBody>
        </p:sp>
        <p:sp>
          <p:nvSpPr>
            <p:cNvPr id="4116" name="Rectangle: Rounded Corners 4115">
              <a:extLst>
                <a:ext uri="{FF2B5EF4-FFF2-40B4-BE49-F238E27FC236}">
                  <a16:creationId xmlns:a16="http://schemas.microsoft.com/office/drawing/2014/main" id="{BCE0CA37-A63C-0CE1-6989-7021EF2D5E73}"/>
                </a:ext>
              </a:extLst>
            </p:cNvPr>
            <p:cNvSpPr/>
            <p:nvPr/>
          </p:nvSpPr>
          <p:spPr>
            <a:xfrm>
              <a:off x="8945618" y="4826910"/>
              <a:ext cx="898856" cy="388068"/>
            </a:xfrm>
            <a:prstGeom prst="roundRect">
              <a:avLst/>
            </a:prstGeom>
            <a:solidFill>
              <a:schemeClr val="tx2">
                <a:lumMod val="60000"/>
                <a:lumOff val="40000"/>
              </a:schemeClr>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Oasis Model Image</a:t>
              </a:r>
            </a:p>
          </p:txBody>
        </p:sp>
        <p:sp>
          <p:nvSpPr>
            <p:cNvPr id="4119" name="Right Brace 4118">
              <a:extLst>
                <a:ext uri="{FF2B5EF4-FFF2-40B4-BE49-F238E27FC236}">
                  <a16:creationId xmlns:a16="http://schemas.microsoft.com/office/drawing/2014/main" id="{BCE253C0-C644-BCAE-96AE-584B49431F69}"/>
                </a:ext>
              </a:extLst>
            </p:cNvPr>
            <p:cNvSpPr/>
            <p:nvPr/>
          </p:nvSpPr>
          <p:spPr>
            <a:xfrm>
              <a:off x="7530993" y="3818369"/>
              <a:ext cx="116169" cy="2405149"/>
            </a:xfrm>
            <a:prstGeom prst="rightBrace">
              <a:avLst/>
            </a:prstGeom>
            <a:ln>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CH"/>
            </a:p>
          </p:txBody>
        </p:sp>
        <p:sp>
          <p:nvSpPr>
            <p:cNvPr id="4120" name="Rectangle: Rounded Corners 4119">
              <a:extLst>
                <a:ext uri="{FF2B5EF4-FFF2-40B4-BE49-F238E27FC236}">
                  <a16:creationId xmlns:a16="http://schemas.microsoft.com/office/drawing/2014/main" id="{7C85CEAD-75C2-EA3F-CD23-AF3B2834DC3E}"/>
                </a:ext>
              </a:extLst>
            </p:cNvPr>
            <p:cNvSpPr/>
            <p:nvPr/>
          </p:nvSpPr>
          <p:spPr>
            <a:xfrm>
              <a:off x="7824192" y="4548998"/>
              <a:ext cx="838495" cy="932804"/>
            </a:xfrm>
            <a:prstGeom prst="roundRect">
              <a:avLst/>
            </a:prstGeom>
            <a:solidFill>
              <a:srgbClr val="C00000"/>
            </a:solidFill>
            <a:ln>
              <a:noFill/>
            </a:ln>
            <a:effectLst>
              <a:outerShdw blurRad="44450" dist="27940" dir="5400000" algn="ctr">
                <a:srgbClr val="000000">
                  <a:alpha val="32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a:t>OASIS Model Builder</a:t>
              </a:r>
            </a:p>
            <a:p>
              <a:pPr algn="ctr"/>
              <a:r>
                <a:rPr lang="en-GB" sz="900"/>
                <a:t>UI</a:t>
              </a:r>
            </a:p>
          </p:txBody>
        </p:sp>
        <p:cxnSp>
          <p:nvCxnSpPr>
            <p:cNvPr id="4121" name="Straight Arrow Connector 4120">
              <a:extLst>
                <a:ext uri="{FF2B5EF4-FFF2-40B4-BE49-F238E27FC236}">
                  <a16:creationId xmlns:a16="http://schemas.microsoft.com/office/drawing/2014/main" id="{8474324D-2BE3-94FF-3AF6-2FCC94CE226B}"/>
                </a:ext>
              </a:extLst>
            </p:cNvPr>
            <p:cNvCxnSpPr>
              <a:cxnSpLocks/>
              <a:stCxn id="4119" idx="1"/>
              <a:endCxn id="4120" idx="1"/>
            </p:cNvCxnSpPr>
            <p:nvPr/>
          </p:nvCxnSpPr>
          <p:spPr>
            <a:xfrm flipV="1">
              <a:off x="7647162" y="5015400"/>
              <a:ext cx="177030" cy="554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25" name="Straight Arrow Connector 4124">
              <a:extLst>
                <a:ext uri="{FF2B5EF4-FFF2-40B4-BE49-F238E27FC236}">
                  <a16:creationId xmlns:a16="http://schemas.microsoft.com/office/drawing/2014/main" id="{20E5B2FA-9547-0D85-76E4-8E484DBF6C77}"/>
                </a:ext>
              </a:extLst>
            </p:cNvPr>
            <p:cNvCxnSpPr>
              <a:cxnSpLocks/>
              <a:stCxn id="4120" idx="3"/>
              <a:endCxn id="4116" idx="1"/>
            </p:cNvCxnSpPr>
            <p:nvPr/>
          </p:nvCxnSpPr>
          <p:spPr>
            <a:xfrm>
              <a:off x="8662687" y="5015400"/>
              <a:ext cx="282931" cy="554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4128" name="Straight Arrow Connector 4127">
              <a:extLst>
                <a:ext uri="{FF2B5EF4-FFF2-40B4-BE49-F238E27FC236}">
                  <a16:creationId xmlns:a16="http://schemas.microsoft.com/office/drawing/2014/main" id="{A21F8542-DBC0-1BC9-5EA3-FECB322F3D5E}"/>
                </a:ext>
              </a:extLst>
            </p:cNvPr>
            <p:cNvCxnSpPr>
              <a:cxnSpLocks/>
              <a:stCxn id="4116" idx="3"/>
              <a:endCxn id="4104" idx="1"/>
            </p:cNvCxnSpPr>
            <p:nvPr/>
          </p:nvCxnSpPr>
          <p:spPr>
            <a:xfrm>
              <a:off x="9844474" y="5020944"/>
              <a:ext cx="818137" cy="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37" name="TextBox 4136">
              <a:extLst>
                <a:ext uri="{FF2B5EF4-FFF2-40B4-BE49-F238E27FC236}">
                  <a16:creationId xmlns:a16="http://schemas.microsoft.com/office/drawing/2014/main" id="{BABDF9C4-3125-7A01-8A3A-A13880940548}"/>
                </a:ext>
              </a:extLst>
            </p:cNvPr>
            <p:cNvSpPr txBox="1"/>
            <p:nvPr/>
          </p:nvSpPr>
          <p:spPr>
            <a:xfrm>
              <a:off x="9888397" y="4806465"/>
              <a:ext cx="662361" cy="200055"/>
            </a:xfrm>
            <a:prstGeom prst="rect">
              <a:avLst/>
            </a:prstGeom>
            <a:solidFill>
              <a:schemeClr val="bg2"/>
            </a:solidFill>
          </p:spPr>
          <p:txBody>
            <a:bodyPr wrap="none" rtlCol="0">
              <a:spAutoFit/>
            </a:bodyPr>
            <a:lstStyle/>
            <a:p>
              <a:r>
                <a:rPr lang="en-US" sz="700">
                  <a:solidFill>
                    <a:schemeClr val="tx2"/>
                  </a:solidFill>
                </a:rPr>
                <a:t>Deployment</a:t>
              </a:r>
              <a:endParaRPr lang="de-CH" sz="700">
                <a:solidFill>
                  <a:schemeClr val="tx2"/>
                </a:solidFill>
              </a:endParaRPr>
            </a:p>
          </p:txBody>
        </p:sp>
        <p:sp>
          <p:nvSpPr>
            <p:cNvPr id="4142" name="TextBox 175">
              <a:extLst>
                <a:ext uri="{FF2B5EF4-FFF2-40B4-BE49-F238E27FC236}">
                  <a16:creationId xmlns:a16="http://schemas.microsoft.com/office/drawing/2014/main" id="{E7072D08-FF31-A8B0-CFC5-C832B4FA76A8}"/>
                </a:ext>
              </a:extLst>
            </p:cNvPr>
            <p:cNvSpPr txBox="1"/>
            <p:nvPr/>
          </p:nvSpPr>
          <p:spPr>
            <a:xfrm rot="16200000">
              <a:off x="-4733" y="4078191"/>
              <a:ext cx="694421" cy="261610"/>
            </a:xfrm>
            <a:prstGeom prst="rect">
              <a:avLst/>
            </a:prstGeom>
            <a:noFill/>
          </p:spPr>
          <p:txBody>
            <a:bodyPr wrap="non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1" i="1">
                  <a:solidFill>
                    <a:schemeClr val="tx1">
                      <a:lumMod val="65000"/>
                      <a:lumOff val="35000"/>
                    </a:schemeClr>
                  </a:solidFill>
                </a:rPr>
                <a:t>Current</a:t>
              </a:r>
            </a:p>
          </p:txBody>
        </p:sp>
        <p:sp>
          <p:nvSpPr>
            <p:cNvPr id="4143" name="TextBox 175">
              <a:extLst>
                <a:ext uri="{FF2B5EF4-FFF2-40B4-BE49-F238E27FC236}">
                  <a16:creationId xmlns:a16="http://schemas.microsoft.com/office/drawing/2014/main" id="{5BB82E0C-5261-15AD-8CD9-87702F36EB22}"/>
                </a:ext>
              </a:extLst>
            </p:cNvPr>
            <p:cNvSpPr txBox="1"/>
            <p:nvPr/>
          </p:nvSpPr>
          <p:spPr>
            <a:xfrm rot="16200000">
              <a:off x="5594314" y="4180418"/>
              <a:ext cx="1069524" cy="261610"/>
            </a:xfrm>
            <a:prstGeom prst="rect">
              <a:avLst/>
            </a:prstGeom>
            <a:noFill/>
          </p:spPr>
          <p:txBody>
            <a:bodyPr wrap="non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1" i="1">
                  <a:solidFill>
                    <a:schemeClr val="tx1">
                      <a:lumMod val="65000"/>
                      <a:lumOff val="35000"/>
                    </a:schemeClr>
                  </a:solidFill>
                </a:rPr>
                <a:t>Future vision</a:t>
              </a:r>
            </a:p>
          </p:txBody>
        </p:sp>
        <p:cxnSp>
          <p:nvCxnSpPr>
            <p:cNvPr id="4145" name="Straight Connector 4144">
              <a:extLst>
                <a:ext uri="{FF2B5EF4-FFF2-40B4-BE49-F238E27FC236}">
                  <a16:creationId xmlns:a16="http://schemas.microsoft.com/office/drawing/2014/main" id="{05AC4471-06CB-E3A7-5477-CA6E29580766}"/>
                </a:ext>
              </a:extLst>
            </p:cNvPr>
            <p:cNvCxnSpPr>
              <a:cxnSpLocks/>
            </p:cNvCxnSpPr>
            <p:nvPr/>
          </p:nvCxnSpPr>
          <p:spPr>
            <a:xfrm>
              <a:off x="5951984" y="3789906"/>
              <a:ext cx="0" cy="2276935"/>
            </a:xfrm>
            <a:prstGeom prst="line">
              <a:avLst/>
            </a:prstGeom>
            <a:ln w="12700">
              <a:solidFill>
                <a:schemeClr val="tx1"/>
              </a:solidFill>
              <a:prstDash val="dash"/>
            </a:ln>
          </p:spPr>
          <p:style>
            <a:lnRef idx="1">
              <a:schemeClr val="accent1"/>
            </a:lnRef>
            <a:fillRef idx="0">
              <a:schemeClr val="accent1"/>
            </a:fillRef>
            <a:effectRef idx="0">
              <a:schemeClr val="accent1"/>
            </a:effectRef>
            <a:fontRef idx="minor">
              <a:schemeClr val="tx1"/>
            </a:fontRef>
          </p:style>
        </p:cxnSp>
      </p:grpSp>
      <p:sp>
        <p:nvSpPr>
          <p:cNvPr id="4149" name="TextBox 175">
            <a:extLst>
              <a:ext uri="{FF2B5EF4-FFF2-40B4-BE49-F238E27FC236}">
                <a16:creationId xmlns:a16="http://schemas.microsoft.com/office/drawing/2014/main" id="{07AE1C96-862D-59F0-7B9A-45722E14E5DE}"/>
              </a:ext>
            </a:extLst>
          </p:cNvPr>
          <p:cNvSpPr txBox="1"/>
          <p:nvPr/>
        </p:nvSpPr>
        <p:spPr>
          <a:xfrm>
            <a:off x="119336" y="3429000"/>
            <a:ext cx="2611612" cy="261610"/>
          </a:xfrm>
          <a:prstGeom prst="rect">
            <a:avLst/>
          </a:prstGeom>
          <a:noFill/>
        </p:spPr>
        <p:txBody>
          <a:bodyPr wrap="none" rtlCol="0">
            <a:spAutoFit/>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100" b="1" i="1">
                <a:solidFill>
                  <a:schemeClr val="tx1">
                    <a:lumMod val="65000"/>
                    <a:lumOff val="35000"/>
                  </a:schemeClr>
                </a:solidFill>
              </a:rPr>
              <a:t>SCOR Model Development workflow</a:t>
            </a:r>
          </a:p>
        </p:txBody>
      </p:sp>
    </p:spTree>
    <p:extLst>
      <p:ext uri="{BB962C8B-B14F-4D97-AF65-F5344CB8AC3E}">
        <p14:creationId xmlns:p14="http://schemas.microsoft.com/office/powerpoint/2010/main" val="37291339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8AA264-3261-80AD-8CD1-A3F4A46C90C3}"/>
            </a:ext>
          </a:extLst>
        </p:cNvPr>
        <p:cNvGrpSpPr/>
        <p:nvPr/>
      </p:nvGrpSpPr>
      <p:grpSpPr>
        <a:xfrm>
          <a:off x="0" y="0"/>
          <a:ext cx="0" cy="0"/>
          <a:chOff x="0" y="0"/>
          <a:chExt cx="0" cy="0"/>
        </a:xfrm>
      </p:grpSpPr>
      <p:pic>
        <p:nvPicPr>
          <p:cNvPr id="2" name="Picture 1">
            <a:extLst>
              <a:ext uri="{FF2B5EF4-FFF2-40B4-BE49-F238E27FC236}">
                <a16:creationId xmlns:a16="http://schemas.microsoft.com/office/drawing/2014/main" id="{AFCE582E-13C1-0907-E6EB-5906CA0CB30F}"/>
              </a:ext>
            </a:extLst>
          </p:cNvPr>
          <p:cNvPicPr>
            <a:picLocks noChangeAspect="1"/>
          </p:cNvPicPr>
          <p:nvPr/>
        </p:nvPicPr>
        <p:blipFill>
          <a:blip r:embed="rId2"/>
          <a:stretch>
            <a:fillRect/>
          </a:stretch>
        </p:blipFill>
        <p:spPr>
          <a:xfrm>
            <a:off x="53741" y="0"/>
            <a:ext cx="12084518" cy="6858000"/>
          </a:xfrm>
          <a:prstGeom prst="rect">
            <a:avLst/>
          </a:prstGeom>
        </p:spPr>
      </p:pic>
    </p:spTree>
    <p:extLst>
      <p:ext uri="{BB962C8B-B14F-4D97-AF65-F5344CB8AC3E}">
        <p14:creationId xmlns:p14="http://schemas.microsoft.com/office/powerpoint/2010/main" val="1129953240"/>
      </p:ext>
    </p:extLst>
  </p:cSld>
  <p:clrMapOvr>
    <a:masterClrMapping/>
  </p:clrMapOvr>
  <p:transition spd="slow"/>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2D3619-DE2A-F46B-C546-8DF318ECA718}"/>
            </a:ext>
          </a:extLst>
        </p:cNvPr>
        <p:cNvGrpSpPr/>
        <p:nvPr/>
      </p:nvGrpSpPr>
      <p:grpSpPr>
        <a:xfrm>
          <a:off x="0" y="0"/>
          <a:ext cx="0" cy="0"/>
          <a:chOff x="0" y="0"/>
          <a:chExt cx="0" cy="0"/>
        </a:xfrm>
      </p:grpSpPr>
      <p:pic>
        <p:nvPicPr>
          <p:cNvPr id="3" name="Picture 2">
            <a:extLst>
              <a:ext uri="{FF2B5EF4-FFF2-40B4-BE49-F238E27FC236}">
                <a16:creationId xmlns:a16="http://schemas.microsoft.com/office/drawing/2014/main" id="{11F2CF22-8F12-9F8D-8B75-8376306EE394}"/>
              </a:ext>
            </a:extLst>
          </p:cNvPr>
          <p:cNvPicPr>
            <a:picLocks noChangeAspect="1"/>
          </p:cNvPicPr>
          <p:nvPr/>
        </p:nvPicPr>
        <p:blipFill>
          <a:blip r:embed="rId2"/>
          <a:stretch>
            <a:fillRect/>
          </a:stretch>
        </p:blipFill>
        <p:spPr>
          <a:xfrm>
            <a:off x="0" y="9115"/>
            <a:ext cx="12192000" cy="6839770"/>
          </a:xfrm>
          <a:prstGeom prst="rect">
            <a:avLst/>
          </a:prstGeom>
        </p:spPr>
      </p:pic>
    </p:spTree>
    <p:extLst>
      <p:ext uri="{BB962C8B-B14F-4D97-AF65-F5344CB8AC3E}">
        <p14:creationId xmlns:p14="http://schemas.microsoft.com/office/powerpoint/2010/main" val="4272587385"/>
      </p:ext>
    </p:extLst>
  </p:cSld>
  <p:clrMapOvr>
    <a:masterClrMapping/>
  </p:clrMapOvr>
  <p:transition spd="slow"/>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descr="A desert landscape with a city and a stream&#10;&#10;AI-generated content may be incorrect.">
            <a:extLst>
              <a:ext uri="{FF2B5EF4-FFF2-40B4-BE49-F238E27FC236}">
                <a16:creationId xmlns:a16="http://schemas.microsoft.com/office/drawing/2014/main" id="{1AFFCBA0-A3C0-8EE3-3F11-2D6D3E4ACE68}"/>
              </a:ext>
            </a:extLst>
          </p:cNvPr>
          <p:cNvPicPr>
            <a:picLocks noGrp="1" noChangeAspect="1"/>
          </p:cNvPicPr>
          <p:nvPr>
            <p:ph type="pic" sz="quarter" idx="12"/>
          </p:nvPr>
        </p:nvPicPr>
        <p:blipFill>
          <a:blip r:embed="rId2">
            <a:extLst>
              <a:ext uri="{28A0092B-C50C-407E-A947-70E740481C1C}">
                <a14:useLocalDpi xmlns:a14="http://schemas.microsoft.com/office/drawing/2010/main" val="0"/>
              </a:ext>
            </a:extLst>
          </a:blip>
          <a:srcRect l="372" r="372"/>
          <a:stretch>
            <a:fillRect/>
          </a:stretch>
        </p:blipFill>
        <p:spPr/>
      </p:pic>
      <p:sp>
        <p:nvSpPr>
          <p:cNvPr id="5" name="Title 4">
            <a:extLst>
              <a:ext uri="{FF2B5EF4-FFF2-40B4-BE49-F238E27FC236}">
                <a16:creationId xmlns:a16="http://schemas.microsoft.com/office/drawing/2014/main" id="{7B59C193-7843-17F2-706F-74CF17D98F36}"/>
              </a:ext>
            </a:extLst>
          </p:cNvPr>
          <p:cNvSpPr>
            <a:spLocks noGrp="1"/>
          </p:cNvSpPr>
          <p:nvPr>
            <p:ph type="ctrTitle"/>
          </p:nvPr>
        </p:nvSpPr>
        <p:spPr/>
        <p:txBody>
          <a:bodyPr/>
          <a:lstStyle/>
          <a:p>
            <a:r>
              <a:rPr lang="en-GB"/>
              <a:t>Accelerating Innovation At Aviva with OASIS</a:t>
            </a:r>
          </a:p>
        </p:txBody>
      </p:sp>
      <p:sp>
        <p:nvSpPr>
          <p:cNvPr id="6" name="Subtitle 5">
            <a:extLst>
              <a:ext uri="{FF2B5EF4-FFF2-40B4-BE49-F238E27FC236}">
                <a16:creationId xmlns:a16="http://schemas.microsoft.com/office/drawing/2014/main" id="{25A4AD61-AB36-71CD-BF76-3F5F25E77536}"/>
              </a:ext>
            </a:extLst>
          </p:cNvPr>
          <p:cNvSpPr>
            <a:spLocks noGrp="1"/>
          </p:cNvSpPr>
          <p:nvPr>
            <p:ph type="subTitle" idx="1"/>
          </p:nvPr>
        </p:nvSpPr>
        <p:spPr>
          <a:xfrm>
            <a:off x="426379" y="5217341"/>
            <a:ext cx="4702977" cy="550370"/>
          </a:xfrm>
        </p:spPr>
        <p:txBody>
          <a:bodyPr/>
          <a:lstStyle/>
          <a:p>
            <a:r>
              <a:rPr lang="en-GB"/>
              <a:t>Tom Hughes</a:t>
            </a:r>
          </a:p>
        </p:txBody>
      </p:sp>
    </p:spTree>
    <p:extLst>
      <p:ext uri="{BB962C8B-B14F-4D97-AF65-F5344CB8AC3E}">
        <p14:creationId xmlns:p14="http://schemas.microsoft.com/office/powerpoint/2010/main" val="849107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867455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C1BED46-98BB-FBF0-15BF-3D14EC2C1743}"/>
              </a:ext>
            </a:extLst>
          </p:cNvPr>
          <p:cNvSpPr>
            <a:spLocks noGrp="1"/>
          </p:cNvSpPr>
          <p:nvPr>
            <p:ph type="body" sz="quarter" idx="18"/>
          </p:nvPr>
        </p:nvSpPr>
        <p:spPr>
          <a:xfrm>
            <a:off x="748445" y="1562154"/>
            <a:ext cx="4252239" cy="4554577"/>
          </a:xfrm>
        </p:spPr>
        <p:txBody>
          <a:bodyPr/>
          <a:lstStyle/>
          <a:p>
            <a:r>
              <a:rPr lang="en-GB"/>
              <a:t>Oasis conference </a:t>
            </a:r>
          </a:p>
          <a:p>
            <a:pPr lvl="1"/>
            <a:r>
              <a:rPr lang="en-GB"/>
              <a:t>Zurich</a:t>
            </a:r>
          </a:p>
          <a:p>
            <a:pPr lvl="2"/>
            <a:r>
              <a:rPr lang="en-GB"/>
              <a:t>19</a:t>
            </a:r>
            <a:r>
              <a:rPr lang="en-GB" baseline="30000"/>
              <a:t>th</a:t>
            </a:r>
            <a:r>
              <a:rPr lang="en-GB"/>
              <a:t> June 2025</a:t>
            </a:r>
          </a:p>
          <a:p>
            <a:endParaRPr lang="en-GB"/>
          </a:p>
        </p:txBody>
      </p:sp>
    </p:spTree>
    <p:extLst>
      <p:ext uri="{BB962C8B-B14F-4D97-AF65-F5344CB8AC3E}">
        <p14:creationId xmlns:p14="http://schemas.microsoft.com/office/powerpoint/2010/main" val="14019062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C38BF-26F4-C4E4-3BB6-0224D5D7B43A}"/>
              </a:ext>
            </a:extLst>
          </p:cNvPr>
          <p:cNvSpPr>
            <a:spLocks noGrp="1"/>
          </p:cNvSpPr>
          <p:nvPr>
            <p:ph type="title"/>
          </p:nvPr>
        </p:nvSpPr>
        <p:spPr/>
        <p:txBody>
          <a:bodyPr/>
          <a:lstStyle/>
          <a:p>
            <a:r>
              <a:rPr lang="en-US"/>
              <a:t>Impact Forecasting – Taking Part of Oasis Community</a:t>
            </a:r>
          </a:p>
        </p:txBody>
      </p:sp>
      <p:sp>
        <p:nvSpPr>
          <p:cNvPr id="37" name="Content Placeholder 12">
            <a:extLst>
              <a:ext uri="{FF2B5EF4-FFF2-40B4-BE49-F238E27FC236}">
                <a16:creationId xmlns:a16="http://schemas.microsoft.com/office/drawing/2014/main" id="{CA10A926-D217-493D-BA02-BA4016D2B9CC}"/>
              </a:ext>
            </a:extLst>
          </p:cNvPr>
          <p:cNvSpPr txBox="1">
            <a:spLocks/>
          </p:cNvSpPr>
          <p:nvPr/>
        </p:nvSpPr>
        <p:spPr>
          <a:xfrm>
            <a:off x="1142282" y="3102252"/>
            <a:ext cx="2448944" cy="2516038"/>
          </a:xfrm>
          <a:prstGeom prst="rect">
            <a:avLst/>
          </a:prstGeom>
          <a:solidFill>
            <a:schemeClr val="accent5"/>
          </a:solidFill>
        </p:spPr>
        <p:txBody>
          <a:bodyPr vert="horz" lIns="82932" tIns="82932" rIns="82932" bIns="82932" rtlCol="0">
            <a:noAutofit/>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r>
              <a:rPr kumimoji="0" lang="en-US" sz="15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rPr>
              <a:t>Using and enhancing the Oasis model definition format</a:t>
            </a:r>
          </a:p>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endParaRPr kumimoji="0" lang="en-US" sz="15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endParaRPr>
          </a:p>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r>
              <a:rPr kumimoji="0" lang="en-US" sz="15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rPr>
              <a:t>Using ODS to standardise property characteristics </a:t>
            </a:r>
          </a:p>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endParaRPr kumimoji="0" lang="en-US" sz="11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endParaRPr>
          </a:p>
        </p:txBody>
      </p:sp>
      <p:sp>
        <p:nvSpPr>
          <p:cNvPr id="38" name="Content Placeholder 12">
            <a:extLst>
              <a:ext uri="{FF2B5EF4-FFF2-40B4-BE49-F238E27FC236}">
                <a16:creationId xmlns:a16="http://schemas.microsoft.com/office/drawing/2014/main" id="{5394E3F2-6064-DCF9-6C80-E3388FF34229}"/>
              </a:ext>
            </a:extLst>
          </p:cNvPr>
          <p:cNvSpPr txBox="1">
            <a:spLocks/>
          </p:cNvSpPr>
          <p:nvPr/>
        </p:nvSpPr>
        <p:spPr>
          <a:xfrm>
            <a:off x="3814097" y="3102248"/>
            <a:ext cx="2448944" cy="2516042"/>
          </a:xfrm>
          <a:prstGeom prst="rect">
            <a:avLst/>
          </a:prstGeom>
          <a:solidFill>
            <a:schemeClr val="accent5"/>
          </a:solidFill>
        </p:spPr>
        <p:txBody>
          <a:bodyPr vert="horz" lIns="82932" tIns="82932" rIns="82932" bIns="82932" rtlCol="0">
            <a:noAutofit/>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r>
              <a:rPr kumimoji="0" lang="en-US" sz="15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rPr>
              <a:t>Our models deployed via Oasis LMF via different channels</a:t>
            </a:r>
          </a:p>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endParaRPr kumimoji="0" lang="en-US" sz="15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endParaRPr>
          </a:p>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r>
              <a:rPr kumimoji="0" lang="en-US" sz="15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rPr>
              <a:t>Not suing Complex Model Wrapper </a:t>
            </a:r>
          </a:p>
        </p:txBody>
      </p:sp>
      <p:sp>
        <p:nvSpPr>
          <p:cNvPr id="39" name="Content Placeholder 12">
            <a:extLst>
              <a:ext uri="{FF2B5EF4-FFF2-40B4-BE49-F238E27FC236}">
                <a16:creationId xmlns:a16="http://schemas.microsoft.com/office/drawing/2014/main" id="{D49E28D1-65FF-2919-8E7D-F481659E0656}"/>
              </a:ext>
            </a:extLst>
          </p:cNvPr>
          <p:cNvSpPr txBox="1">
            <a:spLocks/>
          </p:cNvSpPr>
          <p:nvPr/>
        </p:nvSpPr>
        <p:spPr>
          <a:xfrm>
            <a:off x="6496258" y="3102247"/>
            <a:ext cx="2448944" cy="2516043"/>
          </a:xfrm>
          <a:prstGeom prst="rect">
            <a:avLst/>
          </a:prstGeom>
          <a:solidFill>
            <a:schemeClr val="accent5"/>
          </a:solidFill>
        </p:spPr>
        <p:txBody>
          <a:bodyPr vert="horz" lIns="82932" tIns="82932" rIns="82932" bIns="82932" rtlCol="0">
            <a:noAutofit/>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r>
              <a:rPr kumimoji="0" lang="en-US" sz="15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rPr>
              <a:t>IF deploying Oasis compatible models to Aon and clients</a:t>
            </a:r>
          </a:p>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endParaRPr kumimoji="0" lang="en-US" sz="15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endParaRPr>
          </a:p>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r>
              <a:rPr kumimoji="0" lang="en-US" sz="15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rPr>
              <a:t>ERN, JBA and others </a:t>
            </a:r>
          </a:p>
        </p:txBody>
      </p:sp>
      <p:sp>
        <p:nvSpPr>
          <p:cNvPr id="40" name="Content Placeholder 12">
            <a:extLst>
              <a:ext uri="{FF2B5EF4-FFF2-40B4-BE49-F238E27FC236}">
                <a16:creationId xmlns:a16="http://schemas.microsoft.com/office/drawing/2014/main" id="{38DAB4E5-9823-E01F-535A-53023B471CFB}"/>
              </a:ext>
            </a:extLst>
          </p:cNvPr>
          <p:cNvSpPr txBox="1">
            <a:spLocks/>
          </p:cNvSpPr>
          <p:nvPr/>
        </p:nvSpPr>
        <p:spPr>
          <a:xfrm>
            <a:off x="9179356" y="3102246"/>
            <a:ext cx="2448944" cy="2516038"/>
          </a:xfrm>
          <a:prstGeom prst="rect">
            <a:avLst/>
          </a:prstGeom>
          <a:solidFill>
            <a:schemeClr val="accent5"/>
          </a:solidFill>
        </p:spPr>
        <p:txBody>
          <a:bodyPr vert="horz" lIns="82932" tIns="82932" rIns="82932" bIns="82932" rtlCol="0" anchor="t">
            <a:noAutofit/>
          </a:bodyPr>
          <a:lstStyle>
            <a:lvl1pPr marL="0" indent="0" algn="l" defTabSz="802072" rtl="0" eaLnBrk="1" latinLnBrk="0" hangingPunct="1">
              <a:lnSpc>
                <a:spcPct val="100000"/>
              </a:lnSpc>
              <a:spcBef>
                <a:spcPts val="600"/>
              </a:spcBef>
              <a:spcAft>
                <a:spcPts val="600"/>
              </a:spcAft>
              <a:buFont typeface="Arial" panose="020B0604020202020204" pitchFamily="34" charset="0"/>
              <a:buNone/>
              <a:tabLst/>
              <a:defRPr sz="1400" b="1" i="0" kern="1200">
                <a:solidFill>
                  <a:schemeClr val="tx1"/>
                </a:solidFill>
                <a:latin typeface="Helvetica Now Text" panose="020B0504030202020204" pitchFamily="34" charset="77"/>
                <a:ea typeface="+mn-ea"/>
                <a:cs typeface="+mn-cs"/>
              </a:defRPr>
            </a:lvl1pPr>
            <a:lvl2pPr marL="0" indent="0" algn="l" defTabSz="802072" rtl="0" eaLnBrk="1" latinLnBrk="0" hangingPunct="1">
              <a:lnSpc>
                <a:spcPct val="100000"/>
              </a:lnSpc>
              <a:spcBef>
                <a:spcPts val="0"/>
              </a:spcBef>
              <a:spcAft>
                <a:spcPts val="600"/>
              </a:spcAft>
              <a:buFont typeface="Arial" panose="020B0604020202020204" pitchFamily="34" charset="0"/>
              <a:buNone/>
              <a:tabLst/>
              <a:defRPr sz="1100" b="0" i="0" kern="1200">
                <a:solidFill>
                  <a:schemeClr val="tx1"/>
                </a:solidFill>
                <a:latin typeface="Helvetica Now Text" panose="020B0504030202020204" pitchFamily="34" charset="77"/>
                <a:ea typeface="+mn-ea"/>
                <a:cs typeface="+mn-cs"/>
              </a:defRPr>
            </a:lvl2pPr>
            <a:lvl3pPr marL="180975" indent="-180975" algn="l" defTabSz="802072" rtl="0" eaLnBrk="1" latinLnBrk="0" hangingPunct="1">
              <a:lnSpc>
                <a:spcPct val="100000"/>
              </a:lnSpc>
              <a:spcBef>
                <a:spcPts val="0"/>
              </a:spcBef>
              <a:spcAft>
                <a:spcPts val="600"/>
              </a:spcAft>
              <a:buClr>
                <a:schemeClr val="tx1"/>
              </a:buClr>
              <a:buFont typeface="Wingdings 2" panose="05020102010507070707" pitchFamily="18" charset="2"/>
              <a:buChar char=""/>
              <a:tabLst/>
              <a:defRPr sz="1100" b="0" i="0" kern="1200">
                <a:solidFill>
                  <a:schemeClr val="tx1"/>
                </a:solidFill>
                <a:latin typeface="Helvetica Now Text" panose="020B0504030202020204" pitchFamily="34" charset="77"/>
                <a:ea typeface="+mn-ea"/>
                <a:cs typeface="+mn-cs"/>
              </a:defRPr>
            </a:lvl3pPr>
            <a:lvl4pPr marL="360363" indent="-179388" algn="l" defTabSz="802072" rtl="0" eaLnBrk="1" latinLnBrk="0" hangingPunct="1">
              <a:lnSpc>
                <a:spcPct val="100000"/>
              </a:lnSpc>
              <a:spcBef>
                <a:spcPts val="0"/>
              </a:spcBef>
              <a:spcAft>
                <a:spcPts val="600"/>
              </a:spcAft>
              <a:buClr>
                <a:schemeClr val="tx1"/>
              </a:buClr>
              <a:buSzPct val="80000"/>
              <a:buFont typeface="System Font Regular"/>
              <a:buChar char="○"/>
              <a:tabLst/>
              <a:defRPr sz="1100" b="0" i="0" kern="1200">
                <a:solidFill>
                  <a:schemeClr val="tx1"/>
                </a:solidFill>
                <a:latin typeface="Helvetica Now Text" panose="020B0504030202020204" pitchFamily="34" charset="77"/>
                <a:ea typeface="+mn-ea"/>
                <a:cs typeface="+mn-cs"/>
              </a:defRPr>
            </a:lvl4pPr>
            <a:lvl5pPr marL="541338" indent="-180975" algn="l" defTabSz="802072" rtl="0" eaLnBrk="1" latinLnBrk="0" hangingPunct="1">
              <a:lnSpc>
                <a:spcPct val="100000"/>
              </a:lnSpc>
              <a:spcBef>
                <a:spcPts val="0"/>
              </a:spcBef>
              <a:spcAft>
                <a:spcPts val="600"/>
              </a:spcAft>
              <a:buClr>
                <a:schemeClr val="tx1"/>
              </a:buClr>
              <a:buFont typeface="System Font Regular"/>
              <a:buChar char="—"/>
              <a:tabLst/>
              <a:defRPr sz="1100" b="0" i="0" kern="1200">
                <a:solidFill>
                  <a:schemeClr val="tx1"/>
                </a:solidFill>
                <a:latin typeface="Helvetica Now Text" panose="020B0504030202020204" pitchFamily="34" charset="77"/>
                <a:ea typeface="+mn-ea"/>
                <a:cs typeface="+mn-cs"/>
              </a:defRPr>
            </a:lvl5pPr>
            <a:lvl6pPr marL="526107" indent="-116975" algn="l" defTabSz="802072" rtl="0" eaLnBrk="1" latinLnBrk="0" hangingPunct="1">
              <a:lnSpc>
                <a:spcPct val="117000"/>
              </a:lnSpc>
              <a:spcBef>
                <a:spcPts val="0"/>
              </a:spcBef>
              <a:buClr>
                <a:schemeClr val="tx1"/>
              </a:buClr>
              <a:buFont typeface="System Font Regular"/>
              <a:buChar char="–"/>
              <a:tabLst/>
              <a:defRPr sz="877" b="0" i="0" kern="1200">
                <a:solidFill>
                  <a:schemeClr val="tx1"/>
                </a:solidFill>
                <a:latin typeface="Helvetica Now Text" panose="020B0504030202020204" pitchFamily="34" charset="77"/>
                <a:ea typeface="+mn-ea"/>
                <a:cs typeface="+mn-cs"/>
              </a:defRPr>
            </a:lvl6pPr>
            <a:lvl7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7pPr>
            <a:lvl8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8pPr>
            <a:lvl9pPr marL="0" indent="0" algn="l" defTabSz="802072" rtl="0" eaLnBrk="1" latinLnBrk="0" hangingPunct="1">
              <a:lnSpc>
                <a:spcPct val="117000"/>
              </a:lnSpc>
              <a:spcBef>
                <a:spcPts val="0"/>
              </a:spcBef>
              <a:buFont typeface="Arial" panose="020B0604020202020204" pitchFamily="34" charset="0"/>
              <a:buNone/>
              <a:tabLst/>
              <a:defRPr sz="877" b="0" i="0" kern="1200">
                <a:solidFill>
                  <a:schemeClr val="tx1"/>
                </a:solidFill>
                <a:latin typeface="Helvetica Now Text" panose="020B0504030202020204" pitchFamily="34" charset="77"/>
                <a:ea typeface="+mn-ea"/>
                <a:cs typeface="+mn-cs"/>
              </a:defRPr>
            </a:lvl9pPr>
          </a:lstStyle>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r>
              <a:rPr kumimoji="0" lang="en-US" sz="15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rPr>
              <a:t>IF involved in the Oasis community from the beginning</a:t>
            </a:r>
          </a:p>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endParaRPr kumimoji="0" lang="en-US" sz="15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endParaRPr>
          </a:p>
          <a:p>
            <a:pPr marL="180921" marR="0" lvl="2" indent="-180921" algn="l" defTabSz="801831" rtl="0" eaLnBrk="1" fontAlgn="auto" latinLnBrk="0" hangingPunct="1">
              <a:lnSpc>
                <a:spcPct val="100000"/>
              </a:lnSpc>
              <a:spcBef>
                <a:spcPts val="0"/>
              </a:spcBef>
              <a:spcAft>
                <a:spcPts val="600"/>
              </a:spcAft>
              <a:buClr>
                <a:srgbClr val="000000"/>
              </a:buClr>
              <a:buSzTx/>
              <a:buFont typeface="Wingdings 2" panose="05020102010507070707" pitchFamily="18" charset="2"/>
              <a:buChar char=""/>
              <a:tabLst/>
              <a:defRPr/>
            </a:pPr>
            <a:r>
              <a:rPr kumimoji="0" lang="en-US" sz="1500" b="0" i="0" u="none" strike="noStrike" kern="1200" cap="none" spc="0" normalizeH="0" baseline="0" noProof="0">
                <a:ln>
                  <a:noFill/>
                </a:ln>
                <a:solidFill>
                  <a:srgbClr val="000000"/>
                </a:solidFill>
                <a:effectLst/>
                <a:uLnTx/>
                <a:uFillTx/>
                <a:latin typeface="Helvetica Now Text" panose="020B0504030202020204" pitchFamily="34" charset="77"/>
                <a:ea typeface="+mn-ea"/>
                <a:cs typeface="+mn-cs"/>
              </a:rPr>
              <a:t>Took significant part in Oasis Dynamic Footprint development </a:t>
            </a:r>
          </a:p>
        </p:txBody>
      </p:sp>
      <p:sp>
        <p:nvSpPr>
          <p:cNvPr id="41" name="Arrow: Right 40">
            <a:extLst>
              <a:ext uri="{FF2B5EF4-FFF2-40B4-BE49-F238E27FC236}">
                <a16:creationId xmlns:a16="http://schemas.microsoft.com/office/drawing/2014/main" id="{997D8946-44AF-E639-7B67-0773E8A19AAD}"/>
              </a:ext>
            </a:extLst>
          </p:cNvPr>
          <p:cNvSpPr/>
          <p:nvPr/>
        </p:nvSpPr>
        <p:spPr>
          <a:xfrm>
            <a:off x="1142282" y="2080534"/>
            <a:ext cx="10667900" cy="468288"/>
          </a:xfrm>
          <a:prstGeom prst="rightArrow">
            <a:avLst>
              <a:gd name="adj1" fmla="val 53884"/>
              <a:gd name="adj2" fmla="val 50000"/>
            </a:avLst>
          </a:prstGeom>
          <a:solidFill>
            <a:srgbClr val="00758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63" rtl="0" eaLnBrk="1" fontAlgn="auto" latinLnBrk="0" hangingPunct="1">
              <a:lnSpc>
                <a:spcPct val="100000"/>
              </a:lnSpc>
              <a:spcBef>
                <a:spcPts val="0"/>
              </a:spcBef>
              <a:spcAft>
                <a:spcPts val="0"/>
              </a:spcAft>
              <a:buClrTx/>
              <a:buSzTx/>
              <a:buFontTx/>
              <a:buNone/>
              <a:tabLst/>
              <a:defRPr/>
            </a:pPr>
            <a:endParaRPr kumimoji="0" lang="en-US" sz="998" b="1" i="0" u="none" strike="noStrike" kern="1200" cap="none" spc="0" normalizeH="0" baseline="0" noProof="0">
              <a:ln>
                <a:noFill/>
              </a:ln>
              <a:solidFill>
                <a:srgbClr val="000000"/>
              </a:solidFill>
              <a:effectLst/>
              <a:uLnTx/>
              <a:uFillTx/>
              <a:latin typeface="Helvetica Now Text"/>
              <a:ea typeface="+mn-ea"/>
              <a:cs typeface="+mn-cs"/>
            </a:endParaRPr>
          </a:p>
        </p:txBody>
      </p:sp>
      <p:sp>
        <p:nvSpPr>
          <p:cNvPr id="42" name="Oval 41">
            <a:extLst>
              <a:ext uri="{FF2B5EF4-FFF2-40B4-BE49-F238E27FC236}">
                <a16:creationId xmlns:a16="http://schemas.microsoft.com/office/drawing/2014/main" id="{042B35C3-CB22-4354-E674-DF5F744A3D10}"/>
              </a:ext>
            </a:extLst>
          </p:cNvPr>
          <p:cNvSpPr>
            <a:spLocks/>
          </p:cNvSpPr>
          <p:nvPr/>
        </p:nvSpPr>
        <p:spPr bwMode="auto">
          <a:xfrm>
            <a:off x="1720863" y="1698721"/>
            <a:ext cx="1270153" cy="1243586"/>
          </a:xfrm>
          <a:prstGeom prst="ellipse">
            <a:avLst/>
          </a:prstGeom>
          <a:solidFill>
            <a:schemeClr val="bg1"/>
          </a:solidFill>
          <a:ln w="127000" cap="flat" cmpd="sng" algn="ctr">
            <a:solidFill>
              <a:srgbClr val="12A88A"/>
            </a:solidFill>
            <a:prstDash val="solid"/>
            <a:round/>
            <a:headEnd type="none" w="med" len="med"/>
            <a:tailEnd type="none" w="med" len="med"/>
          </a:ln>
          <a:effectLst/>
        </p:spPr>
        <p:txBody>
          <a:bodyPr wrap="none" lIns="61322" tIns="30661" rIns="61322" bIns="30661" anchor="ctr">
            <a:noAutofit/>
          </a:bodyPr>
          <a:lstStyle/>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The </a:t>
            </a:r>
          </a:p>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Model</a:t>
            </a:r>
          </a:p>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Developer</a:t>
            </a:r>
          </a:p>
        </p:txBody>
      </p:sp>
      <p:sp>
        <p:nvSpPr>
          <p:cNvPr id="43" name="Oval 42">
            <a:extLst>
              <a:ext uri="{FF2B5EF4-FFF2-40B4-BE49-F238E27FC236}">
                <a16:creationId xmlns:a16="http://schemas.microsoft.com/office/drawing/2014/main" id="{BA27F7C7-0D26-CE0E-17CC-24B4D90625E6}"/>
              </a:ext>
            </a:extLst>
          </p:cNvPr>
          <p:cNvSpPr>
            <a:spLocks/>
          </p:cNvSpPr>
          <p:nvPr/>
        </p:nvSpPr>
        <p:spPr bwMode="auto">
          <a:xfrm>
            <a:off x="7086122" y="1698721"/>
            <a:ext cx="1270153" cy="1243586"/>
          </a:xfrm>
          <a:prstGeom prst="ellipse">
            <a:avLst/>
          </a:prstGeom>
          <a:solidFill>
            <a:schemeClr val="bg1"/>
          </a:solidFill>
          <a:ln w="127000" cap="flat" cmpd="sng" algn="ctr">
            <a:solidFill>
              <a:srgbClr val="FF0000"/>
            </a:solidFill>
            <a:prstDash val="solid"/>
            <a:round/>
            <a:headEnd type="none" w="med" len="med"/>
            <a:tailEnd type="none" w="med" len="med"/>
          </a:ln>
          <a:effectLst/>
        </p:spPr>
        <p:txBody>
          <a:bodyPr wrap="none" lIns="61322" tIns="30661" rIns="61322" bIns="30661" anchor="ctr">
            <a:noAutofit/>
          </a:bodyPr>
          <a:lstStyle/>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The </a:t>
            </a:r>
          </a:p>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3</a:t>
            </a:r>
            <a:r>
              <a:rPr kumimoji="0" lang="en-GB" sz="1400" b="1" i="0" u="none" strike="noStrike" kern="1200" cap="none" spc="0" normalizeH="0" baseline="30000" noProof="0">
                <a:ln>
                  <a:noFill/>
                </a:ln>
                <a:solidFill>
                  <a:srgbClr val="000000"/>
                </a:solidFill>
                <a:effectLst/>
                <a:uLnTx/>
                <a:uFillTx/>
                <a:latin typeface="Helvetica Now Text" panose="020B0504030202020204" pitchFamily="34" charset="-18"/>
                <a:ea typeface="+mn-ea"/>
                <a:cs typeface="Arial" charset="0"/>
              </a:rPr>
              <a:t>rd</a:t>
            </a: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 Party </a:t>
            </a:r>
          </a:p>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Model </a:t>
            </a:r>
          </a:p>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Deployer</a:t>
            </a:r>
          </a:p>
        </p:txBody>
      </p:sp>
      <p:sp>
        <p:nvSpPr>
          <p:cNvPr id="44" name="Oval 43">
            <a:extLst>
              <a:ext uri="{FF2B5EF4-FFF2-40B4-BE49-F238E27FC236}">
                <a16:creationId xmlns:a16="http://schemas.microsoft.com/office/drawing/2014/main" id="{9E71A4B9-963E-419A-3F77-4A0D948550CC}"/>
              </a:ext>
            </a:extLst>
          </p:cNvPr>
          <p:cNvSpPr>
            <a:spLocks/>
          </p:cNvSpPr>
          <p:nvPr/>
        </p:nvSpPr>
        <p:spPr bwMode="auto">
          <a:xfrm>
            <a:off x="4403493" y="1698721"/>
            <a:ext cx="1270153" cy="1243586"/>
          </a:xfrm>
          <a:prstGeom prst="ellipse">
            <a:avLst/>
          </a:prstGeom>
          <a:solidFill>
            <a:schemeClr val="bg1"/>
          </a:solidFill>
          <a:ln w="127000" cap="flat" cmpd="sng" algn="ctr">
            <a:solidFill>
              <a:srgbClr val="0055A8"/>
            </a:solidFill>
            <a:prstDash val="solid"/>
            <a:round/>
            <a:headEnd type="none" w="med" len="med"/>
            <a:tailEnd type="none" w="med" len="med"/>
          </a:ln>
          <a:effectLst/>
        </p:spPr>
        <p:txBody>
          <a:bodyPr wrap="none" lIns="61322" tIns="30661" rIns="61322" bIns="30661" anchor="ctr">
            <a:noAutofit/>
          </a:bodyPr>
          <a:lstStyle/>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The </a:t>
            </a:r>
          </a:p>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Model </a:t>
            </a:r>
          </a:p>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Deployer</a:t>
            </a:r>
          </a:p>
        </p:txBody>
      </p:sp>
      <p:sp>
        <p:nvSpPr>
          <p:cNvPr id="45" name="Oval 44">
            <a:extLst>
              <a:ext uri="{FF2B5EF4-FFF2-40B4-BE49-F238E27FC236}">
                <a16:creationId xmlns:a16="http://schemas.microsoft.com/office/drawing/2014/main" id="{53FD48EF-68C1-4210-EAEC-DF2C3014BC16}"/>
              </a:ext>
            </a:extLst>
          </p:cNvPr>
          <p:cNvSpPr>
            <a:spLocks/>
          </p:cNvSpPr>
          <p:nvPr/>
        </p:nvSpPr>
        <p:spPr bwMode="auto">
          <a:xfrm>
            <a:off x="9768752" y="1698721"/>
            <a:ext cx="1270153" cy="1243586"/>
          </a:xfrm>
          <a:prstGeom prst="ellipse">
            <a:avLst/>
          </a:prstGeom>
          <a:solidFill>
            <a:schemeClr val="bg1"/>
          </a:solidFill>
          <a:ln w="127000" cap="flat" cmpd="sng" algn="ctr">
            <a:solidFill>
              <a:srgbClr val="FFA600"/>
            </a:solidFill>
            <a:prstDash val="solid"/>
            <a:round/>
            <a:headEnd type="none" w="med" len="med"/>
            <a:tailEnd type="none" w="med" len="med"/>
          </a:ln>
          <a:effectLst/>
        </p:spPr>
        <p:txBody>
          <a:bodyPr wrap="none" lIns="61322" tIns="30661" rIns="61322" bIns="30661" anchor="ctr">
            <a:noAutofit/>
          </a:bodyPr>
          <a:lstStyle/>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The</a:t>
            </a:r>
          </a:p>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 Community </a:t>
            </a:r>
          </a:p>
          <a:p>
            <a:pPr marL="0" marR="0" lvl="0" indent="0" algn="ctr" defTabSz="667747" rtl="0" eaLnBrk="1" fontAlgn="auto" latinLnBrk="0" hangingPunct="1">
              <a:lnSpc>
                <a:spcPct val="100000"/>
              </a:lnSpc>
              <a:spcBef>
                <a:spcPts val="0"/>
              </a:spcBef>
              <a:spcAft>
                <a:spcPts val="201"/>
              </a:spcAft>
              <a:buClrTx/>
              <a:buSzTx/>
              <a:buFontTx/>
              <a:buNone/>
              <a:tabLst/>
              <a:defRPr/>
            </a:pPr>
            <a:r>
              <a:rPr kumimoji="0" lang="en-GB" sz="1400" b="1" i="0" u="none" strike="noStrike" kern="1200" cap="none" spc="0" normalizeH="0" baseline="0" noProof="0">
                <a:ln>
                  <a:noFill/>
                </a:ln>
                <a:solidFill>
                  <a:srgbClr val="000000"/>
                </a:solidFill>
                <a:effectLst/>
                <a:uLnTx/>
                <a:uFillTx/>
                <a:latin typeface="Helvetica Now Text" panose="020B0504030202020204" pitchFamily="34" charset="-18"/>
                <a:ea typeface="+mn-ea"/>
                <a:cs typeface="Arial" charset="0"/>
              </a:rPr>
              <a:t>Member</a:t>
            </a:r>
          </a:p>
        </p:txBody>
      </p:sp>
    </p:spTree>
    <p:extLst>
      <p:ext uri="{BB962C8B-B14F-4D97-AF65-F5344CB8AC3E}">
        <p14:creationId xmlns:p14="http://schemas.microsoft.com/office/powerpoint/2010/main" val="119610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7">
                                            <p:bg/>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7">
                                            <p:txEl>
                                              <p:pRg st="0" end="0"/>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7">
                                            <p:txEl>
                                              <p:pRg st="2" end="2"/>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8">
                                            <p:bg/>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
                                            <p:txEl>
                                              <p:pRg st="0" end="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38">
                                            <p:txEl>
                                              <p:pRg st="2" end="2"/>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9">
                                            <p:bg/>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9">
                                            <p:txEl>
                                              <p:pRg st="0" end="0"/>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39">
                                            <p:txEl>
                                              <p:pRg st="2" end="2"/>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0">
                                            <p:bg/>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40">
                                            <p:txEl>
                                              <p:pRg st="0" end="0"/>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40">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build="allAtOnce" animBg="1"/>
      <p:bldP spid="38" grpId="0" build="allAtOnce" animBg="1"/>
      <p:bldP spid="39" grpId="0" build="allAtOnce" animBg="1"/>
      <p:bldP spid="40" grpId="0" build="allAtOnce" animBg="1"/>
      <p:bldP spid="42" grpId="0" animBg="1"/>
      <p:bldP spid="43" grpId="0" animBg="1"/>
      <p:bldP spid="44" grpId="0" animBg="1"/>
      <p:bldP spid="45"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C7887D5-A8A8-D9B7-C42B-97E063C3C52D}"/>
              </a:ext>
            </a:extLst>
          </p:cNvPr>
          <p:cNvSpPr>
            <a:spLocks noGrp="1"/>
          </p:cNvSpPr>
          <p:nvPr>
            <p:ph type="sldNum" sz="quarter" idx="12"/>
          </p:nvPr>
        </p:nvSpPr>
        <p:spPr/>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r>
              <a:rPr kumimoji="0" lang="en-GB" sz="1799" b="0" i="0" u="none" strike="noStrike" kern="1200" cap="none" spc="0" normalizeH="0" baseline="0" noProof="0">
                <a:ln>
                  <a:noFill/>
                </a:ln>
                <a:solidFill>
                  <a:srgbClr val="FFFFFF"/>
                </a:solidFill>
                <a:effectLst/>
                <a:uLnTx/>
                <a:uFillTx/>
                <a:latin typeface="Helvetica Now Text"/>
                <a:ea typeface="+mn-ea"/>
                <a:cs typeface="+mn-cs"/>
              </a:rPr>
              <a:t>m</a:t>
            </a:r>
          </a:p>
        </p:txBody>
      </p:sp>
      <p:sp>
        <p:nvSpPr>
          <p:cNvPr id="4" name="Title 3">
            <a:extLst>
              <a:ext uri="{FF2B5EF4-FFF2-40B4-BE49-F238E27FC236}">
                <a16:creationId xmlns:a16="http://schemas.microsoft.com/office/drawing/2014/main" id="{F923B0F8-860D-0946-7595-4EA59550DF5E}"/>
              </a:ext>
            </a:extLst>
          </p:cNvPr>
          <p:cNvSpPr>
            <a:spLocks noGrp="1"/>
          </p:cNvSpPr>
          <p:nvPr>
            <p:ph type="title"/>
          </p:nvPr>
        </p:nvSpPr>
        <p:spPr>
          <a:xfrm>
            <a:off x="1142281" y="468242"/>
            <a:ext cx="10678419" cy="400134"/>
          </a:xfrm>
        </p:spPr>
        <p:txBody>
          <a:bodyPr/>
          <a:lstStyle/>
          <a:p>
            <a:r>
              <a:rPr lang="en-GB"/>
              <a:t>An Increasing Number of </a:t>
            </a:r>
            <a:r>
              <a:rPr lang="en-US"/>
              <a:t>Ways </a:t>
            </a:r>
            <a:r>
              <a:rPr lang="en-GB"/>
              <a:t>to Access</a:t>
            </a:r>
            <a:r>
              <a:rPr lang="en-US"/>
              <a:t> Catastrophe Models</a:t>
            </a:r>
            <a:endParaRPr lang="cs-CZ"/>
          </a:p>
        </p:txBody>
      </p:sp>
      <p:graphicFrame>
        <p:nvGraphicFramePr>
          <p:cNvPr id="7" name="Content Placeholder 6">
            <a:extLst>
              <a:ext uri="{FF2B5EF4-FFF2-40B4-BE49-F238E27FC236}">
                <a16:creationId xmlns:a16="http://schemas.microsoft.com/office/drawing/2014/main" id="{CFE7AAC1-BE5A-7199-569B-EB2FB5CAABE1}"/>
              </a:ext>
            </a:extLst>
          </p:cNvPr>
          <p:cNvGraphicFramePr>
            <a:graphicFrameLocks noGrp="1"/>
          </p:cNvGraphicFramePr>
          <p:nvPr>
            <p:ph sz="quarter" idx="14"/>
          </p:nvPr>
        </p:nvGraphicFramePr>
        <p:xfrm>
          <a:off x="2572113" y="1596161"/>
          <a:ext cx="9238069" cy="443852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pSp>
        <p:nvGrpSpPr>
          <p:cNvPr id="3" name="Group 2">
            <a:extLst>
              <a:ext uri="{FF2B5EF4-FFF2-40B4-BE49-F238E27FC236}">
                <a16:creationId xmlns:a16="http://schemas.microsoft.com/office/drawing/2014/main" id="{AD8F0D3B-8A57-877B-B6F8-63D1E93C448B}"/>
              </a:ext>
            </a:extLst>
          </p:cNvPr>
          <p:cNvGrpSpPr/>
          <p:nvPr/>
        </p:nvGrpSpPr>
        <p:grpSpPr>
          <a:xfrm>
            <a:off x="10516407" y="5049518"/>
            <a:ext cx="1327417" cy="289741"/>
            <a:chOff x="2447" y="2287670"/>
            <a:chExt cx="3126061" cy="1008032"/>
          </a:xfrm>
          <a:noFill/>
        </p:grpSpPr>
        <p:sp>
          <p:nvSpPr>
            <p:cNvPr id="6" name="Rectangle: Rounded Corners 5">
              <a:extLst>
                <a:ext uri="{FF2B5EF4-FFF2-40B4-BE49-F238E27FC236}">
                  <a16:creationId xmlns:a16="http://schemas.microsoft.com/office/drawing/2014/main" id="{CA2568EE-F2D8-1E00-163A-0D3E90536FC0}"/>
                </a:ext>
              </a:extLst>
            </p:cNvPr>
            <p:cNvSpPr/>
            <p:nvPr/>
          </p:nvSpPr>
          <p:spPr>
            <a:xfrm>
              <a:off x="2447" y="2287670"/>
              <a:ext cx="3126061" cy="1008032"/>
            </a:xfrm>
            <a:prstGeom prst="roundRect">
              <a:avLst>
                <a:gd name="adj" fmla="val 10000"/>
              </a:avLst>
            </a:prstGeom>
            <a:solidFill>
              <a:schemeClr val="bg1">
                <a:lumMod val="85000"/>
              </a:schemeClr>
            </a:solidFill>
            <a:ln w="28575">
              <a:noFill/>
              <a:prstDash val="solid"/>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cs-CZ" sz="1400" b="0" i="0" u="none" strike="noStrike" kern="1200" cap="none" spc="0" normalizeH="0" baseline="0" noProof="0">
                <a:ln>
                  <a:noFill/>
                </a:ln>
                <a:solidFill>
                  <a:srgbClr val="FFFFFF"/>
                </a:solidFill>
                <a:effectLst/>
                <a:uLnTx/>
                <a:uFillTx/>
                <a:latin typeface="Helvetica Now Text"/>
                <a:ea typeface="+mn-ea"/>
                <a:cs typeface="+mn-cs"/>
              </a:endParaRPr>
            </a:p>
          </p:txBody>
        </p:sp>
        <p:sp>
          <p:nvSpPr>
            <p:cNvPr id="8" name="Rectangle: Rounded Corners 4">
              <a:extLst>
                <a:ext uri="{FF2B5EF4-FFF2-40B4-BE49-F238E27FC236}">
                  <a16:creationId xmlns:a16="http://schemas.microsoft.com/office/drawing/2014/main" id="{4F904AA8-223F-E29A-126C-1F183661F23B}"/>
                </a:ext>
              </a:extLst>
            </p:cNvPr>
            <p:cNvSpPr txBox="1"/>
            <p:nvPr/>
          </p:nvSpPr>
          <p:spPr>
            <a:xfrm>
              <a:off x="61495" y="2342704"/>
              <a:ext cx="3067013" cy="948984"/>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60944" tIns="60944" rIns="60944" bIns="60944" numCol="1" spcCol="1270" anchor="ctr" anchorCtr="0">
              <a:noAutofit/>
            </a:bodyPr>
            <a:lstStyle/>
            <a:p>
              <a:pPr marL="0" marR="0" lvl="0" indent="0" algn="ctr" defTabSz="710987"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Helvetica Now Text"/>
                  <a:ea typeface="+mn-ea"/>
                  <a:cs typeface="+mn-cs"/>
                </a:rPr>
                <a:t>Engine provider</a:t>
              </a:r>
            </a:p>
          </p:txBody>
        </p:sp>
      </p:grpSp>
      <p:grpSp>
        <p:nvGrpSpPr>
          <p:cNvPr id="14" name="Group 13">
            <a:extLst>
              <a:ext uri="{FF2B5EF4-FFF2-40B4-BE49-F238E27FC236}">
                <a16:creationId xmlns:a16="http://schemas.microsoft.com/office/drawing/2014/main" id="{A5E69ECA-F748-034E-CBC9-E09011AB061C}"/>
              </a:ext>
            </a:extLst>
          </p:cNvPr>
          <p:cNvGrpSpPr/>
          <p:nvPr/>
        </p:nvGrpSpPr>
        <p:grpSpPr>
          <a:xfrm>
            <a:off x="10507838" y="5372946"/>
            <a:ext cx="1335986" cy="307769"/>
            <a:chOff x="10510574" y="5498123"/>
            <a:chExt cx="1336334" cy="504016"/>
          </a:xfrm>
        </p:grpSpPr>
        <p:sp>
          <p:nvSpPr>
            <p:cNvPr id="9" name="Rectangle: Rounded Corners 8">
              <a:extLst>
                <a:ext uri="{FF2B5EF4-FFF2-40B4-BE49-F238E27FC236}">
                  <a16:creationId xmlns:a16="http://schemas.microsoft.com/office/drawing/2014/main" id="{480C8C82-3E3D-6BAD-652C-A808ED20A759}"/>
                </a:ext>
              </a:extLst>
            </p:cNvPr>
            <p:cNvSpPr/>
            <p:nvPr/>
          </p:nvSpPr>
          <p:spPr>
            <a:xfrm>
              <a:off x="10519145" y="5498123"/>
              <a:ext cx="1327763" cy="504016"/>
            </a:xfrm>
            <a:prstGeom prst="roundRect">
              <a:avLst>
                <a:gd name="adj" fmla="val 10000"/>
              </a:avLst>
            </a:prstGeom>
            <a:noFill/>
            <a:ln w="28575">
              <a:solidFill>
                <a:schemeClr val="bg1">
                  <a:lumMod val="50000"/>
                </a:schemeClr>
              </a:solidFill>
              <a:prstDash val="solid"/>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cs-CZ" sz="1799" b="0" i="0" u="none" strike="noStrike" kern="1200" cap="none" spc="0" normalizeH="0" baseline="0" noProof="0">
                <a:ln>
                  <a:noFill/>
                </a:ln>
                <a:solidFill>
                  <a:srgbClr val="FFFFFF"/>
                </a:solidFill>
                <a:effectLst/>
                <a:uLnTx/>
                <a:uFillTx/>
                <a:latin typeface="Helvetica Now Text"/>
                <a:ea typeface="+mn-ea"/>
                <a:cs typeface="+mn-cs"/>
              </a:endParaRPr>
            </a:p>
          </p:txBody>
        </p:sp>
        <p:sp>
          <p:nvSpPr>
            <p:cNvPr id="13" name="Rectangle: Rounded Corners 4">
              <a:extLst>
                <a:ext uri="{FF2B5EF4-FFF2-40B4-BE49-F238E27FC236}">
                  <a16:creationId xmlns:a16="http://schemas.microsoft.com/office/drawing/2014/main" id="{6125E2FB-8826-28DF-7343-1F18FF500447}"/>
                </a:ext>
              </a:extLst>
            </p:cNvPr>
            <p:cNvSpPr txBox="1"/>
            <p:nvPr/>
          </p:nvSpPr>
          <p:spPr>
            <a:xfrm>
              <a:off x="10510574" y="5515374"/>
              <a:ext cx="1302683" cy="474492"/>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60944" tIns="60944" rIns="60944" bIns="60944" numCol="1" spcCol="1270" anchor="ctr" anchorCtr="0">
              <a:noAutofit/>
            </a:bodyPr>
            <a:lstStyle/>
            <a:p>
              <a:pPr marL="0" marR="0" lvl="0" indent="0" algn="ctr" defTabSz="710987"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Helvetica Now Text"/>
                  <a:ea typeface="+mn-ea"/>
                  <a:cs typeface="+mn-cs"/>
                </a:rPr>
                <a:t>Platform provider</a:t>
              </a:r>
            </a:p>
          </p:txBody>
        </p:sp>
      </p:grpSp>
      <p:grpSp>
        <p:nvGrpSpPr>
          <p:cNvPr id="15" name="Group 14">
            <a:extLst>
              <a:ext uri="{FF2B5EF4-FFF2-40B4-BE49-F238E27FC236}">
                <a16:creationId xmlns:a16="http://schemas.microsoft.com/office/drawing/2014/main" id="{385E7740-9FB3-8CFD-959B-226CBC39ABCC}"/>
              </a:ext>
            </a:extLst>
          </p:cNvPr>
          <p:cNvGrpSpPr/>
          <p:nvPr/>
        </p:nvGrpSpPr>
        <p:grpSpPr>
          <a:xfrm>
            <a:off x="1082507" y="2735746"/>
            <a:ext cx="1372362" cy="1019689"/>
            <a:chOff x="2119" y="1140442"/>
            <a:chExt cx="2707326" cy="1019955"/>
          </a:xfrm>
          <a:solidFill>
            <a:schemeClr val="bg1">
              <a:lumMod val="50000"/>
            </a:schemeClr>
          </a:solidFill>
        </p:grpSpPr>
        <p:sp>
          <p:nvSpPr>
            <p:cNvPr id="16" name="Rectangle: Rounded Corners 15">
              <a:extLst>
                <a:ext uri="{FF2B5EF4-FFF2-40B4-BE49-F238E27FC236}">
                  <a16:creationId xmlns:a16="http://schemas.microsoft.com/office/drawing/2014/main" id="{D51732F8-5BDE-8088-5C9D-321EA18025EF}"/>
                </a:ext>
              </a:extLst>
            </p:cNvPr>
            <p:cNvSpPr/>
            <p:nvPr/>
          </p:nvSpPr>
          <p:spPr>
            <a:xfrm>
              <a:off x="2119" y="1140442"/>
              <a:ext cx="2707326" cy="1019955"/>
            </a:xfrm>
            <a:prstGeom prst="roundRect">
              <a:avLst>
                <a:gd name="adj" fmla="val 10000"/>
              </a:avLst>
            </a:prstGeom>
            <a:grpFill/>
            <a:ln w="28575">
              <a:noFill/>
              <a:prstDash val="solid"/>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cs-CZ" sz="1799" b="0" i="0" u="none" strike="noStrike" kern="1200" cap="none" spc="0" normalizeH="0" baseline="0" noProof="0">
                <a:ln>
                  <a:noFill/>
                </a:ln>
                <a:solidFill>
                  <a:srgbClr val="FFFFFF"/>
                </a:solidFill>
                <a:effectLst/>
                <a:uLnTx/>
                <a:uFillTx/>
                <a:latin typeface="Helvetica Now Text"/>
                <a:ea typeface="+mn-ea"/>
                <a:cs typeface="+mn-cs"/>
              </a:endParaRPr>
            </a:p>
          </p:txBody>
        </p:sp>
        <p:sp>
          <p:nvSpPr>
            <p:cNvPr id="17" name="Rectangle: Rounded Corners 4">
              <a:extLst>
                <a:ext uri="{FF2B5EF4-FFF2-40B4-BE49-F238E27FC236}">
                  <a16:creationId xmlns:a16="http://schemas.microsoft.com/office/drawing/2014/main" id="{E824EDB1-74CF-D6F0-83C4-CB72D9096869}"/>
                </a:ext>
              </a:extLst>
            </p:cNvPr>
            <p:cNvSpPr txBox="1"/>
            <p:nvPr/>
          </p:nvSpPr>
          <p:spPr>
            <a:xfrm>
              <a:off x="31992" y="1170315"/>
              <a:ext cx="2647580" cy="96020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9989" tIns="79989" rIns="79989" bIns="79989" numCol="1" spcCol="1270" anchor="ctr" anchorCtr="0">
              <a:noAutofit/>
            </a:bodyPr>
            <a:lstStyle/>
            <a:p>
              <a:pPr marL="0" marR="0" lvl="0" indent="0" algn="ctr" defTabSz="933170" rtl="0" eaLnBrk="1" fontAlgn="auto" latinLnBrk="0" hangingPunct="1">
                <a:lnSpc>
                  <a:spcPct val="90000"/>
                </a:lnSpc>
                <a:spcBef>
                  <a:spcPct val="0"/>
                </a:spcBef>
                <a:spcAft>
                  <a:spcPct val="35000"/>
                </a:spcAft>
                <a:buClrTx/>
                <a:buSzTx/>
                <a:buFontTx/>
                <a:buNone/>
                <a:tabLst/>
                <a:defRPr/>
              </a:pPr>
              <a:r>
                <a:rPr kumimoji="0" lang="en-US" sz="2099" b="0" i="0" u="none" strike="noStrike" kern="1200" cap="none" spc="0" normalizeH="0" baseline="0" noProof="0">
                  <a:ln>
                    <a:noFill/>
                  </a:ln>
                  <a:solidFill>
                    <a:srgbClr val="FFFFFF"/>
                  </a:solidFill>
                  <a:effectLst/>
                  <a:uLnTx/>
                  <a:uFillTx/>
                  <a:latin typeface="Helvetica Now Text"/>
                  <a:ea typeface="+mn-ea"/>
                  <a:cs typeface="+mn-cs"/>
                </a:rPr>
                <a:t>Financial engine </a:t>
              </a:r>
              <a:endParaRPr kumimoji="0" lang="cs-CZ" sz="2099" b="0" i="0" u="none" strike="noStrike" kern="1200" cap="none" spc="0" normalizeH="0" baseline="0" noProof="0">
                <a:ln>
                  <a:noFill/>
                </a:ln>
                <a:solidFill>
                  <a:srgbClr val="FFFFFF"/>
                </a:solidFill>
                <a:effectLst/>
                <a:uLnTx/>
                <a:uFillTx/>
                <a:latin typeface="Helvetica Now Text"/>
                <a:ea typeface="+mn-ea"/>
                <a:cs typeface="+mn-cs"/>
              </a:endParaRPr>
            </a:p>
          </p:txBody>
        </p:sp>
      </p:grpSp>
      <p:grpSp>
        <p:nvGrpSpPr>
          <p:cNvPr id="18" name="Group 17">
            <a:extLst>
              <a:ext uri="{FF2B5EF4-FFF2-40B4-BE49-F238E27FC236}">
                <a16:creationId xmlns:a16="http://schemas.microsoft.com/office/drawing/2014/main" id="{564B944F-AD46-2719-21AE-D3952112DEE9}"/>
              </a:ext>
            </a:extLst>
          </p:cNvPr>
          <p:cNvGrpSpPr/>
          <p:nvPr/>
        </p:nvGrpSpPr>
        <p:grpSpPr>
          <a:xfrm>
            <a:off x="1067364" y="5022405"/>
            <a:ext cx="1372362" cy="1019689"/>
            <a:chOff x="2119" y="1140442"/>
            <a:chExt cx="2707326" cy="1019955"/>
          </a:xfrm>
          <a:solidFill>
            <a:schemeClr val="bg1">
              <a:lumMod val="50000"/>
            </a:schemeClr>
          </a:solidFill>
        </p:grpSpPr>
        <p:sp>
          <p:nvSpPr>
            <p:cNvPr id="19" name="Rectangle: Rounded Corners 18">
              <a:extLst>
                <a:ext uri="{FF2B5EF4-FFF2-40B4-BE49-F238E27FC236}">
                  <a16:creationId xmlns:a16="http://schemas.microsoft.com/office/drawing/2014/main" id="{224E0014-46B9-B007-4B19-62199E43D41F}"/>
                </a:ext>
              </a:extLst>
            </p:cNvPr>
            <p:cNvSpPr/>
            <p:nvPr/>
          </p:nvSpPr>
          <p:spPr>
            <a:xfrm>
              <a:off x="2119" y="1140442"/>
              <a:ext cx="2707326" cy="1019955"/>
            </a:xfrm>
            <a:prstGeom prst="roundRect">
              <a:avLst>
                <a:gd name="adj" fmla="val 10000"/>
              </a:avLst>
            </a:prstGeom>
            <a:grpFill/>
            <a:ln w="28575">
              <a:noFill/>
              <a:prstDash val="solid"/>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cs-CZ" sz="1799" b="0" i="0" u="none" strike="noStrike" kern="1200" cap="none" spc="0" normalizeH="0" baseline="0" noProof="0">
                <a:ln>
                  <a:noFill/>
                </a:ln>
                <a:solidFill>
                  <a:srgbClr val="FFFFFF"/>
                </a:solidFill>
                <a:effectLst/>
                <a:uLnTx/>
                <a:uFillTx/>
                <a:latin typeface="Helvetica Now Text"/>
                <a:ea typeface="+mn-ea"/>
                <a:cs typeface="+mn-cs"/>
              </a:endParaRPr>
            </a:p>
          </p:txBody>
        </p:sp>
        <p:sp>
          <p:nvSpPr>
            <p:cNvPr id="20" name="Rectangle: Rounded Corners 4">
              <a:extLst>
                <a:ext uri="{FF2B5EF4-FFF2-40B4-BE49-F238E27FC236}">
                  <a16:creationId xmlns:a16="http://schemas.microsoft.com/office/drawing/2014/main" id="{0A7E41C0-E9C8-1286-1951-0ED935CFC203}"/>
                </a:ext>
              </a:extLst>
            </p:cNvPr>
            <p:cNvSpPr txBox="1"/>
            <p:nvPr/>
          </p:nvSpPr>
          <p:spPr>
            <a:xfrm>
              <a:off x="31992" y="1170315"/>
              <a:ext cx="2647580" cy="96020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9989" tIns="79989" rIns="79989" bIns="79989" numCol="1" spcCol="1270" anchor="ctr" anchorCtr="0">
              <a:noAutofit/>
            </a:bodyPr>
            <a:lstStyle/>
            <a:p>
              <a:pPr marL="0" marR="0" lvl="0" indent="0" algn="ctr" defTabSz="93317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Helvetica Now Text"/>
                  <a:ea typeface="+mn-ea"/>
                  <a:cs typeface="+mn-cs"/>
                </a:rPr>
                <a:t>Deployment</a:t>
              </a:r>
              <a:endParaRPr kumimoji="0" lang="cs-CZ" sz="1400" b="0" i="0" u="none" strike="noStrike" kern="1200" cap="none" spc="0" normalizeH="0" baseline="0" noProof="0">
                <a:ln>
                  <a:noFill/>
                </a:ln>
                <a:solidFill>
                  <a:srgbClr val="FFFFFF"/>
                </a:solidFill>
                <a:effectLst/>
                <a:uLnTx/>
                <a:uFillTx/>
                <a:latin typeface="Helvetica Now Text"/>
                <a:ea typeface="+mn-ea"/>
                <a:cs typeface="+mn-cs"/>
              </a:endParaRPr>
            </a:p>
          </p:txBody>
        </p:sp>
      </p:grpSp>
      <p:grpSp>
        <p:nvGrpSpPr>
          <p:cNvPr id="21" name="Group 20">
            <a:extLst>
              <a:ext uri="{FF2B5EF4-FFF2-40B4-BE49-F238E27FC236}">
                <a16:creationId xmlns:a16="http://schemas.microsoft.com/office/drawing/2014/main" id="{E075E402-889B-5CD5-338B-FE93AAA116C8}"/>
              </a:ext>
            </a:extLst>
          </p:cNvPr>
          <p:cNvGrpSpPr/>
          <p:nvPr/>
        </p:nvGrpSpPr>
        <p:grpSpPr>
          <a:xfrm>
            <a:off x="1082507" y="3889636"/>
            <a:ext cx="1372362" cy="1019689"/>
            <a:chOff x="2119" y="1140442"/>
            <a:chExt cx="2707326" cy="1019955"/>
          </a:xfrm>
          <a:solidFill>
            <a:schemeClr val="bg1">
              <a:lumMod val="50000"/>
            </a:schemeClr>
          </a:solidFill>
        </p:grpSpPr>
        <p:sp>
          <p:nvSpPr>
            <p:cNvPr id="22" name="Rectangle: Rounded Corners 21">
              <a:extLst>
                <a:ext uri="{FF2B5EF4-FFF2-40B4-BE49-F238E27FC236}">
                  <a16:creationId xmlns:a16="http://schemas.microsoft.com/office/drawing/2014/main" id="{3D1F7C7F-BD1F-BEC8-6BE0-DF4BA05FA936}"/>
                </a:ext>
              </a:extLst>
            </p:cNvPr>
            <p:cNvSpPr/>
            <p:nvPr/>
          </p:nvSpPr>
          <p:spPr>
            <a:xfrm>
              <a:off x="2119" y="1140442"/>
              <a:ext cx="2707326" cy="1019955"/>
            </a:xfrm>
            <a:prstGeom prst="roundRect">
              <a:avLst>
                <a:gd name="adj" fmla="val 10000"/>
              </a:avLst>
            </a:prstGeom>
            <a:grpFill/>
            <a:ln w="28575">
              <a:noFill/>
              <a:prstDash val="solid"/>
            </a:ln>
          </p:spPr>
          <p:style>
            <a:lnRef idx="2">
              <a:scrgbClr r="0" g="0" b="0"/>
            </a:lnRef>
            <a:fillRef idx="1">
              <a:scrgbClr r="0" g="0" b="0"/>
            </a:fillRef>
            <a:effectRef idx="0">
              <a:schemeClr val="accent2">
                <a:hueOff val="0"/>
                <a:satOff val="0"/>
                <a:lumOff val="0"/>
                <a:alphaOff val="0"/>
              </a:schemeClr>
            </a:effectRef>
            <a:fontRef idx="minor">
              <a:schemeClr val="lt1"/>
            </a:fontRef>
          </p:style>
          <p:txBody>
            <a:bodyPr/>
            <a:lstStyle/>
            <a:p>
              <a:pPr marL="0" marR="0" lvl="0" indent="0" algn="l" defTabSz="914263" rtl="0" eaLnBrk="1" fontAlgn="auto" latinLnBrk="0" hangingPunct="1">
                <a:lnSpc>
                  <a:spcPct val="100000"/>
                </a:lnSpc>
                <a:spcBef>
                  <a:spcPts val="0"/>
                </a:spcBef>
                <a:spcAft>
                  <a:spcPts val="0"/>
                </a:spcAft>
                <a:buClrTx/>
                <a:buSzTx/>
                <a:buFontTx/>
                <a:buNone/>
                <a:tabLst/>
                <a:defRPr/>
              </a:pPr>
              <a:endParaRPr kumimoji="0" lang="cs-CZ" sz="1799" b="0" i="0" u="none" strike="noStrike" kern="1200" cap="none" spc="0" normalizeH="0" baseline="0" noProof="0">
                <a:ln>
                  <a:noFill/>
                </a:ln>
                <a:solidFill>
                  <a:srgbClr val="FFFFFF"/>
                </a:solidFill>
                <a:effectLst/>
                <a:uLnTx/>
                <a:uFillTx/>
                <a:latin typeface="Helvetica Now Text"/>
                <a:ea typeface="+mn-ea"/>
                <a:cs typeface="+mn-cs"/>
              </a:endParaRPr>
            </a:p>
          </p:txBody>
        </p:sp>
        <p:sp>
          <p:nvSpPr>
            <p:cNvPr id="23" name="Rectangle: Rounded Corners 4">
              <a:extLst>
                <a:ext uri="{FF2B5EF4-FFF2-40B4-BE49-F238E27FC236}">
                  <a16:creationId xmlns:a16="http://schemas.microsoft.com/office/drawing/2014/main" id="{E4B60737-C28B-E2D3-21A3-E0FA5959F102}"/>
                </a:ext>
              </a:extLst>
            </p:cNvPr>
            <p:cNvSpPr txBox="1"/>
            <p:nvPr/>
          </p:nvSpPr>
          <p:spPr>
            <a:xfrm>
              <a:off x="31992" y="1170315"/>
              <a:ext cx="2647580" cy="960209"/>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79989" tIns="79989" rIns="79989" bIns="79989" numCol="1" spcCol="1270" anchor="ctr" anchorCtr="0">
              <a:noAutofit/>
            </a:bodyPr>
            <a:lstStyle/>
            <a:p>
              <a:pPr marL="0" marR="0" lvl="0" indent="0" algn="ctr" defTabSz="93317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rgbClr val="FFFFFF"/>
                  </a:solidFill>
                  <a:effectLst/>
                  <a:uLnTx/>
                  <a:uFillTx/>
                  <a:latin typeface="Helvetica Now Text"/>
                  <a:ea typeface="+mn-ea"/>
                  <a:cs typeface="+mn-cs"/>
                </a:rPr>
                <a:t>Platform</a:t>
              </a:r>
              <a:endParaRPr kumimoji="0" lang="cs-CZ" sz="1600" b="1" i="0" u="none" strike="noStrike" kern="1200" cap="none" spc="0" normalizeH="0" baseline="0" noProof="0">
                <a:ln>
                  <a:noFill/>
                </a:ln>
                <a:solidFill>
                  <a:srgbClr val="FFFFFF"/>
                </a:solidFill>
                <a:effectLst/>
                <a:uLnTx/>
                <a:uFillTx/>
                <a:latin typeface="Helvetica Now Text"/>
                <a:ea typeface="+mn-ea"/>
                <a:cs typeface="+mn-cs"/>
              </a:endParaRPr>
            </a:p>
          </p:txBody>
        </p:sp>
      </p:grpSp>
      <p:pic>
        <p:nvPicPr>
          <p:cNvPr id="25" name="Graphic 24" descr="Checkbox Checked with solid fill">
            <a:extLst>
              <a:ext uri="{FF2B5EF4-FFF2-40B4-BE49-F238E27FC236}">
                <a16:creationId xmlns:a16="http://schemas.microsoft.com/office/drawing/2014/main" id="{276DD707-1094-590E-36E4-BADAEB8DB8F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025119" y="4977465"/>
            <a:ext cx="417245" cy="417245"/>
          </a:xfrm>
          <a:prstGeom prst="rect">
            <a:avLst/>
          </a:prstGeom>
        </p:spPr>
      </p:pic>
      <p:pic>
        <p:nvPicPr>
          <p:cNvPr id="26" name="Graphic 25" descr="Checkbox Checked with solid fill">
            <a:extLst>
              <a:ext uri="{FF2B5EF4-FFF2-40B4-BE49-F238E27FC236}">
                <a16:creationId xmlns:a16="http://schemas.microsoft.com/office/drawing/2014/main" id="{E4B29221-E3AC-1E42-E69A-7667B435E93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825434" y="4970133"/>
            <a:ext cx="417245" cy="417245"/>
          </a:xfrm>
          <a:prstGeom prst="rect">
            <a:avLst/>
          </a:prstGeom>
        </p:spPr>
      </p:pic>
      <p:pic>
        <p:nvPicPr>
          <p:cNvPr id="27" name="Graphic 26" descr="Checkbox Checked with solid fill">
            <a:extLst>
              <a:ext uri="{FF2B5EF4-FFF2-40B4-BE49-F238E27FC236}">
                <a16:creationId xmlns:a16="http://schemas.microsoft.com/office/drawing/2014/main" id="{1C848BEE-0970-9782-33F7-223E1C250C0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6397839" y="4974346"/>
            <a:ext cx="417245" cy="417245"/>
          </a:xfrm>
          <a:prstGeom prst="rect">
            <a:avLst/>
          </a:prstGeom>
        </p:spPr>
      </p:pic>
      <p:pic>
        <p:nvPicPr>
          <p:cNvPr id="28" name="Graphic 27" descr="Checkbox Checked with solid fill">
            <a:extLst>
              <a:ext uri="{FF2B5EF4-FFF2-40B4-BE49-F238E27FC236}">
                <a16:creationId xmlns:a16="http://schemas.microsoft.com/office/drawing/2014/main" id="{ED4AB0FE-8A00-55A7-3EED-BDBA2C007ED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231540" y="4977465"/>
            <a:ext cx="417245" cy="417245"/>
          </a:xfrm>
          <a:prstGeom prst="rect">
            <a:avLst/>
          </a:prstGeom>
        </p:spPr>
      </p:pic>
      <p:pic>
        <p:nvPicPr>
          <p:cNvPr id="29" name="Graphic 28" descr="Checkbox Checked with solid fill">
            <a:extLst>
              <a:ext uri="{FF2B5EF4-FFF2-40B4-BE49-F238E27FC236}">
                <a16:creationId xmlns:a16="http://schemas.microsoft.com/office/drawing/2014/main" id="{EE2C99E4-CE3A-3F2A-0C65-394853E5DE0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886218" y="4977465"/>
            <a:ext cx="417245" cy="417245"/>
          </a:xfrm>
          <a:prstGeom prst="rect">
            <a:avLst/>
          </a:prstGeom>
        </p:spPr>
      </p:pic>
      <p:pic>
        <p:nvPicPr>
          <p:cNvPr id="30" name="Graphic 29" descr="Checkbox Checked with solid fill">
            <a:extLst>
              <a:ext uri="{FF2B5EF4-FFF2-40B4-BE49-F238E27FC236}">
                <a16:creationId xmlns:a16="http://schemas.microsoft.com/office/drawing/2014/main" id="{363A93F8-B1B8-EA96-A905-FFC6393495B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707778" y="4966235"/>
            <a:ext cx="417245" cy="417245"/>
          </a:xfrm>
          <a:prstGeom prst="rect">
            <a:avLst/>
          </a:prstGeom>
        </p:spPr>
      </p:pic>
      <p:pic>
        <p:nvPicPr>
          <p:cNvPr id="31" name="Graphic 30" descr="Checkbox Checked with solid fill">
            <a:extLst>
              <a:ext uri="{FF2B5EF4-FFF2-40B4-BE49-F238E27FC236}">
                <a16:creationId xmlns:a16="http://schemas.microsoft.com/office/drawing/2014/main" id="{77A5B7F5-6EE1-451A-E34F-38E6BA69D9A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418590" y="5676843"/>
            <a:ext cx="417245" cy="417245"/>
          </a:xfrm>
          <a:prstGeom prst="rect">
            <a:avLst/>
          </a:prstGeom>
        </p:spPr>
      </p:pic>
      <p:sp>
        <p:nvSpPr>
          <p:cNvPr id="32" name="Rectangle: Rounded Corners 4">
            <a:extLst>
              <a:ext uri="{FF2B5EF4-FFF2-40B4-BE49-F238E27FC236}">
                <a16:creationId xmlns:a16="http://schemas.microsoft.com/office/drawing/2014/main" id="{2825334D-6C0B-EB88-E94A-D4E641B3E91C}"/>
              </a:ext>
            </a:extLst>
          </p:cNvPr>
          <p:cNvSpPr txBox="1"/>
          <p:nvPr/>
        </p:nvSpPr>
        <p:spPr>
          <a:xfrm>
            <a:off x="10710986" y="5757497"/>
            <a:ext cx="1231584" cy="289741"/>
          </a:xfrm>
          <a:prstGeom prst="rect">
            <a:avLst/>
          </a:prstGeom>
          <a:noFill/>
          <a:ln>
            <a:noFill/>
          </a:ln>
        </p:spPr>
        <p:style>
          <a:lnRef idx="0">
            <a:scrgbClr r="0" g="0" b="0"/>
          </a:lnRef>
          <a:fillRef idx="0">
            <a:scrgbClr r="0" g="0" b="0"/>
          </a:fillRef>
          <a:effectRef idx="0">
            <a:scrgbClr r="0" g="0" b="0"/>
          </a:effectRef>
          <a:fontRef idx="minor">
            <a:schemeClr val="lt1"/>
          </a:fontRef>
        </p:style>
        <p:txBody>
          <a:bodyPr spcFirstLastPara="0" vert="horz" wrap="square" lIns="60944" tIns="60944" rIns="60944" bIns="60944" numCol="1" spcCol="1270" anchor="ctr" anchorCtr="0">
            <a:noAutofit/>
          </a:bodyPr>
          <a:lstStyle/>
          <a:p>
            <a:pPr marL="0" marR="0" lvl="0" indent="0" algn="ctr" defTabSz="710987"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a:ln>
                  <a:noFill/>
                </a:ln>
                <a:solidFill>
                  <a:srgbClr val="000000"/>
                </a:solidFill>
                <a:effectLst/>
                <a:uLnTx/>
                <a:uFillTx/>
                <a:latin typeface="Helvetica Now Text"/>
                <a:ea typeface="+mn-ea"/>
                <a:cs typeface="+mn-cs"/>
              </a:rPr>
              <a:t>In production</a:t>
            </a:r>
          </a:p>
        </p:txBody>
      </p:sp>
    </p:spTree>
    <p:extLst>
      <p:ext uri="{BB962C8B-B14F-4D97-AF65-F5344CB8AC3E}">
        <p14:creationId xmlns:p14="http://schemas.microsoft.com/office/powerpoint/2010/main" val="33916328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graphicEl>
                                              <a:dgm id="{5E5C1EF9-9558-43E0-A434-33C657406D83}"/>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graphicEl>
                                              <a:dgm id="{09F8E3F2-CC0F-4659-B02F-70701E653647}"/>
                                            </p:graphic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7">
                                            <p:graphicEl>
                                              <a:dgm id="{E9BA8F3E-F01B-4D12-8013-5A900894EBB0}"/>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7">
                                            <p:graphicEl>
                                              <a:dgm id="{6DAA54A0-BCF9-4197-8B1A-FF3510968A59}"/>
                                            </p:graphic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7">
                                            <p:graphicEl>
                                              <a:dgm id="{904F8875-0AA8-4767-A6C6-321A38BA51FD}"/>
                                            </p:graphic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7">
                                            <p:graphicEl>
                                              <a:dgm id="{A7B9D0A6-6FBA-4D6B-919E-827A8639D438}"/>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7">
                                            <p:graphicEl>
                                              <a:dgm id="{2EF5C144-C6DA-4247-ABF8-C94EFC669CA1}"/>
                                            </p:graphic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7">
                                            <p:graphicEl>
                                              <a:dgm id="{2527F62E-8A3A-4CC9-AF12-CCCF518B2B57}"/>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7">
                                            <p:graphicEl>
                                              <a:dgm id="{DAA74557-672C-41C9-AA3E-49DFA7332F51}"/>
                                            </p:graphic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7">
                                            <p:graphicEl>
                                              <a:dgm id="{1D623DD2-0D65-47A2-82A3-C36A76ED0764}"/>
                                            </p:graphic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7">
                                            <p:graphicEl>
                                              <a:dgm id="{74AA42E9-6E59-4BF7-ACB4-B876247F3E09}"/>
                                            </p:graphic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7">
                                            <p:graphicEl>
                                              <a:dgm id="{654959DC-0023-4A87-825A-B95482775712}"/>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7">
                                            <p:graphicEl>
                                              <a:dgm id="{30B45BF4-CA92-440D-BD93-0361D3FCECE7}"/>
                                            </p:graphic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7">
                                            <p:graphicEl>
                                              <a:dgm id="{666E79FA-942A-4569-8D28-B0EEE547FECC}"/>
                                            </p:graphic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grpId="0" nodeType="clickEffect">
                                  <p:stCondLst>
                                    <p:cond delay="0"/>
                                  </p:stCondLst>
                                  <p:childTnLst>
                                    <p:set>
                                      <p:cBhvr>
                                        <p:cTn id="70" dur="1" fill="hold">
                                          <p:stCondLst>
                                            <p:cond delay="0"/>
                                          </p:stCondLst>
                                        </p:cTn>
                                        <p:tgtEl>
                                          <p:spTgt spid="7">
                                            <p:graphicEl>
                                              <a:dgm id="{47E72CAA-3DB1-417D-9327-4B6B0028F79D}"/>
                                            </p:graphic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7">
                                            <p:graphicEl>
                                              <a:dgm id="{2AC4C9D0-9FE6-492A-A135-8CC8060C0DCE}"/>
                                            </p:graphic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7">
                                            <p:graphicEl>
                                              <a:dgm id="{FF4816CD-7A12-46E2-9C2E-FAB60BB7CE6B}"/>
                                            </p:graphicEl>
                                          </p:spTgt>
                                        </p:tgtEl>
                                        <p:attrNameLst>
                                          <p:attrName>style.visibility</p:attrName>
                                        </p:attrNameLst>
                                      </p:cBhvr>
                                      <p:to>
                                        <p:strVal val="visible"/>
                                      </p:to>
                                    </p:set>
                                  </p:childTnLst>
                                </p:cTn>
                              </p:par>
                            </p:childTnLst>
                          </p:cTn>
                        </p:par>
                      </p:childTnLst>
                    </p:cTn>
                  </p:par>
                  <p:par>
                    <p:cTn id="79" fill="hold">
                      <p:stCondLst>
                        <p:cond delay="indefinite"/>
                      </p:stCondLst>
                      <p:childTnLst>
                        <p:par>
                          <p:cTn id="80" fill="hold">
                            <p:stCondLst>
                              <p:cond delay="0"/>
                            </p:stCondLst>
                            <p:childTnLst>
                              <p:par>
                                <p:cTn id="81" presetID="1" presetClass="entr" presetSubtype="0" fill="hold" grpId="0" nodeType="clickEffect">
                                  <p:stCondLst>
                                    <p:cond delay="0"/>
                                  </p:stCondLst>
                                  <p:childTnLst>
                                    <p:set>
                                      <p:cBhvr>
                                        <p:cTn id="82" dur="1" fill="hold">
                                          <p:stCondLst>
                                            <p:cond delay="0"/>
                                          </p:stCondLst>
                                        </p:cTn>
                                        <p:tgtEl>
                                          <p:spTgt spid="7">
                                            <p:graphicEl>
                                              <a:dgm id="{D3A66C65-EEA3-46F1-977C-814E570F4D90}"/>
                                            </p:graphicEl>
                                          </p:spTgt>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7">
                                            <p:graphicEl>
                                              <a:dgm id="{9EF323B1-AA36-4B00-8BE2-8DE30681DDF7}"/>
                                            </p:graphicEl>
                                          </p:spTgt>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25"/>
                                        </p:tgtEl>
                                        <p:attrNameLst>
                                          <p:attrName>style.visibility</p:attrName>
                                        </p:attrNameLst>
                                      </p:cBhvr>
                                      <p:to>
                                        <p:strVal val="visible"/>
                                      </p:to>
                                    </p:set>
                                  </p:childTnLst>
                                </p:cTn>
                              </p:par>
                              <p:par>
                                <p:cTn id="91" presetID="1" presetClass="entr" presetSubtype="0" fill="hold" nodeType="withEffect">
                                  <p:stCondLst>
                                    <p:cond delay="0"/>
                                  </p:stCondLst>
                                  <p:childTnLst>
                                    <p:set>
                                      <p:cBhvr>
                                        <p:cTn id="92" dur="1" fill="hold">
                                          <p:stCondLst>
                                            <p:cond delay="0"/>
                                          </p:stCondLst>
                                        </p:cTn>
                                        <p:tgtEl>
                                          <p:spTgt spid="26"/>
                                        </p:tgtEl>
                                        <p:attrNameLst>
                                          <p:attrName>style.visibility</p:attrName>
                                        </p:attrNameLst>
                                      </p:cBhvr>
                                      <p:to>
                                        <p:strVal val="visible"/>
                                      </p:to>
                                    </p:set>
                                  </p:childTnLst>
                                </p:cTn>
                              </p:par>
                              <p:par>
                                <p:cTn id="93" presetID="1" presetClass="entr" presetSubtype="0" fill="hold" nodeType="withEffect">
                                  <p:stCondLst>
                                    <p:cond delay="0"/>
                                  </p:stCondLst>
                                  <p:childTnLst>
                                    <p:set>
                                      <p:cBhvr>
                                        <p:cTn id="94" dur="1" fill="hold">
                                          <p:stCondLst>
                                            <p:cond delay="0"/>
                                          </p:stCondLst>
                                        </p:cTn>
                                        <p:tgtEl>
                                          <p:spTgt spid="27"/>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28"/>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29"/>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7" grpId="0">
        <p:bldSub>
          <a:bldDgm bld="one"/>
        </p:bldSub>
      </p:bldGraphic>
    </p:bldLst>
  </p:timing>
  <p:extLst>
    <p:ext uri="{6950BFC3-D8DA-4A85-94F7-54DA5524770B}">
      <p188:commentRel xmlns:p188="http://schemas.microsoft.com/office/powerpoint/2018/8/main" r:id="rId3"/>
    </p:ext>
  </p:extLs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F4B4C0-4F64-48F1-9D99-6B72012750ED}"/>
              </a:ext>
            </a:extLst>
          </p:cNvPr>
          <p:cNvGraphicFramePr>
            <a:graphicFrameLocks noChangeAspect="1"/>
          </p:cNvGraphicFramePr>
          <p:nvPr>
            <p:custDataLst>
              <p:tags r:id="rId1"/>
            </p:custDataLst>
          </p:nvPr>
        </p:nvGraphicFramePr>
        <p:xfrm>
          <a:off x="2692" y="2441"/>
          <a:ext cx="2116" cy="2116"/>
        </p:xfrm>
        <a:graphic>
          <a:graphicData uri="http://schemas.openxmlformats.org/presentationml/2006/ole">
            <mc:AlternateContent xmlns:mc="http://schemas.openxmlformats.org/markup-compatibility/2006">
              <mc:Choice xmlns:v="urn:schemas-microsoft-com:vml" Requires="v">
                <p:oleObj name="think-cell Slide" r:id="rId4" imgW="216" imgH="216" progId="TCLayout.ActiveDocument.1">
                  <p:embed/>
                </p:oleObj>
              </mc:Choice>
              <mc:Fallback>
                <p:oleObj name="think-cell Slide" r:id="rId4" imgW="216" imgH="216" progId="TCLayout.ActiveDocument.1">
                  <p:embed/>
                  <p:pic>
                    <p:nvPicPr>
                      <p:cNvPr id="3" name="Object 2" hidden="1">
                        <a:extLst>
                          <a:ext uri="{FF2B5EF4-FFF2-40B4-BE49-F238E27FC236}">
                            <a16:creationId xmlns:a16="http://schemas.microsoft.com/office/drawing/2014/main" id="{E3F4B4C0-4F64-48F1-9D99-6B72012750ED}"/>
                          </a:ext>
                        </a:extLst>
                      </p:cNvPr>
                      <p:cNvPicPr/>
                      <p:nvPr/>
                    </p:nvPicPr>
                    <p:blipFill>
                      <a:blip r:embed="rId5"/>
                      <a:stretch>
                        <a:fillRect/>
                      </a:stretch>
                    </p:blipFill>
                    <p:spPr>
                      <a:xfrm>
                        <a:off x="2692" y="2441"/>
                        <a:ext cx="2116" cy="2116"/>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DA37AC5-31D6-4734-979A-EE3DBA145F43}"/>
              </a:ext>
            </a:extLst>
          </p:cNvPr>
          <p:cNvSpPr>
            <a:spLocks noGrp="1"/>
          </p:cNvSpPr>
          <p:nvPr>
            <p:ph type="title"/>
          </p:nvPr>
        </p:nvSpPr>
        <p:spPr/>
        <p:txBody>
          <a:bodyPr vert="horz"/>
          <a:lstStyle/>
          <a:p>
            <a:r>
              <a:rPr lang="en-GB"/>
              <a:t>Disclaimer</a:t>
            </a:r>
          </a:p>
        </p:txBody>
      </p:sp>
      <p:sp>
        <p:nvSpPr>
          <p:cNvPr id="4" name="Rectangle 3">
            <a:extLst>
              <a:ext uri="{FF2B5EF4-FFF2-40B4-BE49-F238E27FC236}">
                <a16:creationId xmlns:a16="http://schemas.microsoft.com/office/drawing/2014/main" id="{E4FEF7C8-2D81-4F96-96AF-8E1D5621D079}"/>
              </a:ext>
            </a:extLst>
          </p:cNvPr>
          <p:cNvSpPr>
            <a:spLocks noGrp="1" noChangeArrowheads="1"/>
          </p:cNvSpPr>
          <p:nvPr>
            <p:ph idx="1"/>
          </p:nvPr>
        </p:nvSpPr>
        <p:spPr>
          <a:xfrm>
            <a:off x="1161232" y="1092421"/>
            <a:ext cx="10538469" cy="4997017"/>
          </a:xfrm>
        </p:spPr>
        <p:txBody>
          <a:bodyPr/>
          <a:lstStyle/>
          <a:p>
            <a:r>
              <a:rPr lang="en-GB" sz="700" b="1"/>
              <a:t>Legal Disclaimer</a:t>
            </a:r>
          </a:p>
          <a:p>
            <a:r>
              <a:rPr lang="en-GB" sz="700"/>
              <a:t>Aon’s Reinsurance Solutions business, part of Aon UK Limited (for itself and on behalf of each subsidiary company of Aon plc) (“Aon”) reserves all rights to the content of this report (“Report”). This Report is for distribution to Aon and the organisation to which it was originally delivered only. Copies may be made by that organisation for its own internal purposes but this Report may not be distributed in whole or in part to any third party without both (i) the prior written consent of Aon. and (ii) the third party having first signed a “recipient of report” letter in a form acceptable to Aon. Aon cannot accept any liability to any third party to whom this Report is disclosed, whether disclosed in compliance with the preceding sentence of otherwise.   </a:t>
            </a:r>
          </a:p>
          <a:p>
            <a:r>
              <a:rPr lang="en-GB" sz="700"/>
              <a:t>To the extent this Report expresses any recommendation or assessment on any aspect of risk, the recipient acknowledges that any such recommendation or assessment is an expression of Aon opinion only, and is not a statement of fact. Any decision to rely on any such recommendation or assessment of risk is entirely the responsibility of the recipient. Aon will not in any event be responsible for any losses that may be incurred by any party as a result of any reliance placed on any such opinion. The recipient acknowledges that this Report does not replace the need for the recipient to undertake its own assessment. </a:t>
            </a:r>
          </a:p>
          <a:p>
            <a:r>
              <a:rPr lang="en-GB" sz="700"/>
              <a:t>The recipient acknowledges that in preparing this Report Aon may have based analysis on data provided by the recipient and/or from third party sources. This data may have been subjected to mathematical and/or empirical analysis and modelling. Aon has not verified, and accepts no responsibility for, the accuracy or completeness of any such data. In addition, the recipient acknowledges that any form of mathematical and/or empirical analysis and modelling (including that used in the preparation of this Report) may produce results which differ from actual events or losses. </a:t>
            </a:r>
          </a:p>
          <a:p>
            <a:r>
              <a:rPr lang="en-GB" sz="700"/>
              <a:t>The Aon analysis has been undertaken from the perspective of a reinsurance broker.  Consequently this Report does not constitute an opinion of reserving levels or accounting treatment.  This Report does not constitute any form of legal, accounting, taxation, regulatory or actuarial advice. </a:t>
            </a:r>
          </a:p>
          <a:p>
            <a:endParaRPr lang="en-GB" sz="700" b="1"/>
          </a:p>
          <a:p>
            <a:r>
              <a:rPr lang="en-GB" sz="700" b="1"/>
              <a:t>Limitations of Catastrophe Models</a:t>
            </a:r>
          </a:p>
          <a:p>
            <a:r>
              <a:rPr lang="en-GB" sz="700"/>
              <a:t>This report includes information that is output from catastrophe models of Impact Forecasting, LLC (IF).  The information from the models is provided by Aon Benfield Services, Inc. (Aon) under the terms of its license agreements with IF. The results in this report from IF are the products of the exposures modelled, the financial assumptions made concerning deductibles and limits, and the risk models that project the pounds of damage that may be caused by defined catastrophe perils.  Aon  recommends that the results from these models in this report not be relied upon in isolation when making decisions that may affect the underwriting appetite, rate adequacy or solvency of the company. The IF models are based on scientific data, mathematical and empirical models, and the experience of engineering, geological and meteorological experts. Calibration of the models using actual loss experience is based on very sparse data, and material inaccuracies in these models are possible.  The loss probabilities generated by the models are not predictive of future hurricanes, other windstorms, or earthquakes or other natural catastrophes, but provide estimates of the magnitude of losses that may occur in the event of such natural catastrophes.  Aon makes no warranty about the accuracy of the IF models and has made no attempt to independently verify them.  Aon will not be liable for any special, indirect or consequential damages, including, without limitation, losses or damages arising from or related to any use of or decisions based upon data developed using the models of IF.</a:t>
            </a:r>
          </a:p>
          <a:p>
            <a:endParaRPr lang="en-GB" sz="700" b="1"/>
          </a:p>
          <a:p>
            <a:r>
              <a:rPr lang="en-GB" sz="700" b="1"/>
              <a:t>Additional Limitations of Impact Forecasting, LLC</a:t>
            </a:r>
          </a:p>
          <a:p>
            <a:r>
              <a:rPr lang="en-GB" sz="700"/>
              <a:t>The results listed in this report are based on engineering / scientific analysis and data, information provided by the client, and mathematical and empirical models.  The accuracy of the results depends on the uncertainty associated with each of these areas. In particular, as with any model, actual losses may differ from the results of simulations. It is only possible to provide plausible results based on complete and accurate information provided by the client and other reputable data sources.  Furthermore, this information may only be used for the business application specified by Impact Forecasting, LLC and for no other purpose.  It may not be used to support development of or calibration of a product or service offering that competes with Impact Forecasting, LLC.  The information in this report may not be used as a part of or as a source for any insurance rate filing documentation.</a:t>
            </a:r>
          </a:p>
          <a:p>
            <a:r>
              <a:rPr lang="en-GB" sz="700"/>
              <a:t>THIS INFORMATION IS PROVIDED “AS IS” AND IMPACT FORECASTING, LLC HAS NOT MADE AND DOES NOT MAKE ANY WARRANTY OF ANY KIND WHATSOEVER, EXPRESS OR IMPLIED, WITH RESPECT TO THIS REPORT; AND ALL WARRANTIES INCLUDING WARRANTIES OF MERCHANTABILITY AND FITNESS FOR A PARTICULAR PURPOSE ARE HEREBY DISCLAIMED BY IMPACT FORECASTING, LLC.  IMPACT FORECASTING, LLC WILL NOT BE LIABLE TO ANYONE WITH RESPECT TO ANY DAMAGES, LOSS OR CLAIM WHATSOEVER, NO MATTER HOW OCCASIONED, IN CONNECTION WITH THE PREPARATION OR USE OF THIS REPORT.</a:t>
            </a:r>
          </a:p>
        </p:txBody>
      </p:sp>
    </p:spTree>
    <p:extLst>
      <p:ext uri="{BB962C8B-B14F-4D97-AF65-F5344CB8AC3E}">
        <p14:creationId xmlns:p14="http://schemas.microsoft.com/office/powerpoint/2010/main" val="36632231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D214C628-9CFC-9548-86B4-8C9F6F34559D}"/>
              </a:ext>
            </a:extLst>
          </p:cNvPr>
          <p:cNvSpPr>
            <a:spLocks noGrp="1"/>
          </p:cNvSpPr>
          <p:nvPr>
            <p:ph type="title"/>
          </p:nvPr>
        </p:nvSpPr>
        <p:spPr/>
        <p:txBody>
          <a:bodyPr/>
          <a:lstStyle/>
          <a:p>
            <a:r>
              <a:rPr lang="en-GB"/>
              <a:t>Thank You</a:t>
            </a:r>
          </a:p>
        </p:txBody>
      </p:sp>
    </p:spTree>
    <p:extLst>
      <p:ext uri="{BB962C8B-B14F-4D97-AF65-F5344CB8AC3E}">
        <p14:creationId xmlns:p14="http://schemas.microsoft.com/office/powerpoint/2010/main" val="33283930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lUIyFjGPa.NC_OyGZHo0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Scor">
  <a:themeElements>
    <a:clrScheme name="Scor">
      <a:dk1>
        <a:sysClr val="windowText" lastClr="000000"/>
      </a:dk1>
      <a:lt1>
        <a:sysClr val="window" lastClr="FFFFFF"/>
      </a:lt1>
      <a:dk2>
        <a:srgbClr val="44546A"/>
      </a:dk2>
      <a:lt2>
        <a:srgbClr val="E7E6E6"/>
      </a:lt2>
      <a:accent1>
        <a:srgbClr val="0080A9"/>
      </a:accent1>
      <a:accent2>
        <a:srgbClr val="63B9E9"/>
      </a:accent2>
      <a:accent3>
        <a:srgbClr val="62D4A8"/>
      </a:accent3>
      <a:accent4>
        <a:srgbClr val="FF9138"/>
      </a:accent4>
      <a:accent5>
        <a:srgbClr val="5E7A8D"/>
      </a:accent5>
      <a:accent6>
        <a:srgbClr val="0080A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SCOR_2023_PowerPoint_Template.pptx" id="{60AE5DD7-A0E9-4C4A-8D31-44CC43EC9BFE}" vid="{E83F4BF2-F59B-44F2-99BF-302BC09E4C3F}"/>
    </a:ext>
  </a:extLst>
</a:theme>
</file>

<file path=ppt/theme/theme2.xml><?xml version="1.0" encoding="utf-8"?>
<a:theme xmlns:a="http://schemas.openxmlformats.org/drawingml/2006/main" name="2_Office Theme">
  <a:themeElements>
    <a:clrScheme name="aon_grays2">
      <a:dk1>
        <a:srgbClr val="000000"/>
      </a:dk1>
      <a:lt1>
        <a:srgbClr val="FFFFFF"/>
      </a:lt1>
      <a:dk2>
        <a:srgbClr val="5D6D78"/>
      </a:dk2>
      <a:lt2>
        <a:srgbClr val="E5EFF0"/>
      </a:lt2>
      <a:accent1>
        <a:srgbClr val="EB0017"/>
      </a:accent1>
      <a:accent2>
        <a:srgbClr val="82939A"/>
      </a:accent2>
      <a:accent3>
        <a:srgbClr val="ACC0C3"/>
      </a:accent3>
      <a:accent4>
        <a:srgbClr val="CDDBDE"/>
      </a:accent4>
      <a:accent5>
        <a:srgbClr val="E5EFF0"/>
      </a:accent5>
      <a:accent6>
        <a:srgbClr val="EEF6F7"/>
      </a:accent6>
      <a:hlink>
        <a:srgbClr val="28AFC3"/>
      </a:hlink>
      <a:folHlink>
        <a:srgbClr val="28AFC3"/>
      </a:folHlink>
    </a:clrScheme>
    <a:fontScheme name="Aon Brand">
      <a:majorFont>
        <a:latin typeface="Helvetica Now Text"/>
        <a:ea typeface=""/>
        <a:cs typeface=""/>
      </a:majorFont>
      <a:minorFont>
        <a:latin typeface="Helvetica Now Tex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6"/>
        </a:solidFill>
        <a:ln>
          <a:noFill/>
        </a:ln>
      </a:spPr>
      <a:bodyPr lIns="72000" tIns="72000" rIns="72000" bIns="72000" rtlCol="0" anchor="t"/>
      <a:lstStyle>
        <a:defPPr algn="l">
          <a:spcAft>
            <a:spcPts val="600"/>
          </a:spcAft>
          <a:defRPr sz="1100" dirty="0" err="1" smtClean="0">
            <a:solidFill>
              <a:schemeClr val="tx1"/>
            </a:solidFill>
            <a:latin typeface="Helvetica Now Text" panose="020B050403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6"/>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0" algn="l">
          <a:spcAft>
            <a:spcPts val="600"/>
          </a:spcAft>
          <a:defRPr sz="1100" dirty="0" err="1" smtClean="0">
            <a:latin typeface="Helvetica Now Text" panose="020B0504030202020204" pitchFamily="34" charset="0"/>
          </a:defRPr>
        </a:defPPr>
      </a:lstStyle>
    </a:txDef>
  </a:objectDefaults>
  <a:extraClrSchemeLst/>
  <a:custClrLst>
    <a:custClr name="Teal_Light">
      <a:srgbClr val="29B0C3"/>
    </a:custClr>
    <a:custClr name="Teal_Dark">
      <a:srgbClr val="007585"/>
    </a:custClr>
    <a:custClr name="Orange_Light">
      <a:srgbClr val="F25D00"/>
    </a:custClr>
    <a:custClr name="Orange_Dark">
      <a:srgbClr val="D14900"/>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Navy_01">
      <a:srgbClr val="262836"/>
    </a:custClr>
    <a:custClr name="Gray_01">
      <a:srgbClr val="46535E"/>
    </a:custClr>
    <a:custClr name="Gray_02">
      <a:srgbClr val="5D6D78"/>
    </a:custClr>
    <a:custClr name="Gray_03">
      <a:srgbClr val="82939A"/>
    </a:custClr>
    <a:custClr name="Gray_04">
      <a:srgbClr val="ACC0C4"/>
    </a:custClr>
    <a:custClr name="Gray_05">
      <a:srgbClr val="CDDBDE"/>
    </a:custClr>
    <a:custClr name="Gray_06">
      <a:srgbClr val="E5EFF0"/>
    </a:custClr>
    <a:custClr name="Gray_07">
      <a:srgbClr val="EEF6F7"/>
    </a:custClr>
    <a:custClr name="Gray_08">
      <a:srgbClr val="F9FCFC"/>
    </a:custClr>
    <a:custClr name="BLANK">
      <a:srgbClr val="FFFFFF"/>
    </a:custClr>
    <a:custClr name="Aqua">
      <a:srgbClr val="73E2D8"/>
    </a:custClr>
    <a:custClr name="Teal">
      <a:srgbClr val="29B0C3"/>
    </a:custClr>
    <a:custClr name="Marine">
      <a:srgbClr val="0084BB"/>
    </a:custClr>
    <a:custClr name="Cobalt">
      <a:srgbClr val="0055A8"/>
    </a:custClr>
    <a:custClr name="Blue">
      <a:srgbClr val="101E7F"/>
    </a:custClr>
    <a:custClr name="Plum">
      <a:srgbClr val="6E027F"/>
    </a:custClr>
    <a:custClr name="Magenta">
      <a:srgbClr val="A70070"/>
    </a:custClr>
    <a:custClr name="Raspberry">
      <a:srgbClr val="D10058"/>
    </a:custClr>
    <a:custClr name="Red">
      <a:srgbClr val="EA2238"/>
    </a:custClr>
    <a:custClr name="Orange">
      <a:srgbClr val="F25D00"/>
    </a:custClr>
    <a:custClr name="Yellow">
      <a:srgbClr val="FFA600"/>
    </a:custClr>
    <a:custClr name="Lime">
      <a:srgbClr val="8ABD45"/>
    </a:custClr>
    <a:custClr name="Green">
      <a:srgbClr val="12A88A"/>
    </a:custClr>
  </a:custClrLst>
  <a:extLst>
    <a:ext uri="{05A4C25C-085E-4340-85A3-A5531E510DB2}">
      <thm15:themeFamily xmlns:thm15="http://schemas.microsoft.com/office/thememl/2012/main" name="Presentation3" id="{EFFFD64E-B656-4144-9FF9-8BFFE5353826}" vid="{7FE07816-211F-464A-936A-DD209DF33037}"/>
    </a:ext>
  </a:extLst>
</a:theme>
</file>

<file path=ppt/theme/theme3.xml><?xml version="1.0" encoding="utf-8"?>
<a:theme xmlns:a="http://schemas.openxmlformats.org/drawingml/2006/main" name="New 2022 Best Practices">
  <a:themeElements>
    <a:clrScheme name="Verisk 2022 Template Colors">
      <a:dk1>
        <a:srgbClr val="3F403F"/>
      </a:dk1>
      <a:lt1>
        <a:srgbClr val="FFFFFF"/>
      </a:lt1>
      <a:dk2>
        <a:srgbClr val="000000"/>
      </a:dk2>
      <a:lt2>
        <a:srgbClr val="FFFFFF"/>
      </a:lt2>
      <a:accent1>
        <a:srgbClr val="2A7DE1"/>
      </a:accent1>
      <a:accent2>
        <a:srgbClr val="2ECDDC"/>
      </a:accent2>
      <a:accent3>
        <a:srgbClr val="00358E"/>
      </a:accent3>
      <a:accent4>
        <a:srgbClr val="009D4F"/>
      </a:accent4>
      <a:accent5>
        <a:srgbClr val="FFC600"/>
      </a:accent5>
      <a:accent6>
        <a:srgbClr val="D40019"/>
      </a:accent6>
      <a:hlink>
        <a:srgbClr val="7575CB"/>
      </a:hlink>
      <a:folHlink>
        <a:srgbClr val="954F72"/>
      </a:folHlink>
    </a:clrScheme>
    <a:fontScheme name="Roboto Custom">
      <a:majorFont>
        <a:latin typeface="Roboto Medium"/>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lIns="0" tIns="0" rIns="0" bIns="0" rtlCol="0" anchor="ctr"/>
      <a:lstStyle>
        <a:defPPr algn="ctr">
          <a:defRPr dirty="0" err="1" smtClean="0">
            <a:latin typeface="Roboto" panose="02000000000000000000" pitchFamily="2" charset="0"/>
            <a:ea typeface="Roboto" panose="02000000000000000000" pitchFamily="2" charset="0"/>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oAutofit/>
      </a:bodyPr>
      <a:lstStyle>
        <a:defPPr algn="l">
          <a:lnSpc>
            <a:spcPct val="85000"/>
          </a:lnSpc>
          <a:spcBef>
            <a:spcPts val="400"/>
          </a:spcBef>
          <a:spcAft>
            <a:spcPts val="600"/>
          </a:spcAft>
          <a:defRPr dirty="0" err="1" smtClean="0">
            <a:latin typeface="Roboto" panose="02000000000000000000" pitchFamily="2" charset="0"/>
            <a:ea typeface="Roboto" panose="02000000000000000000" pitchFamily="2" charset="0"/>
          </a:defRPr>
        </a:defPPr>
      </a:lstStyle>
    </a:txDef>
  </a:objectDefaults>
  <a:extraClrSchemeLst/>
  <a:extLst>
    <a:ext uri="{05A4C25C-085E-4340-85A3-A5531E510DB2}">
      <thm15:themeFamily xmlns:thm15="http://schemas.microsoft.com/office/thememl/2012/main" name="Verisk_Template_2022_v4" id="{33C9F523-894D-4F67-9F95-61595E1FED22}" vid="{9247DC01-51D6-4132-A212-BB89D638F305}"/>
    </a:ext>
  </a:extLst>
</a:theme>
</file>

<file path=ppt/theme/theme4.xml><?xml version="1.0" encoding="utf-8"?>
<a:theme xmlns:a="http://schemas.openxmlformats.org/drawingml/2006/main" name="Cover slides">
  <a:themeElements>
    <a:clrScheme name="Evolved brand expression">
      <a:dk1>
        <a:srgbClr val="000000"/>
      </a:dk1>
      <a:lt1>
        <a:srgbClr val="FFFFFF"/>
      </a:lt1>
      <a:dk2>
        <a:srgbClr val="191D64"/>
      </a:dk2>
      <a:lt2>
        <a:srgbClr val="FFD900"/>
      </a:lt2>
      <a:accent1>
        <a:srgbClr val="37AFBA"/>
      </a:accent1>
      <a:accent2>
        <a:srgbClr val="FFD9CA"/>
      </a:accent2>
      <a:accent3>
        <a:srgbClr val="938DFD"/>
      </a:accent3>
      <a:accent4>
        <a:srgbClr val="9CCDFB"/>
      </a:accent4>
      <a:accent5>
        <a:srgbClr val="FFF3C6"/>
      </a:accent5>
      <a:accent6>
        <a:srgbClr val="26193E"/>
      </a:accent6>
      <a:hlink>
        <a:srgbClr val="1C4FD2"/>
      </a:hlink>
      <a:folHlink>
        <a:srgbClr val="9CCDFB"/>
      </a:folHlink>
    </a:clrScheme>
    <a:fontScheme name="Aviva Masterbrand">
      <a:majorFont>
        <a:latin typeface="Aviva Curve"/>
        <a:ea typeface=""/>
        <a:cs typeface=""/>
      </a:majorFont>
      <a:minorFont>
        <a:latin typeface="Schibsted Grotesk"/>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E52633A0-0B86-4E42-B016-3974ECB32494}" vid="{197EF67A-67C1-49D8-A83D-F880C85D6678}"/>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5a47d63b-1b7e-4d2d-9333-750184dcbc99}" enabled="0" method="" siteId="{5a47d63b-1b7e-4d2d-9333-750184dcbc99}" removed="1"/>
</clbl:labelList>
</file>

<file path=docProps/app.xml><?xml version="1.0" encoding="utf-8"?>
<Properties xmlns="http://schemas.openxmlformats.org/officeDocument/2006/extended-properties" xmlns:vt="http://schemas.openxmlformats.org/officeDocument/2006/docPropsVTypes">
  <Template>blank</Template>
  <Application>Microsoft Office PowerPoint</Application>
  <PresentationFormat>Widescreen</PresentationFormat>
  <Slides>32</Slides>
  <Notes>7</Notes>
  <HiddenSlides>0</HiddenSlides>
  <ScaleCrop>false</ScaleCrop>
  <HeadingPairs>
    <vt:vector size="4" baseType="variant">
      <vt:variant>
        <vt:lpstr>Theme</vt:lpstr>
      </vt:variant>
      <vt:variant>
        <vt:i4>4</vt:i4>
      </vt:variant>
      <vt:variant>
        <vt:lpstr>Slide Titles</vt:lpstr>
      </vt:variant>
      <vt:variant>
        <vt:i4>32</vt:i4>
      </vt:variant>
    </vt:vector>
  </HeadingPairs>
  <TitlesOfParts>
    <vt:vector size="36" baseType="lpstr">
      <vt:lpstr>Template Scor</vt:lpstr>
      <vt:lpstr>2_Office Theme</vt:lpstr>
      <vt:lpstr>New 2022 Best Practices</vt:lpstr>
      <vt:lpstr>Cover slides</vt:lpstr>
      <vt:lpstr>Harnessing innovation in Cat Modelling: SCOR future vision</vt:lpstr>
      <vt:lpstr>SCOR Cat Modelling workflow</vt:lpstr>
      <vt:lpstr>SCOR Model Development workflow</vt:lpstr>
      <vt:lpstr>PowerPoint Presentation</vt:lpstr>
      <vt:lpstr>PowerPoint Presentation</vt:lpstr>
      <vt:lpstr>Impact Forecasting – Taking Part of Oasis Community</vt:lpstr>
      <vt:lpstr>An Increasing Number of Ways to Access Catastrophe Models</vt:lpstr>
      <vt:lpstr>Disclaimer</vt:lpstr>
      <vt:lpstr>Thank You</vt:lpstr>
      <vt:lpstr>Harnessing Innovation in Catastrophe Modelling</vt:lpstr>
      <vt:lpstr>In early April 2025, Verisk acquired Nasdaq Risk Modelling for Catastrophes</vt:lpstr>
      <vt:lpstr>What’s Changed?</vt:lpstr>
      <vt:lpstr>What’s Changed?</vt:lpstr>
      <vt:lpstr>What Hasn’t Changed?</vt:lpstr>
      <vt:lpstr>Easy to use, Intuitive User Interface</vt:lpstr>
      <vt:lpstr>Easy to use, Intuitive User Interface</vt:lpstr>
      <vt:lpstr>Easy to use, Intuitive User Interface</vt:lpstr>
      <vt:lpstr>Working with Model Vendors</vt:lpstr>
      <vt:lpstr>What Next for Model Exchange?</vt:lpstr>
      <vt:lpstr>Thank You</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Accelerating Innovation At Aviva with OASI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KOUMOUTSARIS Symeon</dc:creator>
  <cp:revision>1</cp:revision>
  <dcterms:created xsi:type="dcterms:W3CDTF">2025-06-12T10:20:59Z</dcterms:created>
  <dcterms:modified xsi:type="dcterms:W3CDTF">2025-07-01T11:32:06Z</dcterms:modified>
</cp:coreProperties>
</file>